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slides/slide19.xml" ContentType="application/vnd.openxmlformats-officedocument.presentationml.slide+xml"/>
  <Override PartName="/ppt/diagrams/data1.xml" ContentType="application/vnd.openxmlformats-officedocument.drawingml.diagramData+xml"/>
  <Override PartName="/ppt/slides/slide21.xml" ContentType="application/vnd.openxmlformats-officedocument.presentationml.slide+xml"/>
  <Override PartName="/ppt/slides/slide20.xml" ContentType="application/vnd.openxmlformats-officedocument.presentationml.slide+xml"/>
  <Override PartName="/ppt/presentation.xml" ContentType="application/vnd.openxmlformats-officedocument.presentationml.presentation.main+xml"/>
  <Override PartName="/ppt/slides/slide18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6.xml" ContentType="application/vnd.openxmlformats-officedocument.presentationml.slide+xml"/>
  <Override PartName="/ppt/slides/slide12.xml" ContentType="application/vnd.openxmlformats-officedocument.presentationml.slide+xml"/>
  <Override PartName="/ppt/slides/slide4.xml" ContentType="application/vnd.openxmlformats-officedocument.presentationml.slide+xml"/>
  <Override PartName="/ppt/slides/slide17.xml" ContentType="application/vnd.openxmlformats-officedocument.presentationml.slide+xml"/>
  <Override PartName="/ppt/slides/slide1.xml" ContentType="application/vnd.openxmlformats-officedocument.presentationml.slide+xml"/>
  <Override PartName="/ppt/slides/slide5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Slides/notesSlide1.xml" ContentType="application/vnd.openxmlformats-officedocument.presentationml.notesSlide+xml"/>
  <Override PartName="/ppt/slideMasters/slideMaster7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9.xml" ContentType="application/vnd.openxmlformats-officedocument.presentationml.slideMaster+xml"/>
  <Override PartName="/ppt/notesSlides/notesSlide2.xml" ContentType="application/vnd.openxmlformats-officedocument.presentationml.notesSlide+xml"/>
  <Override PartName="/ppt/slideLayouts/slideLayout6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Masters/slideMaster8.xml" ContentType="application/vnd.openxmlformats-officedocument.presentationml.slideMaster+xml"/>
  <Override PartName="/ppt/slideLayouts/slideLayout61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Layouts/slideLayout28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1.xml" ContentType="application/vnd.openxmlformats-officedocument.presentationml.slideMaster+xml"/>
  <Override PartName="/ppt/slideLayouts/slideLayout26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diagrams/drawing1.xml" ContentType="application/vnd.ms-office.drawingml.diagramDrawing+xml"/>
  <Override PartName="/ppt/diagrams/colors1.xml" ContentType="application/vnd.openxmlformats-officedocument.drawingml.diagramColors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theme/theme8.xml" ContentType="application/vnd.openxmlformats-officedocument.theme+xml"/>
  <Override PartName="/ppt/theme/theme7.xml" ContentType="application/vnd.openxmlformats-officedocument.theme+xml"/>
  <Override PartName="/ppt/theme/theme2.xml" ContentType="application/vnd.openxmlformats-officedocument.theme+xml"/>
  <Override PartName="/ppt/theme/theme5.xml" ContentType="application/vnd.openxmlformats-officedocument.them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6.xml" ContentType="application/vnd.openxmlformats-officedocument.theme+xml"/>
  <Override PartName="/ppt/theme/theme4.xml" ContentType="application/vnd.openxmlformats-officedocument.theme+xml"/>
  <Override PartName="/ppt/theme/theme11.xml" ContentType="application/vnd.openxmlformats-officedocument.theme+xml"/>
  <Override PartName="/ppt/theme/theme10.xml" ContentType="application/vnd.openxmlformats-officedocument.theme+xml"/>
  <Override PartName="/ppt/theme/theme9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320.xml" ContentType="application/vnd.openxmlformats-officedocument.presentationml.tags+xml"/>
  <Override PartName="/ppt/tags/tag328.xml" ContentType="application/vnd.openxmlformats-officedocument.presentationml.tags+xml"/>
  <Override PartName="/ppt/tags/tag90.xml" ContentType="application/vnd.openxmlformats-officedocument.presentationml.tags+xml"/>
  <Override PartName="/ppt/tags/tag327.xml" ContentType="application/vnd.openxmlformats-officedocument.presentationml.tags+xml"/>
  <Override PartName="/ppt/tags/tag330.xml" ContentType="application/vnd.openxmlformats-officedocument.presentationml.tags+xml"/>
  <Override PartName="/ppt/tags/tag329.xml" ContentType="application/vnd.openxmlformats-officedocument.presentationml.tags+xml"/>
  <Override PartName="/ppt/tags/tag324.xml" ContentType="application/vnd.openxmlformats-officedocument.presentationml.tags+xml"/>
  <Override PartName="/ppt/tags/tag323.xml" ContentType="application/vnd.openxmlformats-officedocument.presentationml.tags+xml"/>
  <Override PartName="/ppt/tags/tag322.xml" ContentType="application/vnd.openxmlformats-officedocument.presentationml.tags+xml"/>
  <Override PartName="/ppt/tags/tag321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18.xml" ContentType="application/vnd.openxmlformats-officedocument.presentationml.tags+xml"/>
  <Override PartName="/ppt/tags/tag305.xml" ContentType="application/vnd.openxmlformats-officedocument.presentationml.tags+xml"/>
  <Override PartName="/ppt/tags/tag304.xml" ContentType="application/vnd.openxmlformats-officedocument.presentationml.tags+xml"/>
  <Override PartName="/ppt/tags/tag303.xml" ContentType="application/vnd.openxmlformats-officedocument.presentationml.tags+xml"/>
  <Override PartName="/ppt/tags/tag302.xml" ContentType="application/vnd.openxmlformats-officedocument.presentationml.tags+xml"/>
  <Override PartName="/ppt/tags/tag301.xml" ContentType="application/vnd.openxmlformats-officedocument.presentationml.tags+xml"/>
  <Override PartName="/ppt/tags/tag300.xml" ContentType="application/vnd.openxmlformats-officedocument.presentationml.tags+xml"/>
  <Override PartName="/ppt/tags/tag299.xml" ContentType="application/vnd.openxmlformats-officedocument.presentationml.tags+xml"/>
  <Override PartName="/ppt/tags/tag298.xml" ContentType="application/vnd.openxmlformats-officedocument.presentationml.tags+xml"/>
  <Override PartName="/ppt/tags/tag297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17.xml" ContentType="application/vnd.openxmlformats-officedocument.presentationml.tags+xml"/>
  <Override PartName="/ppt/tags/tag316.xml" ContentType="application/vnd.openxmlformats-officedocument.presentationml.tags+xml"/>
  <Override PartName="/ppt/tags/tag315.xml" ContentType="application/vnd.openxmlformats-officedocument.presentationml.tags+xml"/>
  <Override PartName="/ppt/tags/tag314.xml" ContentType="application/vnd.openxmlformats-officedocument.presentationml.tags+xml"/>
  <Override PartName="/ppt/tags/tag313.xml" ContentType="application/vnd.openxmlformats-officedocument.presentationml.tags+xml"/>
  <Override PartName="/ppt/tags/tag312.xml" ContentType="application/vnd.openxmlformats-officedocument.presentationml.tags+xml"/>
  <Override PartName="/ppt/tags/tag311.xml" ContentType="application/vnd.openxmlformats-officedocument.presentationml.tags+xml"/>
  <Override PartName="/ppt/tags/tag310.xml" ContentType="application/vnd.openxmlformats-officedocument.presentationml.tags+xml"/>
  <Override PartName="/ppt/tags/tag309.xml" ContentType="application/vnd.openxmlformats-officedocument.presentationml.tags+xml"/>
  <Override PartName="/ppt/tags/tag319.xml" ContentType="application/vnd.openxmlformats-officedocument.presentationml.tags+xml"/>
  <Override PartName="/ppt/tags/tag50.xml" ContentType="application/vnd.openxmlformats-officedocument.presentationml.tags+xml"/>
  <Override PartName="/ppt/tags/tag334.xml" ContentType="application/vnd.openxmlformats-officedocument.presentationml.tags+xml"/>
  <Override PartName="/ppt/tags/tag21.xml" ContentType="application/vnd.openxmlformats-officedocument.presentationml.tags+xml"/>
  <Override PartName="/ppt/tags/tag85.xml" ContentType="application/vnd.openxmlformats-officedocument.presentationml.tags+xml"/>
  <Override PartName="/ppt/tags/tag84.xml" ContentType="application/vnd.openxmlformats-officedocument.presentationml.tags+xml"/>
  <Override PartName="/ppt/tags/tag83.xml" ContentType="application/vnd.openxmlformats-officedocument.presentationml.tags+xml"/>
  <Override PartName="/ppt/tags/tag82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81.xml" ContentType="application/vnd.openxmlformats-officedocument.presentationml.tags+xml"/>
  <Override PartName="/ppt/tags/tag80.xml" ContentType="application/vnd.openxmlformats-officedocument.presentationml.tags+xml"/>
  <Override PartName="/ppt/tags/tag79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5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57.xml" ContentType="application/vnd.openxmlformats-officedocument.presentationml.tags+xml"/>
  <Override PartName="/ppt/tags/tag56.xml" ContentType="application/vnd.openxmlformats-officedocument.presentationml.tags+xml"/>
  <Override PartName="/ppt/tags/tag343.xml" ContentType="application/vnd.openxmlformats-officedocument.presentationml.tags+xml"/>
  <Override PartName="/ppt/tags/tag342.xml" ContentType="application/vnd.openxmlformats-officedocument.presentationml.tags+xml"/>
  <Override PartName="/ppt/tags/tag341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59.xml" ContentType="application/vnd.openxmlformats-officedocument.presentationml.tags+xml"/>
  <Override PartName="/ppt/tags/tag55.xml" ContentType="application/vnd.openxmlformats-officedocument.presentationml.tags+xml"/>
  <Override PartName="/ppt/tags/tag54.xml" ContentType="application/vnd.openxmlformats-officedocument.presentationml.tags+xml"/>
  <Override PartName="/ppt/tags/tag53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35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52.xml" ContentType="application/vnd.openxmlformats-officedocument.presentationml.tags+xml"/>
  <Override PartName="/ppt/tags/tag51.xml" ContentType="application/vnd.openxmlformats-officedocument.presentationml.tags+xml"/>
  <Override PartName="/ppt/tags/tag49.xml" ContentType="application/vnd.openxmlformats-officedocument.presentationml.tags+xml"/>
  <Override PartName="/ppt/tags/tag48.xml" ContentType="application/vnd.openxmlformats-officedocument.presentationml.tags+xml"/>
  <Override PartName="/ppt/tags/tag47.xml" ContentType="application/vnd.openxmlformats-officedocument.presentationml.tags+xml"/>
  <Override PartName="/ppt/tags/tag46.xml" ContentType="application/vnd.openxmlformats-officedocument.presentationml.tags+xml"/>
  <Override PartName="/ppt/tags/tag45.xml" ContentType="application/vnd.openxmlformats-officedocument.presentationml.tags+xml"/>
  <Override PartName="/ppt/tags/tag333.xml" ContentType="application/vnd.openxmlformats-officedocument.presentationml.tags+xml"/>
  <Override PartName="/ppt/tags/tag291.xml" ContentType="application/vnd.openxmlformats-officedocument.presentationml.tags+xml"/>
  <Override PartName="/ppt/tags/tag295.xml" ContentType="application/vnd.openxmlformats-officedocument.presentationml.tags+xml"/>
  <Override PartName="/ppt/tags/tag144.xml" ContentType="application/vnd.openxmlformats-officedocument.presentationml.tags+xml"/>
  <Override PartName="/ppt/tags/tag143.xml" ContentType="application/vnd.openxmlformats-officedocument.presentationml.tags+xml"/>
  <Override PartName="/ppt/tags/tag142.xml" ContentType="application/vnd.openxmlformats-officedocument.presentationml.tags+xml"/>
  <Override PartName="/ppt/tags/tag141.xml" ContentType="application/vnd.openxmlformats-officedocument.presentationml.tags+xml"/>
  <Override PartName="/ppt/tags/tag140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51.xml" ContentType="application/vnd.openxmlformats-officedocument.presentationml.tags+xml"/>
  <Override PartName="/ppt/tags/tag150.xml" ContentType="application/vnd.openxmlformats-officedocument.presentationml.tags+xml"/>
  <Override PartName="/ppt/tags/tag149.xml" ContentType="application/vnd.openxmlformats-officedocument.presentationml.tags+xml"/>
  <Override PartName="/ppt/tags/tag148.xml" ContentType="application/vnd.openxmlformats-officedocument.presentationml.tags+xml"/>
  <Override PartName="/ppt/tags/tag139.xml" ContentType="application/vnd.openxmlformats-officedocument.presentationml.tags+xml"/>
  <Override PartName="/ppt/tags/tag138.xml" ContentType="application/vnd.openxmlformats-officedocument.presentationml.tags+xml"/>
  <Override PartName="/ppt/tags/tag137.xml" ContentType="application/vnd.openxmlformats-officedocument.presentationml.tags+xml"/>
  <Override PartName="/ppt/tags/tag129.xml" ContentType="application/vnd.openxmlformats-officedocument.presentationml.tags+xml"/>
  <Override PartName="/ppt/tags/tag128.xml" ContentType="application/vnd.openxmlformats-officedocument.presentationml.tags+xml"/>
  <Override PartName="/ppt/tags/tag127.xml" ContentType="application/vnd.openxmlformats-officedocument.presentationml.tags+xml"/>
  <Override PartName="/ppt/tags/tag126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6.xml" ContentType="application/vnd.openxmlformats-officedocument.presentationml.tags+xml"/>
  <Override PartName="/ppt/tags/tag135.xml" ContentType="application/vnd.openxmlformats-officedocument.presentationml.tags+xml"/>
  <Override PartName="/ppt/tags/tag134.xml" ContentType="application/vnd.openxmlformats-officedocument.presentationml.tags+xml"/>
  <Override PartName="/ppt/tags/tag133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73.xml" ContentType="application/vnd.openxmlformats-officedocument.presentationml.tags+xml"/>
  <Override PartName="/ppt/tags/tag172.xml" ContentType="application/vnd.openxmlformats-officedocument.presentationml.tags+xml"/>
  <Override PartName="/ppt/tags/tag171.xml" ContentType="application/vnd.openxmlformats-officedocument.presentationml.tags+xml"/>
  <Override PartName="/ppt/tags/tag170.xml" ContentType="application/vnd.openxmlformats-officedocument.presentationml.tags+xml"/>
  <Override PartName="/ppt/tags/tag169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80.xml" ContentType="application/vnd.openxmlformats-officedocument.presentationml.tags+xml"/>
  <Override PartName="/ppt/tags/tag179.xml" ContentType="application/vnd.openxmlformats-officedocument.presentationml.tags+xml"/>
  <Override PartName="/ppt/tags/tag178.xml" ContentType="application/vnd.openxmlformats-officedocument.presentationml.tags+xml"/>
  <Override PartName="/ppt/tags/tag177.xml" ContentType="application/vnd.openxmlformats-officedocument.presentationml.tags+xml"/>
  <Override PartName="/ppt/tags/tag168.xml" ContentType="application/vnd.openxmlformats-officedocument.presentationml.tags+xml"/>
  <Override PartName="/ppt/tags/tag167.xml" ContentType="application/vnd.openxmlformats-officedocument.presentationml.tags+xml"/>
  <Override PartName="/ppt/tags/tag166.xml" ContentType="application/vnd.openxmlformats-officedocument.presentationml.tags+xml"/>
  <Override PartName="/ppt/tags/tag158.xml" ContentType="application/vnd.openxmlformats-officedocument.presentationml.tags+xml"/>
  <Override PartName="/ppt/tags/tag157.xml" ContentType="application/vnd.openxmlformats-officedocument.presentationml.tags+xml"/>
  <Override PartName="/ppt/tags/tag156.xml" ContentType="application/vnd.openxmlformats-officedocument.presentationml.tags+xml"/>
  <Override PartName="/ppt/tags/tag155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5.xml" ContentType="application/vnd.openxmlformats-officedocument.presentationml.tags+xml"/>
  <Override PartName="/ppt/tags/tag164.xml" ContentType="application/vnd.openxmlformats-officedocument.presentationml.tags+xml"/>
  <Override PartName="/ppt/tags/tag163.xml" ContentType="application/vnd.openxmlformats-officedocument.presentationml.tags+xml"/>
  <Override PartName="/ppt/tags/tag162.xml" ContentType="application/vnd.openxmlformats-officedocument.presentationml.tags+xml"/>
  <Override PartName="/ppt/tags/tag125.xml" ContentType="application/vnd.openxmlformats-officedocument.presentationml.tags+xml"/>
  <Override PartName="/ppt/tags/tag124.xml" ContentType="application/vnd.openxmlformats-officedocument.presentationml.tags+xml"/>
  <Override PartName="/ppt/tags/tag123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68.xml" ContentType="application/vnd.openxmlformats-officedocument.presentationml.tags+xml"/>
  <Override PartName="/ppt/tags/tag67.xml" ContentType="application/vnd.openxmlformats-officedocument.presentationml.tags+xml"/>
  <Override PartName="/ppt/tags/tag66.xml" ContentType="application/vnd.openxmlformats-officedocument.presentationml.tags+xml"/>
  <Override PartName="/ppt/tags/tag103.xml" ContentType="application/vnd.openxmlformats-officedocument.presentationml.tags+xml"/>
  <Override PartName="/ppt/tags/tag102.xml" ContentType="application/vnd.openxmlformats-officedocument.presentationml.tags+xml"/>
  <Override PartName="/ppt/tags/tag101.xml" ContentType="application/vnd.openxmlformats-officedocument.presentationml.tags+xml"/>
  <Override PartName="/ppt/tags/tag100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tags/tag93.xml" ContentType="application/vnd.openxmlformats-officedocument.presentationml.tags+xml"/>
  <Override PartName="/ppt/tags/tag92.xml" ContentType="application/vnd.openxmlformats-officedocument.presentationml.tags+xml"/>
  <Override PartName="/ppt/tags/tag91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99.xml" ContentType="application/vnd.openxmlformats-officedocument.presentationml.tags+xml"/>
  <Override PartName="/ppt/tags/tag98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0.xml" ContentType="application/vnd.openxmlformats-officedocument.presentationml.tags+xml"/>
  <Override PartName="/ppt/tags/tag88.xml" ContentType="application/vnd.openxmlformats-officedocument.presentationml.tags+xml"/>
  <Override PartName="/ppt/tags/tag87.xml" ContentType="application/vnd.openxmlformats-officedocument.presentationml.tags+xml"/>
  <Override PartName="/ppt/tags/tag122.xml" ContentType="application/vnd.openxmlformats-officedocument.presentationml.tags+xml"/>
  <Override PartName="/ppt/tags/tag121.xml" ContentType="application/vnd.openxmlformats-officedocument.presentationml.tags+xml"/>
  <Override PartName="/ppt/tags/tag120.xml" ContentType="application/vnd.openxmlformats-officedocument.presentationml.tags+xml"/>
  <Override PartName="/ppt/tags/tag86.xml" ContentType="application/vnd.openxmlformats-officedocument.presentationml.tags+xml"/>
  <Override PartName="/ppt/tags/tag65.xml" ContentType="application/vnd.openxmlformats-officedocument.presentationml.tags+xml"/>
  <Override PartName="/ppt/tags/tag119.xml" ContentType="application/vnd.openxmlformats-officedocument.presentationml.tags+xml"/>
  <Override PartName="/ppt/tags/tag118.xml" ContentType="application/vnd.openxmlformats-officedocument.presentationml.tags+xml"/>
  <Override PartName="/ppt/tags/tag110.xml" ContentType="application/vnd.openxmlformats-officedocument.presentationml.tags+xml"/>
  <Override PartName="/ppt/tags/tag109.xml" ContentType="application/vnd.openxmlformats-officedocument.presentationml.tags+xml"/>
  <Override PartName="/ppt/tags/tag108.xml" ContentType="application/vnd.openxmlformats-officedocument.presentationml.tags+xml"/>
  <Override PartName="/ppt/tags/tag107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7.xml" ContentType="application/vnd.openxmlformats-officedocument.presentationml.tags+xml"/>
  <Override PartName="/ppt/tags/tag116.xml" ContentType="application/vnd.openxmlformats-officedocument.presentationml.tags+xml"/>
  <Override PartName="/ppt/tags/tag115.xml" ContentType="application/vnd.openxmlformats-officedocument.presentationml.tags+xml"/>
  <Override PartName="/ppt/tags/tag114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259.xml" ContentType="application/vnd.openxmlformats-officedocument.presentationml.tags+xml"/>
  <Override PartName="/ppt/tags/tag258.xml" ContentType="application/vnd.openxmlformats-officedocument.presentationml.tags+xml"/>
  <Override PartName="/ppt/tags/tag257.xml" ContentType="application/vnd.openxmlformats-officedocument.presentationml.tags+xml"/>
  <Override PartName="/ppt/tags/tag256.xml" ContentType="application/vnd.openxmlformats-officedocument.presentationml.tags+xml"/>
  <Override PartName="/ppt/tags/tag255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6.xml" ContentType="application/vnd.openxmlformats-officedocument.presentationml.tags+xml"/>
  <Override PartName="/ppt/tags/tag265.xml" ContentType="application/vnd.openxmlformats-officedocument.presentationml.tags+xml"/>
  <Override PartName="/ppt/tags/tag264.xml" ContentType="application/vnd.openxmlformats-officedocument.presentationml.tags+xml"/>
  <Override PartName="/ppt/tags/tag263.xml" ContentType="application/vnd.openxmlformats-officedocument.presentationml.tags+xml"/>
  <Override PartName="/ppt/tags/tag254.xml" ContentType="application/vnd.openxmlformats-officedocument.presentationml.tags+xml"/>
  <Override PartName="/ppt/tags/tag253.xml" ContentType="application/vnd.openxmlformats-officedocument.presentationml.tags+xml"/>
  <Override PartName="/ppt/tags/tag252.xml" ContentType="application/vnd.openxmlformats-officedocument.presentationml.tags+xml"/>
  <Override PartName="/ppt/tags/tag244.xml" ContentType="application/vnd.openxmlformats-officedocument.presentationml.tags+xml"/>
  <Override PartName="/ppt/tags/tag243.xml" ContentType="application/vnd.openxmlformats-officedocument.presentationml.tags+xml"/>
  <Override PartName="/ppt/tags/tag242.xml" ContentType="application/vnd.openxmlformats-officedocument.presentationml.tags+xml"/>
  <Override PartName="/ppt/tags/tag241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51.xml" ContentType="application/vnd.openxmlformats-officedocument.presentationml.tags+xml"/>
  <Override PartName="/ppt/tags/tag250.xml" ContentType="application/vnd.openxmlformats-officedocument.presentationml.tags+xml"/>
  <Override PartName="/ppt/tags/tag249.xml" ContentType="application/vnd.openxmlformats-officedocument.presentationml.tags+xml"/>
  <Override PartName="/ppt/tags/tag248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87.xml" ContentType="application/vnd.openxmlformats-officedocument.presentationml.tags+xml"/>
  <Override PartName="/ppt/tags/tag286.xml" ContentType="application/vnd.openxmlformats-officedocument.presentationml.tags+xml"/>
  <Override PartName="/ppt/tags/tag285.xml" ContentType="application/vnd.openxmlformats-officedocument.presentationml.tags+xml"/>
  <Override PartName="/ppt/tags/tag284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4.xml" ContentType="application/vnd.openxmlformats-officedocument.presentationml.tags+xml"/>
  <Override PartName="/ppt/tags/tag293.xml" ContentType="application/vnd.openxmlformats-officedocument.presentationml.tags+xml"/>
  <Override PartName="/ppt/tags/tag292.xml" ContentType="application/vnd.openxmlformats-officedocument.presentationml.tags+xml"/>
  <Override PartName="/ppt/tags/tag89.xml" ContentType="application/vnd.openxmlformats-officedocument.presentationml.tags+xml"/>
  <Override PartName="/ppt/tags/tag283.xml" ContentType="application/vnd.openxmlformats-officedocument.presentationml.tags+xml"/>
  <Override PartName="/ppt/tags/tag282.xml" ContentType="application/vnd.openxmlformats-officedocument.presentationml.tags+xml"/>
  <Override PartName="/ppt/tags/tag281.xml" ContentType="application/vnd.openxmlformats-officedocument.presentationml.tags+xml"/>
  <Override PartName="/ppt/tags/tag273.xml" ContentType="application/vnd.openxmlformats-officedocument.presentationml.tags+xml"/>
  <Override PartName="/ppt/tags/tag272.xml" ContentType="application/vnd.openxmlformats-officedocument.presentationml.tags+xml"/>
  <Override PartName="/ppt/tags/tag271.xml" ContentType="application/vnd.openxmlformats-officedocument.presentationml.tags+xml"/>
  <Override PartName="/ppt/tags/tag270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80.xml" ContentType="application/vnd.openxmlformats-officedocument.presentationml.tags+xml"/>
  <Override PartName="/ppt/tags/tag279.xml" ContentType="application/vnd.openxmlformats-officedocument.presentationml.tags+xml"/>
  <Override PartName="/ppt/tags/tag278.xml" ContentType="application/vnd.openxmlformats-officedocument.presentationml.tags+xml"/>
  <Override PartName="/ppt/tags/tag277.xml" ContentType="application/vnd.openxmlformats-officedocument.presentationml.tags+xml"/>
  <Override PartName="/ppt/tags/tag240.xml" ContentType="application/vnd.openxmlformats-officedocument.presentationml.tags+xml"/>
  <Override PartName="/ppt/tags/tag239.xml" ContentType="application/vnd.openxmlformats-officedocument.presentationml.tags+xml"/>
  <Override PartName="/ppt/tags/tag238.xml" ContentType="application/vnd.openxmlformats-officedocument.presentationml.tags+xml"/>
  <Override PartName="/ppt/tags/tag202.xml" ContentType="application/vnd.openxmlformats-officedocument.presentationml.tags+xml"/>
  <Override PartName="/ppt/tags/tag201.xml" ContentType="application/vnd.openxmlformats-officedocument.presentationml.tags+xml"/>
  <Override PartName="/ppt/tags/tag200.xml" ContentType="application/vnd.openxmlformats-officedocument.presentationml.tags+xml"/>
  <Override PartName="/ppt/tags/tag199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9.xml" ContentType="application/vnd.openxmlformats-officedocument.presentationml.tags+xml"/>
  <Override PartName="/ppt/tags/tag208.xml" ContentType="application/vnd.openxmlformats-officedocument.presentationml.tags+xml"/>
  <Override PartName="/ppt/tags/tag207.xml" ContentType="application/vnd.openxmlformats-officedocument.presentationml.tags+xml"/>
  <Override PartName="/ppt/tags/tag206.xml" ContentType="application/vnd.openxmlformats-officedocument.presentationml.tags+xml"/>
  <Override PartName="/ppt/tags/tag197.xml" ContentType="application/vnd.openxmlformats-officedocument.presentationml.tags+xml"/>
  <Override PartName="/ppt/tags/tag196.xml" ContentType="application/vnd.openxmlformats-officedocument.presentationml.tags+xml"/>
  <Override PartName="/ppt/tags/tag195.xml" ContentType="application/vnd.openxmlformats-officedocument.presentationml.tags+xml"/>
  <Override PartName="/ppt/tags/tag187.xml" ContentType="application/vnd.openxmlformats-officedocument.presentationml.tags+xml"/>
  <Override PartName="/ppt/tags/tag186.xml" ContentType="application/vnd.openxmlformats-officedocument.presentationml.tags+xml"/>
  <Override PartName="/ppt/tags/tag185.xml" ContentType="application/vnd.openxmlformats-officedocument.presentationml.tags+xml"/>
  <Override PartName="/ppt/tags/tag184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4.xml" ContentType="application/vnd.openxmlformats-officedocument.presentationml.tags+xml"/>
  <Override PartName="/ppt/tags/tag193.xml" ContentType="application/vnd.openxmlformats-officedocument.presentationml.tags+xml"/>
  <Override PartName="/ppt/tags/tag192.xml" ContentType="application/vnd.openxmlformats-officedocument.presentationml.tags+xml"/>
  <Override PartName="/ppt/tags/tag191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30.xml" ContentType="application/vnd.openxmlformats-officedocument.presentationml.tags+xml"/>
  <Override PartName="/ppt/tags/tag229.xml" ContentType="application/vnd.openxmlformats-officedocument.presentationml.tags+xml"/>
  <Override PartName="/ppt/tags/tag228.xml" ContentType="application/vnd.openxmlformats-officedocument.presentationml.tags+xml"/>
  <Override PartName="/ppt/tags/tag227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7.xml" ContentType="application/vnd.openxmlformats-officedocument.presentationml.tags+xml"/>
  <Override PartName="/ppt/tags/tag236.xml" ContentType="application/vnd.openxmlformats-officedocument.presentationml.tags+xml"/>
  <Override PartName="/ppt/tags/tag235.xml" ContentType="application/vnd.openxmlformats-officedocument.presentationml.tags+xml"/>
  <Override PartName="/ppt/tags/tag234.xml" ContentType="application/vnd.openxmlformats-officedocument.presentationml.tags+xml"/>
  <Override PartName="/ppt/tags/tag226.xml" ContentType="application/vnd.openxmlformats-officedocument.presentationml.tags+xml"/>
  <Override PartName="/ppt/tags/tag225.xml" ContentType="application/vnd.openxmlformats-officedocument.presentationml.tags+xml"/>
  <Override PartName="/ppt/tags/tag224.xml" ContentType="application/vnd.openxmlformats-officedocument.presentationml.tags+xml"/>
  <Override PartName="/ppt/tags/tag216.xml" ContentType="application/vnd.openxmlformats-officedocument.presentationml.tags+xml"/>
  <Override PartName="/ppt/tags/tag215.xml" ContentType="application/vnd.openxmlformats-officedocument.presentationml.tags+xml"/>
  <Override PartName="/ppt/tags/tag214.xml" ContentType="application/vnd.openxmlformats-officedocument.presentationml.tags+xml"/>
  <Override PartName="/ppt/tags/tag213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3.xml" ContentType="application/vnd.openxmlformats-officedocument.presentationml.tags+xml"/>
  <Override PartName="/ppt/tags/tag222.xml" ContentType="application/vnd.openxmlformats-officedocument.presentationml.tags+xml"/>
  <Override PartName="/ppt/tags/tag221.xml" ContentType="application/vnd.openxmlformats-officedocument.presentationml.tags+xml"/>
  <Override PartName="/ppt/tags/tag220.xml" ContentType="application/vnd.openxmlformats-officedocument.presentationml.tags+xml"/>
  <Override PartName="/ppt/tags/tag296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  <p:sldMasterId id="2147483664" r:id="rId3"/>
    <p:sldMasterId id="2147483669" r:id="rId4"/>
    <p:sldMasterId id="2147483673" r:id="rId5"/>
    <p:sldMasterId id="2147483685" r:id="rId6"/>
    <p:sldMasterId id="2147483692" r:id="rId7"/>
    <p:sldMasterId id="2147483704" r:id="rId8"/>
    <p:sldMasterId id="2147483709" r:id="rId9"/>
  </p:sldMasterIdLst>
  <p:notesMasterIdLst>
    <p:notesMasterId r:id="rId31"/>
  </p:notesMasterIdLst>
  <p:handoutMasterIdLst>
    <p:handoutMasterId r:id="rId32"/>
  </p:handoutMasterIdLst>
  <p:sldIdLst>
    <p:sldId id="256" r:id="rId10"/>
    <p:sldId id="317" r:id="rId11"/>
    <p:sldId id="318" r:id="rId12"/>
    <p:sldId id="319" r:id="rId13"/>
    <p:sldId id="329" r:id="rId14"/>
    <p:sldId id="355" r:id="rId15"/>
    <p:sldId id="356" r:id="rId16"/>
    <p:sldId id="341" r:id="rId17"/>
    <p:sldId id="349" r:id="rId18"/>
    <p:sldId id="354" r:id="rId19"/>
    <p:sldId id="352" r:id="rId20"/>
    <p:sldId id="353" r:id="rId21"/>
    <p:sldId id="350" r:id="rId22"/>
    <p:sldId id="338" r:id="rId23"/>
    <p:sldId id="351" r:id="rId24"/>
    <p:sldId id="342" r:id="rId25"/>
    <p:sldId id="344" r:id="rId26"/>
    <p:sldId id="346" r:id="rId27"/>
    <p:sldId id="347" r:id="rId28"/>
    <p:sldId id="348" r:id="rId29"/>
    <p:sldId id="259" r:id="rId30"/>
  </p:sldIdLst>
  <p:sldSz cx="9144000" cy="6858000" type="screen4x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>
      <p:cViewPr varScale="1">
        <p:scale>
          <a:sx n="70" d="100"/>
          <a:sy n="70" d="100"/>
        </p:scale>
        <p:origin x="1386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1" d="100"/>
        <a:sy n="71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presProps" Target="presProps.xml"/><Relationship Id="rId38" Type="http://schemas.openxmlformats.org/officeDocument/2006/relationships/customXml" Target="../customXml/item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handoutMaster" Target="handoutMasters/handoutMaster1.xml"/><Relationship Id="rId37" Type="http://schemas.openxmlformats.org/officeDocument/2006/relationships/customXml" Target="../customXml/item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EFD6599-9DCE-4D8C-A894-F90DFD6E3325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ZA"/>
        </a:p>
      </dgm:t>
    </dgm:pt>
    <dgm:pt modelId="{63633D09-F58A-42E7-9AAD-259205598F75}">
      <dgm:prSet/>
      <dgm:spPr>
        <a:solidFill>
          <a:srgbClr val="0070C0"/>
        </a:solidFill>
      </dgm:spPr>
      <dgm:t>
        <a:bodyPr/>
        <a:lstStyle/>
        <a:p>
          <a:pPr rtl="0"/>
          <a:r>
            <a:rPr lang="en-ZA" dirty="0" smtClean="0"/>
            <a:t>1) To redress the injustice of the past in order to achieve socio-economic development goals ~ </a:t>
          </a:r>
          <a:r>
            <a:rPr lang="en-ZA" b="1" i="1" dirty="0" smtClean="0"/>
            <a:t>fair &amp; equitable benefits sharing.</a:t>
          </a:r>
          <a:endParaRPr lang="en-ZA" b="1" i="1" dirty="0"/>
        </a:p>
      </dgm:t>
    </dgm:pt>
    <dgm:pt modelId="{DBD710AD-B8CD-4A9C-B81E-14A873B9DA18}" type="parTrans" cxnId="{6ED18810-BDFD-458E-B5E3-F03E4F004BE4}">
      <dgm:prSet/>
      <dgm:spPr/>
      <dgm:t>
        <a:bodyPr/>
        <a:lstStyle/>
        <a:p>
          <a:endParaRPr lang="en-ZA"/>
        </a:p>
      </dgm:t>
    </dgm:pt>
    <dgm:pt modelId="{6C759C35-F40C-4775-826D-8BF8A3498952}" type="sibTrans" cxnId="{6ED18810-BDFD-458E-B5E3-F03E4F004BE4}">
      <dgm:prSet/>
      <dgm:spPr/>
      <dgm:t>
        <a:bodyPr/>
        <a:lstStyle/>
        <a:p>
          <a:endParaRPr lang="en-ZA"/>
        </a:p>
      </dgm:t>
    </dgm:pt>
    <dgm:pt modelId="{22B7734C-C505-4D0D-9F72-22CBB9194E6F}">
      <dgm:prSet/>
      <dgm:spPr>
        <a:solidFill>
          <a:srgbClr val="FF0000"/>
        </a:solidFill>
      </dgm:spPr>
      <dgm:t>
        <a:bodyPr/>
        <a:lstStyle/>
        <a:p>
          <a:pPr rtl="0"/>
          <a:r>
            <a:rPr lang="en-ZA" dirty="0" smtClean="0"/>
            <a:t>2)To provide regulatory framework for bioprospecting / </a:t>
          </a:r>
          <a:r>
            <a:rPr lang="en-ZA" dirty="0" err="1" smtClean="0"/>
            <a:t>biotrade</a:t>
          </a:r>
          <a:r>
            <a:rPr lang="en-ZA" dirty="0" smtClean="0"/>
            <a:t> activities ~ attain conservation &amp; sustainable utilization of Indigenous Biological Resources ~ </a:t>
          </a:r>
          <a:r>
            <a:rPr lang="en-ZA" b="1" i="1" dirty="0" smtClean="0"/>
            <a:t>Permitting System.</a:t>
          </a:r>
          <a:endParaRPr lang="en-ZA" b="1" i="1" dirty="0"/>
        </a:p>
      </dgm:t>
    </dgm:pt>
    <dgm:pt modelId="{D25DE717-9848-4B8B-95EB-7DF4A17EA6D9}" type="parTrans" cxnId="{953F17C8-6825-408C-85CF-CDBA046A232F}">
      <dgm:prSet/>
      <dgm:spPr/>
      <dgm:t>
        <a:bodyPr/>
        <a:lstStyle/>
        <a:p>
          <a:endParaRPr lang="en-ZA"/>
        </a:p>
      </dgm:t>
    </dgm:pt>
    <dgm:pt modelId="{71AF0DC1-6C43-4AA6-8142-79C3F6D415F6}" type="sibTrans" cxnId="{953F17C8-6825-408C-85CF-CDBA046A232F}">
      <dgm:prSet/>
      <dgm:spPr/>
      <dgm:t>
        <a:bodyPr/>
        <a:lstStyle/>
        <a:p>
          <a:endParaRPr lang="en-ZA"/>
        </a:p>
      </dgm:t>
    </dgm:pt>
    <dgm:pt modelId="{FC975890-AB67-4A59-885A-742252634FC0}">
      <dgm:prSet/>
      <dgm:spPr>
        <a:solidFill>
          <a:schemeClr val="accent5">
            <a:lumMod val="75000"/>
          </a:schemeClr>
        </a:solidFill>
      </dgm:spPr>
      <dgm:t>
        <a:bodyPr/>
        <a:lstStyle/>
        <a:p>
          <a:pPr rtl="0"/>
          <a:r>
            <a:rPr lang="en-ZA" dirty="0" smtClean="0"/>
            <a:t>3)To provide obligatory requirements  to the regulated sectors  to recognize existing Traditional Knowledge on the useful properties  of Indigenous Biological Resources  ~ </a:t>
          </a:r>
          <a:r>
            <a:rPr lang="en-ZA" b="1" i="1" dirty="0" smtClean="0"/>
            <a:t>Benefit Sharing Agreements.</a:t>
          </a:r>
          <a:endParaRPr lang="en-ZA" b="1" i="1" dirty="0"/>
        </a:p>
      </dgm:t>
    </dgm:pt>
    <dgm:pt modelId="{15454E58-706A-4873-ABDA-709B67341E13}" type="parTrans" cxnId="{E7CEEC46-2484-4A03-9ACD-C6315FAD2416}">
      <dgm:prSet/>
      <dgm:spPr/>
      <dgm:t>
        <a:bodyPr/>
        <a:lstStyle/>
        <a:p>
          <a:endParaRPr lang="en-ZA"/>
        </a:p>
      </dgm:t>
    </dgm:pt>
    <dgm:pt modelId="{5585F0B1-086F-4D46-B8F4-39917F84A1A3}" type="sibTrans" cxnId="{E7CEEC46-2484-4A03-9ACD-C6315FAD2416}">
      <dgm:prSet/>
      <dgm:spPr/>
      <dgm:t>
        <a:bodyPr/>
        <a:lstStyle/>
        <a:p>
          <a:endParaRPr lang="en-ZA"/>
        </a:p>
      </dgm:t>
    </dgm:pt>
    <dgm:pt modelId="{C3983268-F7B3-4845-A6F2-8898BB818750}">
      <dgm:prSet/>
      <dgm:spPr>
        <a:solidFill>
          <a:srgbClr val="7030A0"/>
        </a:solidFill>
      </dgm:spPr>
      <dgm:t>
        <a:bodyPr/>
        <a:lstStyle/>
        <a:p>
          <a:pPr rtl="0"/>
          <a:r>
            <a:rPr lang="en-ZA" b="0" dirty="0" smtClean="0">
              <a:solidFill>
                <a:schemeClr val="bg1"/>
              </a:solidFill>
            </a:rPr>
            <a:t>5) To implement international regulatory obligations adopted by South Africa ~ </a:t>
          </a:r>
          <a:r>
            <a:rPr lang="en-ZA" b="1" i="1" dirty="0" smtClean="0">
              <a:solidFill>
                <a:schemeClr val="bg1"/>
              </a:solidFill>
            </a:rPr>
            <a:t>CBD &amp; Nagoya Protocol on ABS  </a:t>
          </a:r>
          <a:endParaRPr lang="en-ZA" b="1" i="1" dirty="0">
            <a:solidFill>
              <a:schemeClr val="bg1"/>
            </a:solidFill>
          </a:endParaRPr>
        </a:p>
      </dgm:t>
    </dgm:pt>
    <dgm:pt modelId="{AEA5808D-26E1-447B-8AAE-41FD9092BE4A}" type="parTrans" cxnId="{A13D2811-3C0E-4AAB-BEE5-B42A4DB9139E}">
      <dgm:prSet/>
      <dgm:spPr/>
      <dgm:t>
        <a:bodyPr/>
        <a:lstStyle/>
        <a:p>
          <a:endParaRPr lang="en-ZA"/>
        </a:p>
      </dgm:t>
    </dgm:pt>
    <dgm:pt modelId="{2419443C-8E19-4508-A67E-5C1BF9FC2C04}" type="sibTrans" cxnId="{A13D2811-3C0E-4AAB-BEE5-B42A4DB9139E}">
      <dgm:prSet/>
      <dgm:spPr/>
      <dgm:t>
        <a:bodyPr/>
        <a:lstStyle/>
        <a:p>
          <a:endParaRPr lang="en-ZA"/>
        </a:p>
      </dgm:t>
    </dgm:pt>
    <dgm:pt modelId="{62D8C32B-7C86-42B4-B977-413BD9189166}">
      <dgm:prSet/>
      <dgm:spPr>
        <a:solidFill>
          <a:srgbClr val="00B050"/>
        </a:solidFill>
      </dgm:spPr>
      <dgm:t>
        <a:bodyPr/>
        <a:lstStyle/>
        <a:p>
          <a:r>
            <a:rPr lang="en-ZA" dirty="0" smtClean="0"/>
            <a:t>4)To provide obligatory requirements to the regulated sectors to seek permission from the land owners  to access/collect Indigenous Biological Resources ~ </a:t>
          </a:r>
          <a:r>
            <a:rPr lang="en-ZA" b="1" i="1" dirty="0" smtClean="0"/>
            <a:t>Material Transfer Agreements &amp; Benefit Sharing Agreements.</a:t>
          </a:r>
          <a:endParaRPr lang="en-ZA" b="1" i="1" dirty="0"/>
        </a:p>
      </dgm:t>
    </dgm:pt>
    <dgm:pt modelId="{FD6A9840-4087-47E2-8A1E-1BBB04999DDE}" type="parTrans" cxnId="{E4DE3859-C52F-4691-88B8-469B2171C59B}">
      <dgm:prSet/>
      <dgm:spPr/>
      <dgm:t>
        <a:bodyPr/>
        <a:lstStyle/>
        <a:p>
          <a:endParaRPr lang="en-ZA"/>
        </a:p>
      </dgm:t>
    </dgm:pt>
    <dgm:pt modelId="{816A8660-5DC1-44E7-BB7F-10E824F11DED}" type="sibTrans" cxnId="{E4DE3859-C52F-4691-88B8-469B2171C59B}">
      <dgm:prSet/>
      <dgm:spPr/>
      <dgm:t>
        <a:bodyPr/>
        <a:lstStyle/>
        <a:p>
          <a:endParaRPr lang="en-ZA"/>
        </a:p>
      </dgm:t>
    </dgm:pt>
    <dgm:pt modelId="{2DBDAFAE-0AF5-4964-8181-515D4D2D14CB}" type="pres">
      <dgm:prSet presAssocID="{EEFD6599-9DCE-4D8C-A894-F90DFD6E3325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FADDFFFA-AE9D-4AC1-B6FF-2D3A5073E437}" type="pres">
      <dgm:prSet presAssocID="{63633D09-F58A-42E7-9AAD-259205598F75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365D8D49-EBF6-401C-A3D5-93C0C2CD79B3}" type="pres">
      <dgm:prSet presAssocID="{6C759C35-F40C-4775-826D-8BF8A3498952}" presName="spacer" presStyleCnt="0"/>
      <dgm:spPr/>
    </dgm:pt>
    <dgm:pt modelId="{19F71675-B50F-4976-8539-706793AFAD23}" type="pres">
      <dgm:prSet presAssocID="{22B7734C-C505-4D0D-9F72-22CBB9194E6F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202B54D7-35C7-477B-AF4C-1DEA716746A3}" type="pres">
      <dgm:prSet presAssocID="{71AF0DC1-6C43-4AA6-8142-79C3F6D415F6}" presName="spacer" presStyleCnt="0"/>
      <dgm:spPr/>
    </dgm:pt>
    <dgm:pt modelId="{7C4E1A90-D421-441B-BCCD-E3856C619D5A}" type="pres">
      <dgm:prSet presAssocID="{FC975890-AB67-4A59-885A-742252634FC0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3F692143-957F-401D-B83E-9B6F169D6AD5}" type="pres">
      <dgm:prSet presAssocID="{5585F0B1-086F-4D46-B8F4-39917F84A1A3}" presName="spacer" presStyleCnt="0"/>
      <dgm:spPr/>
    </dgm:pt>
    <dgm:pt modelId="{E6E51DE5-7358-4B8E-9CFE-ADA8F562C37C}" type="pres">
      <dgm:prSet presAssocID="{62D8C32B-7C86-42B4-B977-413BD9189166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9614D335-5D04-4560-8094-42103ADE8339}" type="pres">
      <dgm:prSet presAssocID="{816A8660-5DC1-44E7-BB7F-10E824F11DED}" presName="spacer" presStyleCnt="0"/>
      <dgm:spPr/>
    </dgm:pt>
    <dgm:pt modelId="{FFD20F74-F041-4A81-A89A-E5C10584BA88}" type="pres">
      <dgm:prSet presAssocID="{C3983268-F7B3-4845-A6F2-8898BB818750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6ED18810-BDFD-458E-B5E3-F03E4F004BE4}" srcId="{EEFD6599-9DCE-4D8C-A894-F90DFD6E3325}" destId="{63633D09-F58A-42E7-9AAD-259205598F75}" srcOrd="0" destOrd="0" parTransId="{DBD710AD-B8CD-4A9C-B81E-14A873B9DA18}" sibTransId="{6C759C35-F40C-4775-826D-8BF8A3498952}"/>
    <dgm:cxn modelId="{A13D2811-3C0E-4AAB-BEE5-B42A4DB9139E}" srcId="{EEFD6599-9DCE-4D8C-A894-F90DFD6E3325}" destId="{C3983268-F7B3-4845-A6F2-8898BB818750}" srcOrd="4" destOrd="0" parTransId="{AEA5808D-26E1-447B-8AAE-41FD9092BE4A}" sibTransId="{2419443C-8E19-4508-A67E-5C1BF9FC2C04}"/>
    <dgm:cxn modelId="{952230B1-FFE3-4D29-8B0D-3B2A45825727}" type="presOf" srcId="{FC975890-AB67-4A59-885A-742252634FC0}" destId="{7C4E1A90-D421-441B-BCCD-E3856C619D5A}" srcOrd="0" destOrd="0" presId="urn:microsoft.com/office/officeart/2005/8/layout/vList2"/>
    <dgm:cxn modelId="{2ACEBDD2-217C-466D-92CF-D344D6655687}" type="presOf" srcId="{EEFD6599-9DCE-4D8C-A894-F90DFD6E3325}" destId="{2DBDAFAE-0AF5-4964-8181-515D4D2D14CB}" srcOrd="0" destOrd="0" presId="urn:microsoft.com/office/officeart/2005/8/layout/vList2"/>
    <dgm:cxn modelId="{4501242B-4832-4118-B9CF-791E1FCB1DE4}" type="presOf" srcId="{63633D09-F58A-42E7-9AAD-259205598F75}" destId="{FADDFFFA-AE9D-4AC1-B6FF-2D3A5073E437}" srcOrd="0" destOrd="0" presId="urn:microsoft.com/office/officeart/2005/8/layout/vList2"/>
    <dgm:cxn modelId="{E4DE3859-C52F-4691-88B8-469B2171C59B}" srcId="{EEFD6599-9DCE-4D8C-A894-F90DFD6E3325}" destId="{62D8C32B-7C86-42B4-B977-413BD9189166}" srcOrd="3" destOrd="0" parTransId="{FD6A9840-4087-47E2-8A1E-1BBB04999DDE}" sibTransId="{816A8660-5DC1-44E7-BB7F-10E824F11DED}"/>
    <dgm:cxn modelId="{E0AE1486-2DDF-4B4C-8F1D-F6C48B4FE5F8}" type="presOf" srcId="{22B7734C-C505-4D0D-9F72-22CBB9194E6F}" destId="{19F71675-B50F-4976-8539-706793AFAD23}" srcOrd="0" destOrd="0" presId="urn:microsoft.com/office/officeart/2005/8/layout/vList2"/>
    <dgm:cxn modelId="{953F17C8-6825-408C-85CF-CDBA046A232F}" srcId="{EEFD6599-9DCE-4D8C-A894-F90DFD6E3325}" destId="{22B7734C-C505-4D0D-9F72-22CBB9194E6F}" srcOrd="1" destOrd="0" parTransId="{D25DE717-9848-4B8B-95EB-7DF4A17EA6D9}" sibTransId="{71AF0DC1-6C43-4AA6-8142-79C3F6D415F6}"/>
    <dgm:cxn modelId="{E87EBB26-882F-4AAA-B6AF-8B02CA6ED91C}" type="presOf" srcId="{62D8C32B-7C86-42B4-B977-413BD9189166}" destId="{E6E51DE5-7358-4B8E-9CFE-ADA8F562C37C}" srcOrd="0" destOrd="0" presId="urn:microsoft.com/office/officeart/2005/8/layout/vList2"/>
    <dgm:cxn modelId="{E7CEEC46-2484-4A03-9ACD-C6315FAD2416}" srcId="{EEFD6599-9DCE-4D8C-A894-F90DFD6E3325}" destId="{FC975890-AB67-4A59-885A-742252634FC0}" srcOrd="2" destOrd="0" parTransId="{15454E58-706A-4873-ABDA-709B67341E13}" sibTransId="{5585F0B1-086F-4D46-B8F4-39917F84A1A3}"/>
    <dgm:cxn modelId="{CED0B48D-38A5-4A71-BC7B-F81C0C5FE0BD}" type="presOf" srcId="{C3983268-F7B3-4845-A6F2-8898BB818750}" destId="{FFD20F74-F041-4A81-A89A-E5C10584BA88}" srcOrd="0" destOrd="0" presId="urn:microsoft.com/office/officeart/2005/8/layout/vList2"/>
    <dgm:cxn modelId="{A2742B10-B8E1-4D82-876C-113C8A501FD7}" type="presParOf" srcId="{2DBDAFAE-0AF5-4964-8181-515D4D2D14CB}" destId="{FADDFFFA-AE9D-4AC1-B6FF-2D3A5073E437}" srcOrd="0" destOrd="0" presId="urn:microsoft.com/office/officeart/2005/8/layout/vList2"/>
    <dgm:cxn modelId="{073B7A55-BE13-4B0C-8EA1-F26EDCF1FD4F}" type="presParOf" srcId="{2DBDAFAE-0AF5-4964-8181-515D4D2D14CB}" destId="{365D8D49-EBF6-401C-A3D5-93C0C2CD79B3}" srcOrd="1" destOrd="0" presId="urn:microsoft.com/office/officeart/2005/8/layout/vList2"/>
    <dgm:cxn modelId="{21FD5CE6-FB16-4482-94AF-502C80485545}" type="presParOf" srcId="{2DBDAFAE-0AF5-4964-8181-515D4D2D14CB}" destId="{19F71675-B50F-4976-8539-706793AFAD23}" srcOrd="2" destOrd="0" presId="urn:microsoft.com/office/officeart/2005/8/layout/vList2"/>
    <dgm:cxn modelId="{2C041D00-EA5C-49E6-B47B-418D411700B6}" type="presParOf" srcId="{2DBDAFAE-0AF5-4964-8181-515D4D2D14CB}" destId="{202B54D7-35C7-477B-AF4C-1DEA716746A3}" srcOrd="3" destOrd="0" presId="urn:microsoft.com/office/officeart/2005/8/layout/vList2"/>
    <dgm:cxn modelId="{5619249F-0F36-4E86-9771-5AFA8575AEA6}" type="presParOf" srcId="{2DBDAFAE-0AF5-4964-8181-515D4D2D14CB}" destId="{7C4E1A90-D421-441B-BCCD-E3856C619D5A}" srcOrd="4" destOrd="0" presId="urn:microsoft.com/office/officeart/2005/8/layout/vList2"/>
    <dgm:cxn modelId="{14A5245B-AA5E-4783-AA56-7FF1D658D985}" type="presParOf" srcId="{2DBDAFAE-0AF5-4964-8181-515D4D2D14CB}" destId="{3F692143-957F-401D-B83E-9B6F169D6AD5}" srcOrd="5" destOrd="0" presId="urn:microsoft.com/office/officeart/2005/8/layout/vList2"/>
    <dgm:cxn modelId="{DB336826-E17A-48A5-9B3F-186F21F13E82}" type="presParOf" srcId="{2DBDAFAE-0AF5-4964-8181-515D4D2D14CB}" destId="{E6E51DE5-7358-4B8E-9CFE-ADA8F562C37C}" srcOrd="6" destOrd="0" presId="urn:microsoft.com/office/officeart/2005/8/layout/vList2"/>
    <dgm:cxn modelId="{41A1A756-FE1E-4265-BCDC-66CDAC180DC3}" type="presParOf" srcId="{2DBDAFAE-0AF5-4964-8181-515D4D2D14CB}" destId="{9614D335-5D04-4560-8094-42103ADE8339}" srcOrd="7" destOrd="0" presId="urn:microsoft.com/office/officeart/2005/8/layout/vList2"/>
    <dgm:cxn modelId="{53E1272B-9FA3-4801-85AD-64F531594B94}" type="presParOf" srcId="{2DBDAFAE-0AF5-4964-8181-515D4D2D14CB}" destId="{FFD20F74-F041-4A81-A89A-E5C10584BA88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ADDFFFA-AE9D-4AC1-B6FF-2D3A5073E437}">
      <dsp:nvSpPr>
        <dsp:cNvPr id="0" name=""/>
        <dsp:cNvSpPr/>
      </dsp:nvSpPr>
      <dsp:spPr>
        <a:xfrm>
          <a:off x="0" y="108938"/>
          <a:ext cx="8229600" cy="1006931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800" kern="1200" dirty="0" smtClean="0"/>
            <a:t>1) To redress the injustice of the past in order to achieve socio-economic development goals ~ </a:t>
          </a:r>
          <a:r>
            <a:rPr lang="en-ZA" sz="1800" b="1" i="1" kern="1200" dirty="0" smtClean="0"/>
            <a:t>fair &amp; equitable benefits sharing.</a:t>
          </a:r>
          <a:endParaRPr lang="en-ZA" sz="1800" b="1" i="1" kern="1200" dirty="0"/>
        </a:p>
      </dsp:txBody>
      <dsp:txXfrm>
        <a:off x="49154" y="158092"/>
        <a:ext cx="8131292" cy="908623"/>
      </dsp:txXfrm>
    </dsp:sp>
    <dsp:sp modelId="{19F71675-B50F-4976-8539-706793AFAD23}">
      <dsp:nvSpPr>
        <dsp:cNvPr id="0" name=""/>
        <dsp:cNvSpPr/>
      </dsp:nvSpPr>
      <dsp:spPr>
        <a:xfrm>
          <a:off x="0" y="1167710"/>
          <a:ext cx="8229600" cy="1006931"/>
        </a:xfrm>
        <a:prstGeom prst="roundRect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800" kern="1200" dirty="0" smtClean="0"/>
            <a:t>2)To provide regulatory framework for bioprospecting / </a:t>
          </a:r>
          <a:r>
            <a:rPr lang="en-ZA" sz="1800" kern="1200" dirty="0" err="1" smtClean="0"/>
            <a:t>biotrade</a:t>
          </a:r>
          <a:r>
            <a:rPr lang="en-ZA" sz="1800" kern="1200" dirty="0" smtClean="0"/>
            <a:t> activities ~ attain conservation &amp; sustainable utilization of Indigenous Biological Resources ~ </a:t>
          </a:r>
          <a:r>
            <a:rPr lang="en-ZA" sz="1800" b="1" i="1" kern="1200" dirty="0" smtClean="0"/>
            <a:t>Permitting System.</a:t>
          </a:r>
          <a:endParaRPr lang="en-ZA" sz="1800" b="1" i="1" kern="1200" dirty="0"/>
        </a:p>
      </dsp:txBody>
      <dsp:txXfrm>
        <a:off x="49154" y="1216864"/>
        <a:ext cx="8131292" cy="908623"/>
      </dsp:txXfrm>
    </dsp:sp>
    <dsp:sp modelId="{7C4E1A90-D421-441B-BCCD-E3856C619D5A}">
      <dsp:nvSpPr>
        <dsp:cNvPr id="0" name=""/>
        <dsp:cNvSpPr/>
      </dsp:nvSpPr>
      <dsp:spPr>
        <a:xfrm>
          <a:off x="0" y="2226481"/>
          <a:ext cx="8229600" cy="1006931"/>
        </a:xfrm>
        <a:prstGeom prst="roundRect">
          <a:avLst/>
        </a:prstGeom>
        <a:solidFill>
          <a:schemeClr val="accent5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800" kern="1200" dirty="0" smtClean="0"/>
            <a:t>3)To provide obligatory requirements  to the regulated sectors  to recognize existing Traditional Knowledge on the useful properties  of Indigenous Biological Resources  ~ </a:t>
          </a:r>
          <a:r>
            <a:rPr lang="en-ZA" sz="1800" b="1" i="1" kern="1200" dirty="0" smtClean="0"/>
            <a:t>Benefit Sharing Agreements.</a:t>
          </a:r>
          <a:endParaRPr lang="en-ZA" sz="1800" b="1" i="1" kern="1200" dirty="0"/>
        </a:p>
      </dsp:txBody>
      <dsp:txXfrm>
        <a:off x="49154" y="2275635"/>
        <a:ext cx="8131292" cy="908623"/>
      </dsp:txXfrm>
    </dsp:sp>
    <dsp:sp modelId="{E6E51DE5-7358-4B8E-9CFE-ADA8F562C37C}">
      <dsp:nvSpPr>
        <dsp:cNvPr id="0" name=""/>
        <dsp:cNvSpPr/>
      </dsp:nvSpPr>
      <dsp:spPr>
        <a:xfrm>
          <a:off x="0" y="3285252"/>
          <a:ext cx="8229600" cy="1006931"/>
        </a:xfrm>
        <a:prstGeom prst="round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800" kern="1200" dirty="0" smtClean="0"/>
            <a:t>4)To provide obligatory requirements to the regulated sectors to seek permission from the land owners  to access/collect Indigenous Biological Resources ~ </a:t>
          </a:r>
          <a:r>
            <a:rPr lang="en-ZA" sz="1800" b="1" i="1" kern="1200" dirty="0" smtClean="0"/>
            <a:t>Material Transfer Agreements &amp; Benefit Sharing Agreements.</a:t>
          </a:r>
          <a:endParaRPr lang="en-ZA" sz="1800" b="1" i="1" kern="1200" dirty="0"/>
        </a:p>
      </dsp:txBody>
      <dsp:txXfrm>
        <a:off x="49154" y="3334406"/>
        <a:ext cx="8131292" cy="908623"/>
      </dsp:txXfrm>
    </dsp:sp>
    <dsp:sp modelId="{FFD20F74-F041-4A81-A89A-E5C10584BA88}">
      <dsp:nvSpPr>
        <dsp:cNvPr id="0" name=""/>
        <dsp:cNvSpPr/>
      </dsp:nvSpPr>
      <dsp:spPr>
        <a:xfrm>
          <a:off x="0" y="4344023"/>
          <a:ext cx="8229600" cy="1006931"/>
        </a:xfrm>
        <a:prstGeom prst="roundRect">
          <a:avLst/>
        </a:prstGeom>
        <a:solidFill>
          <a:srgbClr val="7030A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800" b="0" kern="1200" dirty="0" smtClean="0">
              <a:solidFill>
                <a:schemeClr val="bg1"/>
              </a:solidFill>
            </a:rPr>
            <a:t>5) To implement international regulatory obligations adopted by South Africa ~ </a:t>
          </a:r>
          <a:r>
            <a:rPr lang="en-ZA" sz="1800" b="1" i="1" kern="1200" dirty="0" smtClean="0">
              <a:solidFill>
                <a:schemeClr val="bg1"/>
              </a:solidFill>
            </a:rPr>
            <a:t>CBD &amp; Nagoya Protocol on ABS  </a:t>
          </a:r>
          <a:endParaRPr lang="en-ZA" sz="1800" b="1" i="1" kern="1200" dirty="0">
            <a:solidFill>
              <a:schemeClr val="bg1"/>
            </a:solidFill>
          </a:endParaRPr>
        </a:p>
      </dsp:txBody>
      <dsp:txXfrm>
        <a:off x="49154" y="4393177"/>
        <a:ext cx="8131292" cy="90862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4.v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image" Target="../media/image3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D17EBC-BF89-4CA9-A274-A8D16977F94B}" type="datetimeFigureOut">
              <a:rPr lang="en-ZA" smtClean="0"/>
              <a:t>2017/10/31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65216B-5507-4019-A9FB-C4372EBA290E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5075477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2C7559-BEE1-834E-8AD5-4950218AFD9A}" type="datetimeFigureOut">
              <a:rPr lang="en-US" smtClean="0"/>
              <a:t>10/31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BD3FE9-1443-3744-906E-C31550C0E91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32292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7119938" y="8729663"/>
            <a:ext cx="84137" cy="1857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79463" indent="-300038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200150" indent="-2397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79575" indent="-2397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159000" indent="-239713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616200" indent="-239713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3073400" indent="-239713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530600" indent="-239713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987800" indent="-239713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05EEA36F-FF81-4896-9D10-A4A7960EE333}" type="slidenum">
              <a:rPr lang="en-US" altLang="en-US" smtClean="0">
                <a:solidFill>
                  <a:srgbClr val="000000"/>
                </a:solidFill>
                <a:latin typeface="Arial" panose="020B0604020202020204" pitchFamily="34" charset="0"/>
              </a:rPr>
              <a:pPr/>
              <a:t>7</a:t>
            </a:fld>
            <a:endParaRPr lang="en-US" altLang="en-US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7063" y="4886325"/>
            <a:ext cx="6594475" cy="246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</p:spTree>
    <p:extLst>
      <p:ext uri="{BB962C8B-B14F-4D97-AF65-F5344CB8AC3E}">
        <p14:creationId xmlns:p14="http://schemas.microsoft.com/office/powerpoint/2010/main" val="38915847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24503" y="4436096"/>
            <a:ext cx="6510921" cy="24622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865506" y="7908261"/>
            <a:ext cx="169919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2645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gif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png"/><Relationship Id="rId2" Type="http://schemas.openxmlformats.org/officeDocument/2006/relationships/tags" Target="../tags/tag4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3" Type="http://schemas.openxmlformats.org/officeDocument/2006/relationships/tags" Target="../tags/tag42.xml"/><Relationship Id="rId21" Type="http://schemas.openxmlformats.org/officeDocument/2006/relationships/slideMaster" Target="../slideMasters/slideMaster3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image" Target="../media/image3.png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1" Type="http://schemas.openxmlformats.org/officeDocument/2006/relationships/vmlDrawing" Target="../drawings/vmlDrawing5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image" Target="../media/image6.png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image" Target="../media/image1.emf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.gif"/><Relationship Id="rId2" Type="http://schemas.openxmlformats.org/officeDocument/2006/relationships/tags" Target="../tags/tag7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.gif"/><Relationship Id="rId2" Type="http://schemas.openxmlformats.org/officeDocument/2006/relationships/tags" Target="../tags/tag9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2.gif"/><Relationship Id="rId2" Type="http://schemas.openxmlformats.org/officeDocument/2006/relationships/tags" Target="../tags/tag1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/>
              <a:t>10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52292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/>
              <a:t>10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65420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/>
              <a:t>10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3708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379" name="Picture 67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" y="0"/>
            <a:ext cx="9145619" cy="55395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Title Elements" hidden="1"/>
          <p:cNvGrpSpPr>
            <a:grpSpLocks/>
          </p:cNvGrpSpPr>
          <p:nvPr/>
        </p:nvGrpSpPr>
        <p:grpSpPr bwMode="auto">
          <a:xfrm>
            <a:off x="4627819" y="4862783"/>
            <a:ext cx="4299393" cy="497262"/>
            <a:chOff x="1663" y="3104"/>
            <a:chExt cx="3109" cy="307"/>
          </a:xfrm>
        </p:grpSpPr>
        <p:sp>
          <p:nvSpPr>
            <p:cNvPr id="9" name="Document type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32962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28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Date"/>
            <p:cNvSpPr txBox="1">
              <a:spLocks noChangeArrowheads="1"/>
            </p:cNvSpPr>
            <p:nvPr/>
          </p:nvSpPr>
          <p:spPr bwMode="auto">
            <a:xfrm>
              <a:off x="1663" y="3273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32962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28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627819" y="2856143"/>
            <a:ext cx="4299393" cy="879343"/>
          </a:xfrm>
          <a:prstGeom prst="rect">
            <a:avLst/>
          </a:prstGeom>
        </p:spPr>
        <p:txBody>
          <a:bodyPr/>
          <a:lstStyle>
            <a:lvl1pPr>
              <a:defRPr sz="2857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627819" y="3970992"/>
            <a:ext cx="4299393" cy="219820"/>
          </a:xfrm>
        </p:spPr>
        <p:txBody>
          <a:bodyPr wrap="square">
            <a:spAutoFit/>
          </a:bodyPr>
          <a:lstStyle>
            <a:lvl1pPr>
              <a:defRPr sz="1428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13" name="TitleTopPlaceholder"/>
          <p:cNvSpPr>
            <a:spLocks noChangeArrowheads="1"/>
          </p:cNvSpPr>
          <p:nvPr userDrawn="1"/>
        </p:nvSpPr>
        <p:spPr bwMode="ltGray">
          <a:xfrm>
            <a:off x="1" y="5536517"/>
            <a:ext cx="9140760" cy="93135"/>
          </a:xfrm>
          <a:prstGeom prst="rect">
            <a:avLst/>
          </a:prstGeom>
          <a:solidFill>
            <a:srgbClr val="BF901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pic>
        <p:nvPicPr>
          <p:cNvPr id="14" name="Picture 8" descr="http://sawic.environment.gov.za/images/logo_dea.gi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52266" y="5897926"/>
            <a:ext cx="2177066" cy="796916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8" name="Picture 16" descr="http://www.tourism.gov.za/images/logo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6902414" y="5927514"/>
            <a:ext cx="2024800" cy="737738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4140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2190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1" y="6356357"/>
            <a:ext cx="2133600" cy="365125"/>
          </a:xfrm>
          <a:prstGeom prst="rect">
            <a:avLst/>
          </a:prstGeom>
        </p:spPr>
        <p:txBody>
          <a:bodyPr lIns="89611" tIns="44806" rIns="89611" bIns="44806"/>
          <a:lstStyle/>
          <a:p>
            <a:pPr defTabSz="914206"/>
            <a:fld id="{D2FA05EB-F436-4846-A1E2-51F37B52FB02}" type="datetimeFigureOut">
              <a:rPr lang="en-ZA" smtClean="0">
                <a:solidFill>
                  <a:srgbClr val="000000"/>
                </a:solidFill>
              </a:rPr>
              <a:pPr defTabSz="914206"/>
              <a:t>2017/10/31</a:t>
            </a:fld>
            <a:endParaRPr lang="en-ZA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3" y="6356357"/>
            <a:ext cx="2895600" cy="365125"/>
          </a:xfrm>
          <a:prstGeom prst="rect">
            <a:avLst/>
          </a:prstGeom>
        </p:spPr>
        <p:txBody>
          <a:bodyPr lIns="89611" tIns="44806" rIns="89611" bIns="44806"/>
          <a:lstStyle/>
          <a:p>
            <a:pPr defTabSz="914206"/>
            <a:endParaRPr lang="en-ZA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7"/>
            <a:ext cx="2133600" cy="365125"/>
          </a:xfrm>
          <a:prstGeom prst="rect">
            <a:avLst/>
          </a:prstGeom>
        </p:spPr>
        <p:txBody>
          <a:bodyPr lIns="89611" tIns="44806" rIns="89611" bIns="44806"/>
          <a:lstStyle/>
          <a:p>
            <a:pPr defTabSz="914206"/>
            <a:fld id="{D7D5F2B0-C289-42BE-AE87-406B8AF3C3CD}" type="slidenum">
              <a:rPr lang="en-ZA" smtClean="0">
                <a:solidFill>
                  <a:srgbClr val="000000"/>
                </a:solidFill>
              </a:rPr>
              <a:pPr defTabSz="914206"/>
              <a:t>‹#›</a:t>
            </a:fld>
            <a:endParaRPr lang="en-ZA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20576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5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67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9145588" cy="553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" name="Title Elements" hidden="1"/>
          <p:cNvGrpSpPr>
            <a:grpSpLocks/>
          </p:cNvGrpSpPr>
          <p:nvPr/>
        </p:nvGrpSpPr>
        <p:grpSpPr bwMode="auto">
          <a:xfrm>
            <a:off x="4627563" y="4862513"/>
            <a:ext cx="4298950" cy="496887"/>
            <a:chOff x="1663" y="3104"/>
            <a:chExt cx="3109" cy="307"/>
          </a:xfrm>
        </p:grpSpPr>
        <p:sp>
          <p:nvSpPr>
            <p:cNvPr id="7" name="Document type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32962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Document type</a:t>
              </a:r>
            </a:p>
          </p:txBody>
        </p:sp>
        <p:sp>
          <p:nvSpPr>
            <p:cNvPr id="8" name="Date"/>
            <p:cNvSpPr txBox="1">
              <a:spLocks noChangeArrowheads="1"/>
            </p:cNvSpPr>
            <p:nvPr/>
          </p:nvSpPr>
          <p:spPr bwMode="auto">
            <a:xfrm>
              <a:off x="1663" y="3273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32962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Date</a:t>
              </a:r>
            </a:p>
          </p:txBody>
        </p:sp>
      </p:grpSp>
      <p:sp>
        <p:nvSpPr>
          <p:cNvPr id="9" name="TitleTopPlaceholder"/>
          <p:cNvSpPr>
            <a:spLocks noChangeArrowheads="1"/>
          </p:cNvSpPr>
          <p:nvPr userDrawn="1"/>
        </p:nvSpPr>
        <p:spPr bwMode="ltGray">
          <a:xfrm>
            <a:off x="0" y="5537200"/>
            <a:ext cx="9140825" cy="92075"/>
          </a:xfrm>
          <a:prstGeom prst="rect">
            <a:avLst/>
          </a:prstGeom>
          <a:solidFill>
            <a:srgbClr val="BF901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32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10" name="Picture 8" descr="http://sawic.environment.gov.za/images/logo_dea.gi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52400" y="5897563"/>
            <a:ext cx="2176463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6" descr="http://www.tourism.gov.za/images/logo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6902450" y="5927725"/>
            <a:ext cx="2024063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627819" y="2856143"/>
            <a:ext cx="4299393" cy="879343"/>
          </a:xfrm>
          <a:prstGeom prst="rect">
            <a:avLst/>
          </a:prstGeom>
        </p:spPr>
        <p:txBody>
          <a:bodyPr/>
          <a:lstStyle>
            <a:lvl1pPr>
              <a:defRPr sz="2857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627819" y="3970992"/>
            <a:ext cx="4299393" cy="219820"/>
          </a:xfrm>
        </p:spPr>
        <p:txBody>
          <a:bodyPr/>
          <a:lstStyle>
            <a:lvl1pPr>
              <a:defRPr sz="1428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318570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791156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13105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9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8" descr="http://sawic.environment.gov.za/images/logo_dea.gif"/>
          <p:cNvPicPr>
            <a:picLocks noChangeAspect="1" noChangeArrowheads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74625" y="6348413"/>
            <a:ext cx="1233488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6" descr="http://www.tourism.gov.za/images/logo.png"/>
          <p:cNvPicPr>
            <a:picLocks noChangeAspect="1" noChangeArrowheads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7416800" y="6367463"/>
            <a:ext cx="11461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BottomBar"/>
          <p:cNvSpPr>
            <a:spLocks noChangeArrowheads="1"/>
          </p:cNvSpPr>
          <p:nvPr/>
        </p:nvSpPr>
        <p:spPr bwMode="ltGray">
          <a:xfrm>
            <a:off x="0" y="6811963"/>
            <a:ext cx="9144000" cy="46037"/>
          </a:xfrm>
          <a:prstGeom prst="rect">
            <a:avLst/>
          </a:prstGeom>
          <a:solidFill>
            <a:srgbClr val="BF9015"/>
          </a:solidFill>
          <a:ln>
            <a:noFill/>
          </a:ln>
          <a:effectLst/>
          <a:extLst/>
        </p:spPr>
        <p:txBody>
          <a:bodyPr wrap="none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32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8" name="McK 1. On-page tracker" hidden="1"/>
          <p:cNvSpPr>
            <a:spLocks noChangeArrowheads="1"/>
          </p:cNvSpPr>
          <p:nvPr userDrawn="1"/>
        </p:nvSpPr>
        <p:spPr bwMode="auto">
          <a:xfrm>
            <a:off x="174625" y="26988"/>
            <a:ext cx="895350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dirty="0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9" name="McK 3. Unit of measure" hidden="1"/>
          <p:cNvSpPr txBox="1">
            <a:spLocks noChangeArrowheads="1"/>
          </p:cNvSpPr>
          <p:nvPr userDrawn="1"/>
        </p:nvSpPr>
        <p:spPr bwMode="auto">
          <a:xfrm>
            <a:off x="174625" y="542925"/>
            <a:ext cx="8794750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  <a:cs typeface="Arial" panose="020B0604020202020204" pitchFamily="34" charset="0"/>
              </a:rPr>
              <a:t>Unit of measure</a:t>
            </a:r>
          </a:p>
        </p:txBody>
      </p:sp>
      <p:grpSp>
        <p:nvGrpSpPr>
          <p:cNvPr id="10" name="ACET" hidden="1"/>
          <p:cNvGrpSpPr>
            <a:grpSpLocks/>
          </p:cNvGrpSpPr>
          <p:nvPr userDrawn="1"/>
        </p:nvGrpSpPr>
        <p:grpSpPr bwMode="auto">
          <a:xfrm>
            <a:off x="1482725" y="1136650"/>
            <a:ext cx="4349750" cy="531813"/>
            <a:chOff x="915" y="702"/>
            <a:chExt cx="2686" cy="328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32" b="1" dirty="0">
                  <a:solidFill>
                    <a:srgbClr val="000000"/>
                  </a:solidFill>
                  <a:cs typeface="Arial" panose="020B0604020202020204" pitchFamily="34" charset="0"/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32" dirty="0">
                  <a:solidFill>
                    <a:srgbClr val="808080"/>
                  </a:solidFill>
                  <a:cs typeface="Arial" panose="020B0604020202020204" pitchFamily="34" charset="0"/>
                </a:rPr>
                <a:t>Unit of measure</a:t>
              </a:r>
            </a:p>
          </p:txBody>
        </p:sp>
      </p:grpSp>
      <p:grpSp>
        <p:nvGrpSpPr>
          <p:cNvPr id="13" name="LegendBoxes" hidden="1"/>
          <p:cNvGrpSpPr>
            <a:grpSpLocks/>
          </p:cNvGrpSpPr>
          <p:nvPr userDrawn="1"/>
        </p:nvGrpSpPr>
        <p:grpSpPr bwMode="auto">
          <a:xfrm>
            <a:off x="8189913" y="276225"/>
            <a:ext cx="788987" cy="1020763"/>
            <a:chOff x="4936" y="176"/>
            <a:chExt cx="487" cy="631"/>
          </a:xfrm>
        </p:grpSpPr>
        <p:sp>
          <p:nvSpPr>
            <p:cNvPr id="1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24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24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24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24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22" name="LegendLines" hidden="1"/>
          <p:cNvGrpSpPr>
            <a:grpSpLocks/>
          </p:cNvGrpSpPr>
          <p:nvPr userDrawn="1"/>
        </p:nvGrpSpPr>
        <p:grpSpPr bwMode="auto">
          <a:xfrm>
            <a:off x="7875588" y="276225"/>
            <a:ext cx="1103312" cy="749300"/>
            <a:chOff x="4750" y="176"/>
            <a:chExt cx="681" cy="463"/>
          </a:xfrm>
        </p:grpSpPr>
        <p:sp>
          <p:nvSpPr>
            <p:cNvPr id="2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24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24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24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</p:grpSp>
      <p:grpSp>
        <p:nvGrpSpPr>
          <p:cNvPr id="29" name="McKSticker" hidden="1"/>
          <p:cNvGrpSpPr>
            <a:grpSpLocks/>
          </p:cNvGrpSpPr>
          <p:nvPr userDrawn="1"/>
        </p:nvGrpSpPr>
        <p:grpSpPr bwMode="auto">
          <a:xfrm>
            <a:off x="7859713" y="276225"/>
            <a:ext cx="1109662" cy="219075"/>
            <a:chOff x="7653105" y="285750"/>
            <a:chExt cx="1087670" cy="216085"/>
          </a:xfrm>
        </p:grpSpPr>
        <p:sp>
          <p:nvSpPr>
            <p:cNvPr id="30" name="StickerRectangle"/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 dirty="0">
                  <a:solidFill>
                    <a:srgbClr val="808080"/>
                  </a:solidFill>
                  <a:cs typeface="Arial" panose="020B0604020202020204" pitchFamily="34" charset="0"/>
                </a:rPr>
                <a:t>PRELIMINARY</a:t>
              </a:r>
            </a:p>
          </p:txBody>
        </p:sp>
        <p:cxnSp>
          <p:nvCxnSpPr>
            <p:cNvPr id="31" name="AutoShape 31"/>
            <p:cNvCxnSpPr>
              <a:cxnSpLocks noChangeShapeType="1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2" name="AutoShape 32"/>
            <p:cNvCxnSpPr>
              <a:cxnSpLocks noChangeShapeType="1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3" name="LegendMoons" hidden="1"/>
          <p:cNvGrpSpPr>
            <a:grpSpLocks/>
          </p:cNvGrpSpPr>
          <p:nvPr userDrawn="1"/>
        </p:nvGrpSpPr>
        <p:grpSpPr bwMode="auto">
          <a:xfrm>
            <a:off x="8121650" y="276225"/>
            <a:ext cx="857250" cy="1331913"/>
            <a:chOff x="6655594" y="273840"/>
            <a:chExt cx="840048" cy="1306516"/>
          </a:xfrm>
        </p:grpSpPr>
        <p:grpSp>
          <p:nvGrpSpPr>
            <p:cNvPr id="34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2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2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53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2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5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0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2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2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51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2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2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6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48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2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2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49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2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2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7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6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38"/>
                <a:ext cx="160" cy="162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2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47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38"/>
                <a:ext cx="160" cy="162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2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6976057" y="286298"/>
              <a:ext cx="519585" cy="1884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6976057" y="561928"/>
              <a:ext cx="519585" cy="1868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6976057" y="836000"/>
              <a:ext cx="519585" cy="1884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1" name="Legend4"/>
            <p:cNvSpPr>
              <a:spLocks noChangeArrowheads="1"/>
            </p:cNvSpPr>
            <p:nvPr/>
          </p:nvSpPr>
          <p:spPr bwMode="auto">
            <a:xfrm>
              <a:off x="6976057" y="1106958"/>
              <a:ext cx="519585" cy="1884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2" name="Legend5"/>
            <p:cNvSpPr>
              <a:spLocks noChangeArrowheads="1"/>
            </p:cNvSpPr>
            <p:nvPr/>
          </p:nvSpPr>
          <p:spPr bwMode="auto">
            <a:xfrm>
              <a:off x="6976057" y="1384145"/>
              <a:ext cx="519585" cy="1884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grpSp>
          <p:nvGrpSpPr>
            <p:cNvPr id="43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4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2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2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45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2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2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54" name="McK Moon" hidden="1"/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auto">
          <a:xfrm>
            <a:off x="7556500" y="885825"/>
            <a:ext cx="258763" cy="258763"/>
            <a:chOff x="1600" y="1600"/>
            <a:chExt cx="160" cy="160"/>
          </a:xfrm>
        </p:grpSpPr>
        <p:sp>
          <p:nvSpPr>
            <p:cNvPr id="55" name="Oval 90"/>
            <p:cNvSpPr>
              <a:spLocks noChangeAspect="1"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56" name="Arc 91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57" name="Slide Elements" hidden="1"/>
          <p:cNvGrpSpPr>
            <a:grpSpLocks/>
          </p:cNvGrpSpPr>
          <p:nvPr userDrawn="1"/>
        </p:nvGrpSpPr>
        <p:grpSpPr bwMode="auto">
          <a:xfrm>
            <a:off x="174625" y="6156325"/>
            <a:ext cx="8794750" cy="595313"/>
            <a:chOff x="-865" y="3801"/>
            <a:chExt cx="6325" cy="367"/>
          </a:xfrm>
        </p:grpSpPr>
        <p:sp>
          <p:nvSpPr>
            <p:cNvPr id="58" name="4. Footnote"/>
            <p:cNvSpPr txBox="1">
              <a:spLocks noChangeArrowheads="1"/>
            </p:cNvSpPr>
            <p:nvPr/>
          </p:nvSpPr>
          <p:spPr bwMode="auto">
            <a:xfrm>
              <a:off x="-865" y="3801"/>
              <a:ext cx="6325" cy="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18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1 Footnote</a:t>
              </a:r>
            </a:p>
          </p:txBody>
        </p:sp>
        <p:sp>
          <p:nvSpPr>
            <p:cNvPr id="59" name="5. Source"/>
            <p:cNvSpPr>
              <a:spLocks noChangeArrowheads="1"/>
            </p:cNvSpPr>
            <p:nvPr/>
          </p:nvSpPr>
          <p:spPr bwMode="auto">
            <a:xfrm>
              <a:off x="75" y="4079"/>
              <a:ext cx="4159" cy="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  <a:defRPr/>
              </a:pPr>
              <a:r>
                <a:rPr lang="en-US" sz="918" dirty="0">
                  <a:solidFill>
                    <a:srgbClr val="000000"/>
                  </a:solidFill>
                  <a:cs typeface="Arial" panose="020B0604020202020204" pitchFamily="34" charset="0"/>
                </a:rPr>
                <a:t>SOURCE: Source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0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 defTabSz="932962" eaLnBrk="1" hangingPunct="1">
              <a:defRPr sz="1632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8738070-5105-4A97-8380-3A183C667A48}" type="datetimeFigureOut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/31/2017</a:t>
            </a:fld>
            <a:endParaRPr lang="en-US"/>
          </a:p>
        </p:txBody>
      </p:sp>
      <p:sp>
        <p:nvSpPr>
          <p:cNvPr id="6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 defTabSz="932962" eaLnBrk="1" hangingPunct="1">
              <a:defRPr sz="1632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/>
          </a:p>
        </p:txBody>
      </p:sp>
      <p:sp>
        <p:nvSpPr>
          <p:cNvPr id="6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/>
          <a:lstStyle>
            <a:lvl1pPr defTabSz="932962" eaLnBrk="1" hangingPunct="1">
              <a:defRPr sz="1632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0D928AC-C1FE-41F0-B01A-1BD00CFE093F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5804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" y="0"/>
            <a:ext cx="9145619" cy="55395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4403103" y="5013180"/>
            <a:ext cx="4524112" cy="438951"/>
            <a:chOff x="1663" y="3140"/>
            <a:chExt cx="3109" cy="271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40"/>
              <a:ext cx="3109" cy="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858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71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309"/>
              <a:ext cx="3109" cy="1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6858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71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403102" y="2856142"/>
            <a:ext cx="4524111" cy="329770"/>
          </a:xfrm>
          <a:prstGeom prst="rect">
            <a:avLst/>
          </a:prstGeom>
        </p:spPr>
        <p:txBody>
          <a:bodyPr/>
          <a:lstStyle>
            <a:lvl1pPr>
              <a:defRPr sz="2143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403102" y="4017036"/>
            <a:ext cx="4524111" cy="164789"/>
          </a:xfrm>
        </p:spPr>
        <p:txBody>
          <a:bodyPr wrap="square">
            <a:spAutoFit/>
          </a:bodyPr>
          <a:lstStyle>
            <a:lvl1pPr>
              <a:defRPr sz="1071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13" name="TitleTopPlaceholder"/>
          <p:cNvSpPr>
            <a:spLocks noChangeArrowheads="1"/>
          </p:cNvSpPr>
          <p:nvPr userDrawn="1"/>
        </p:nvSpPr>
        <p:spPr bwMode="ltGray">
          <a:xfrm>
            <a:off x="1" y="5536518"/>
            <a:ext cx="9140760" cy="93135"/>
          </a:xfrm>
          <a:prstGeom prst="rect">
            <a:avLst/>
          </a:prstGeom>
          <a:solidFill>
            <a:srgbClr val="BF901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en-US" sz="1224" dirty="0">
              <a:solidFill>
                <a:srgbClr val="000000"/>
              </a:solidFill>
            </a:endParaRPr>
          </a:p>
        </p:txBody>
      </p:sp>
      <p:pic>
        <p:nvPicPr>
          <p:cNvPr id="14" name="Picture 8" descr="http://sawic.environment.gov.za/images/logo_dea.gi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343129" y="5858618"/>
            <a:ext cx="2177066" cy="7969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8" name="Picture 16" descr="http://www.tourism.gov.za/images/logo.pn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6902415" y="5897926"/>
            <a:ext cx="2024800" cy="737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88467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/>
              <a:t>10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6038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737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362968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09126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34112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32721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5986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98995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83631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07063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9256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/>
              <a:t>10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81575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71642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15222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23423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379" name="Picture 67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" y="0"/>
            <a:ext cx="9145619" cy="55395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Title Elements" hidden="1"/>
          <p:cNvGrpSpPr>
            <a:grpSpLocks/>
          </p:cNvGrpSpPr>
          <p:nvPr/>
        </p:nvGrpSpPr>
        <p:grpSpPr bwMode="auto">
          <a:xfrm>
            <a:off x="4627819" y="4862783"/>
            <a:ext cx="4299393" cy="497262"/>
            <a:chOff x="1663" y="3104"/>
            <a:chExt cx="3109" cy="307"/>
          </a:xfrm>
        </p:grpSpPr>
        <p:sp>
          <p:nvSpPr>
            <p:cNvPr id="9" name="Document type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32962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28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Date"/>
            <p:cNvSpPr txBox="1">
              <a:spLocks noChangeArrowheads="1"/>
            </p:cNvSpPr>
            <p:nvPr/>
          </p:nvSpPr>
          <p:spPr bwMode="auto">
            <a:xfrm>
              <a:off x="1663" y="3273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32962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28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627819" y="2856143"/>
            <a:ext cx="4299393" cy="879343"/>
          </a:xfrm>
          <a:prstGeom prst="rect">
            <a:avLst/>
          </a:prstGeom>
        </p:spPr>
        <p:txBody>
          <a:bodyPr/>
          <a:lstStyle>
            <a:lvl1pPr>
              <a:defRPr sz="2857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627819" y="3970992"/>
            <a:ext cx="4299393" cy="219820"/>
          </a:xfrm>
        </p:spPr>
        <p:txBody>
          <a:bodyPr wrap="square">
            <a:spAutoFit/>
          </a:bodyPr>
          <a:lstStyle>
            <a:lvl1pPr>
              <a:defRPr sz="1428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13" name="TitleTopPlaceholder"/>
          <p:cNvSpPr>
            <a:spLocks noChangeArrowheads="1"/>
          </p:cNvSpPr>
          <p:nvPr userDrawn="1"/>
        </p:nvSpPr>
        <p:spPr bwMode="ltGray">
          <a:xfrm>
            <a:off x="1" y="5536517"/>
            <a:ext cx="9140760" cy="93135"/>
          </a:xfrm>
          <a:prstGeom prst="rect">
            <a:avLst/>
          </a:prstGeom>
          <a:solidFill>
            <a:srgbClr val="BF901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pic>
        <p:nvPicPr>
          <p:cNvPr id="14" name="Picture 8" descr="http://sawic.environment.gov.za/images/logo_dea.gi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52266" y="5897926"/>
            <a:ext cx="2177066" cy="796916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8" name="Picture 16" descr="http://www.tourism.gov.za/images/logo.png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6902414" y="5927514"/>
            <a:ext cx="2024800" cy="737738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4679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456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3519500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038791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8204" y="1990667"/>
            <a:ext cx="4389768" cy="12561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81147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63993" y="1392497"/>
            <a:ext cx="8816014" cy="1256112"/>
          </a:xfrm>
          <a:prstGeom prst="rect">
            <a:avLst/>
          </a:prstGeom>
        </p:spPr>
        <p:txBody>
          <a:bodyPr/>
          <a:lstStyle>
            <a:lvl2pPr marL="186250" indent="-184629">
              <a:buClrTx/>
              <a:buSzPct val="120000"/>
              <a:buFont typeface="Arial" pitchFamily="34" charset="0"/>
              <a:buChar char="•"/>
              <a:defRPr/>
            </a:lvl2pPr>
            <a:lvl3pPr marL="366019" indent="-179771">
              <a:buClrTx/>
              <a:buSzPct val="100000"/>
              <a:buFont typeface="Calibri" pitchFamily="34" charset="0"/>
              <a:buChar char="–"/>
              <a:defRPr/>
            </a:lvl3pPr>
            <a:lvl4pPr marL="552268" indent="-186250">
              <a:buClrTx/>
              <a:buSzPct val="90000"/>
              <a:buFont typeface="Arial" pitchFamily="34" charset="0"/>
              <a:buChar char="•"/>
              <a:defRPr/>
            </a:lvl4pPr>
            <a:lvl5pPr marL="730420" indent="-178152">
              <a:buClrTx/>
              <a:buSzPct val="85000"/>
              <a:buFont typeface="Calibri" pitchFamily="34" charset="0"/>
              <a:buChar char="–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MY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63993" y="234865"/>
            <a:ext cx="8816014" cy="298327"/>
          </a:xfrm>
        </p:spPr>
        <p:txBody>
          <a:bodyPr/>
          <a:lstStyle>
            <a:lvl1pPr>
              <a:tabLst/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MY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63995" y="6619401"/>
            <a:ext cx="6478973" cy="157014"/>
          </a:xfrm>
          <a:prstGeom prst="rect">
            <a:avLst/>
          </a:prstGeom>
        </p:spPr>
        <p:txBody>
          <a:bodyPr anchor="b"/>
          <a:lstStyle>
            <a:lvl1pPr marL="550649" indent="-550649">
              <a:tabLst>
                <a:tab pos="456715" algn="r"/>
              </a:tabLst>
              <a:defRPr sz="1020"/>
            </a:lvl1pPr>
            <a:lvl2pPr>
              <a:defRPr sz="1020"/>
            </a:lvl2pPr>
            <a:lvl3pPr>
              <a:defRPr sz="1020"/>
            </a:lvl3pPr>
            <a:lvl4pPr>
              <a:defRPr sz="1020"/>
            </a:lvl4pPr>
            <a:lvl5pPr>
              <a:defRPr sz="102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849119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E9A2DB-256D-4754-B7E4-D2BDD129D69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55CA5-5CBA-DF4F-B1B0-7A8AA507C16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9643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/>
              <a:t>10/3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5917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56DB66-C68D-4042-9159-1D45C326366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55CA5-5CBA-DF4F-B1B0-7A8AA507C16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9905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75683C-08A9-464D-A327-AA45B9E2FCC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55CA5-5CBA-DF4F-B1B0-7A8AA507C16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440756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766B3-7B8A-4789-886E-98F03BBE249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55CA5-5CBA-DF4F-B1B0-7A8AA507C16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943634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8DB634-54AD-4F72-B448-49847099153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55CA5-5CBA-DF4F-B1B0-7A8AA507C16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52897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EBA75-28DE-4EDD-A721-C9E693BD34A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55CA5-5CBA-DF4F-B1B0-7A8AA507C16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879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8C357-E0E0-4A4D-9A87-7D5B7C55E15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55CA5-5CBA-DF4F-B1B0-7A8AA507C16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518475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9FBBBF-3D90-49AA-9CB1-10166DC33CB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55CA5-5CBA-DF4F-B1B0-7A8AA507C16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23825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83246B-965F-4B82-ACD0-D5AFCE88951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55CA5-5CBA-DF4F-B1B0-7A8AA507C16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04061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1E6325-A5DD-4917-A647-02558CAC0C8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55CA5-5CBA-DF4F-B1B0-7A8AA507C16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91545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64EA5C-70AB-4D00-9058-963285E5278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655CA5-5CBA-DF4F-B1B0-7A8AA507C16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05820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/>
              <a:t>10/31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19025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379" name="Picture 67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" y="0"/>
            <a:ext cx="9145619" cy="55395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Title Elements" hidden="1"/>
          <p:cNvGrpSpPr>
            <a:grpSpLocks/>
          </p:cNvGrpSpPr>
          <p:nvPr/>
        </p:nvGrpSpPr>
        <p:grpSpPr bwMode="auto">
          <a:xfrm>
            <a:off x="4627819" y="4862783"/>
            <a:ext cx="4299393" cy="497262"/>
            <a:chOff x="1663" y="3104"/>
            <a:chExt cx="3109" cy="307"/>
          </a:xfrm>
        </p:grpSpPr>
        <p:sp>
          <p:nvSpPr>
            <p:cNvPr id="9" name="Document type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32962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Date"/>
            <p:cNvSpPr txBox="1">
              <a:spLocks noChangeArrowheads="1"/>
            </p:cNvSpPr>
            <p:nvPr/>
          </p:nvSpPr>
          <p:spPr bwMode="auto">
            <a:xfrm>
              <a:off x="1663" y="3273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32962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4627819" y="2856143"/>
            <a:ext cx="4299393" cy="879343"/>
          </a:xfrm>
          <a:prstGeom prst="rect">
            <a:avLst/>
          </a:prstGeom>
        </p:spPr>
        <p:txBody>
          <a:bodyPr/>
          <a:lstStyle>
            <a:lvl1pPr>
              <a:defRPr sz="2857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4627819" y="3970992"/>
            <a:ext cx="4299393" cy="219820"/>
          </a:xfrm>
        </p:spPr>
        <p:txBody>
          <a:bodyPr wrap="square">
            <a:spAutoFit/>
          </a:bodyPr>
          <a:lstStyle>
            <a:lvl1pPr>
              <a:defRPr sz="1428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3" name="TitleTopPlaceholder"/>
          <p:cNvSpPr>
            <a:spLocks noChangeArrowheads="1"/>
          </p:cNvSpPr>
          <p:nvPr userDrawn="1"/>
        </p:nvSpPr>
        <p:spPr bwMode="ltGray">
          <a:xfrm>
            <a:off x="1" y="5536517"/>
            <a:ext cx="9140760" cy="93135"/>
          </a:xfrm>
          <a:prstGeom prst="rect">
            <a:avLst/>
          </a:prstGeom>
          <a:solidFill>
            <a:srgbClr val="BF9015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pic>
        <p:nvPicPr>
          <p:cNvPr id="14" name="Picture 8" descr="http://sawic.environment.gov.za/images/logo_dea.gi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52266" y="5897926"/>
            <a:ext cx="2177066" cy="796916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8" name="Picture 16" descr="http://www.tourism.gov.za/images/logo.pn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6902414" y="5927514"/>
            <a:ext cx="2024800" cy="737738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906911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44117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1686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fld id="{BB827DF8-19E1-48D7-B0A7-4DEA419AA50D}" type="datetimeFigureOut">
              <a:rPr lang="en-US" sz="1632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t>10/31/2017</a:t>
            </a:fld>
            <a:endParaRPr lang="en-US" sz="1632">
              <a:solidFill>
                <a:srgbClr val="000000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32">
              <a:solidFill>
                <a:srgbClr val="000000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fld id="{9CF593F1-E076-4B2E-B9A1-6FDDCBBEF42F}" type="slidenum">
              <a:rPr lang="en-US" sz="1632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632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899738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196827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781675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5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5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6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6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21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01320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862130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307289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2484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/>
              <a:t>10/31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813679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5682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546090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2" indent="0">
              <a:buNone/>
              <a:defRPr sz="2800"/>
            </a:lvl2pPr>
            <a:lvl3pPr marL="914303" indent="0">
              <a:buNone/>
              <a:defRPr sz="2400"/>
            </a:lvl3pPr>
            <a:lvl4pPr marL="1371455" indent="0">
              <a:buNone/>
              <a:defRPr sz="2000"/>
            </a:lvl4pPr>
            <a:lvl5pPr marL="1828606" indent="0">
              <a:buNone/>
              <a:defRPr sz="2000"/>
            </a:lvl5pPr>
            <a:lvl6pPr marL="2285758" indent="0">
              <a:buNone/>
              <a:defRPr sz="2000"/>
            </a:lvl6pPr>
            <a:lvl7pPr marL="2742909" indent="0">
              <a:buNone/>
              <a:defRPr sz="2000"/>
            </a:lvl7pPr>
            <a:lvl8pPr marL="3200061" indent="0">
              <a:buNone/>
              <a:defRPr sz="2000"/>
            </a:lvl8pPr>
            <a:lvl9pPr marL="3657212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57255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110519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66894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/>
              <a:t>10/31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1463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/>
              <a:t>10/3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1707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AC9AB-7166-F34F-955F-AFDFE656A075}" type="datetimeFigureOut">
              <a:rPr lang="en-US" smtClean="0"/>
              <a:t>10/31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03A4A3-1339-8F4A-AB34-FE05E7F3E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367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28" Type="http://schemas.openxmlformats.org/officeDocument/2006/relationships/image" Target="../media/image3.png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theme" Target="../theme/theme2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image" Target="../media/image2.gi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17.xml"/><Relationship Id="rId21" Type="http://schemas.openxmlformats.org/officeDocument/2006/relationships/tags" Target="../tags/tag35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5" Type="http://schemas.openxmlformats.org/officeDocument/2006/relationships/tags" Target="../tags/tag39.xml"/><Relationship Id="rId2" Type="http://schemas.openxmlformats.org/officeDocument/2006/relationships/slideLayout" Target="../slideLayouts/slideLayout16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15.xml"/><Relationship Id="rId6" Type="http://schemas.openxmlformats.org/officeDocument/2006/relationships/vmlDrawing" Target="../drawings/vmlDrawing3.vml"/><Relationship Id="rId11" Type="http://schemas.openxmlformats.org/officeDocument/2006/relationships/tags" Target="../tags/tag25.xml"/><Relationship Id="rId24" Type="http://schemas.openxmlformats.org/officeDocument/2006/relationships/tags" Target="../tags/tag38.xml"/><Relationship Id="rId5" Type="http://schemas.openxmlformats.org/officeDocument/2006/relationships/theme" Target="../theme/theme3.xml"/><Relationship Id="rId15" Type="http://schemas.openxmlformats.org/officeDocument/2006/relationships/tags" Target="../tags/tag29.xml"/><Relationship Id="rId23" Type="http://schemas.openxmlformats.org/officeDocument/2006/relationships/tags" Target="../tags/tag37.xml"/><Relationship Id="rId28" Type="http://schemas.openxmlformats.org/officeDocument/2006/relationships/image" Target="../media/image6.png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4" Type="http://schemas.openxmlformats.org/officeDocument/2006/relationships/slideLayout" Target="../slideLayouts/slideLayout18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tags" Target="../tags/tag36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18" Type="http://schemas.openxmlformats.org/officeDocument/2006/relationships/tags" Target="../tags/tag7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75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25" Type="http://schemas.openxmlformats.org/officeDocument/2006/relationships/oleObject" Target="../embeddings/oleObject6.bin"/><Relationship Id="rId2" Type="http://schemas.openxmlformats.org/officeDocument/2006/relationships/slideLayout" Target="../slideLayouts/slideLayout20.xml"/><Relationship Id="rId16" Type="http://schemas.openxmlformats.org/officeDocument/2006/relationships/tags" Target="../tags/tag70.xml"/><Relationship Id="rId20" Type="http://schemas.openxmlformats.org/officeDocument/2006/relationships/tags" Target="../tags/tag74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24" Type="http://schemas.openxmlformats.org/officeDocument/2006/relationships/tags" Target="../tags/tag78.xml"/><Relationship Id="rId5" Type="http://schemas.openxmlformats.org/officeDocument/2006/relationships/vmlDrawing" Target="../drawings/vmlDrawing6.vml"/><Relationship Id="rId15" Type="http://schemas.openxmlformats.org/officeDocument/2006/relationships/tags" Target="../tags/tag69.xml"/><Relationship Id="rId23" Type="http://schemas.openxmlformats.org/officeDocument/2006/relationships/tags" Target="../tags/tag77.xml"/><Relationship Id="rId28" Type="http://schemas.openxmlformats.org/officeDocument/2006/relationships/image" Target="../media/image7.png"/><Relationship Id="rId10" Type="http://schemas.openxmlformats.org/officeDocument/2006/relationships/tags" Target="../tags/tag64.xml"/><Relationship Id="rId19" Type="http://schemas.openxmlformats.org/officeDocument/2006/relationships/tags" Target="../tags/tag73.xml"/><Relationship Id="rId4" Type="http://schemas.openxmlformats.org/officeDocument/2006/relationships/theme" Target="../theme/theme4.xml"/><Relationship Id="rId9" Type="http://schemas.openxmlformats.org/officeDocument/2006/relationships/tags" Target="../tags/tag63.xml"/><Relationship Id="rId14" Type="http://schemas.openxmlformats.org/officeDocument/2006/relationships/tags" Target="../tags/tag68.xml"/><Relationship Id="rId22" Type="http://schemas.openxmlformats.org/officeDocument/2006/relationships/tags" Target="../tags/tag76.xml"/><Relationship Id="rId27" Type="http://schemas.openxmlformats.org/officeDocument/2006/relationships/image" Target="../media/image2.gi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13" Type="http://schemas.openxmlformats.org/officeDocument/2006/relationships/tags" Target="../tags/tag84.xml"/><Relationship Id="rId18" Type="http://schemas.openxmlformats.org/officeDocument/2006/relationships/tags" Target="../tags/tag89.xml"/><Relationship Id="rId26" Type="http://schemas.openxmlformats.org/officeDocument/2006/relationships/tags" Target="../tags/tag97.xml"/><Relationship Id="rId3" Type="http://schemas.openxmlformats.org/officeDocument/2006/relationships/slideLayout" Target="../slideLayouts/slideLayout35.xml"/><Relationship Id="rId21" Type="http://schemas.openxmlformats.org/officeDocument/2006/relationships/tags" Target="../tags/tag92.xml"/><Relationship Id="rId7" Type="http://schemas.openxmlformats.org/officeDocument/2006/relationships/theme" Target="../theme/theme6.xml"/><Relationship Id="rId12" Type="http://schemas.openxmlformats.org/officeDocument/2006/relationships/tags" Target="../tags/tag83.xml"/><Relationship Id="rId17" Type="http://schemas.openxmlformats.org/officeDocument/2006/relationships/tags" Target="../tags/tag88.xml"/><Relationship Id="rId25" Type="http://schemas.openxmlformats.org/officeDocument/2006/relationships/tags" Target="../tags/tag96.xml"/><Relationship Id="rId2" Type="http://schemas.openxmlformats.org/officeDocument/2006/relationships/slideLayout" Target="../slideLayouts/slideLayout34.xml"/><Relationship Id="rId16" Type="http://schemas.openxmlformats.org/officeDocument/2006/relationships/tags" Target="../tags/tag87.xml"/><Relationship Id="rId20" Type="http://schemas.openxmlformats.org/officeDocument/2006/relationships/tags" Target="../tags/tag91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ags" Target="../tags/tag82.xml"/><Relationship Id="rId24" Type="http://schemas.openxmlformats.org/officeDocument/2006/relationships/tags" Target="../tags/tag95.xml"/><Relationship Id="rId5" Type="http://schemas.openxmlformats.org/officeDocument/2006/relationships/slideLayout" Target="../slideLayouts/slideLayout37.xml"/><Relationship Id="rId15" Type="http://schemas.openxmlformats.org/officeDocument/2006/relationships/tags" Target="../tags/tag86.xml"/><Relationship Id="rId23" Type="http://schemas.openxmlformats.org/officeDocument/2006/relationships/tags" Target="../tags/tag94.xml"/><Relationship Id="rId28" Type="http://schemas.openxmlformats.org/officeDocument/2006/relationships/oleObject" Target="../embeddings/oleObject8.bin"/><Relationship Id="rId10" Type="http://schemas.openxmlformats.org/officeDocument/2006/relationships/tags" Target="../tags/tag81.xml"/><Relationship Id="rId19" Type="http://schemas.openxmlformats.org/officeDocument/2006/relationships/tags" Target="../tags/tag90.xml"/><Relationship Id="rId31" Type="http://schemas.openxmlformats.org/officeDocument/2006/relationships/image" Target="../media/image7.png"/><Relationship Id="rId4" Type="http://schemas.openxmlformats.org/officeDocument/2006/relationships/slideLayout" Target="../slideLayouts/slideLayout36.xml"/><Relationship Id="rId9" Type="http://schemas.openxmlformats.org/officeDocument/2006/relationships/tags" Target="../tags/tag80.xml"/><Relationship Id="rId14" Type="http://schemas.openxmlformats.org/officeDocument/2006/relationships/tags" Target="../tags/tag85.xml"/><Relationship Id="rId22" Type="http://schemas.openxmlformats.org/officeDocument/2006/relationships/tags" Target="../tags/tag93.xml"/><Relationship Id="rId27" Type="http://schemas.openxmlformats.org/officeDocument/2006/relationships/tags" Target="../tags/tag98.xml"/><Relationship Id="rId30" Type="http://schemas.openxmlformats.org/officeDocument/2006/relationships/image" Target="../media/image2.gi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tags" Target="../tags/tag106.xml"/><Relationship Id="rId18" Type="http://schemas.openxmlformats.org/officeDocument/2006/relationships/tags" Target="../tags/tag111.xml"/><Relationship Id="rId26" Type="http://schemas.openxmlformats.org/officeDocument/2006/relationships/oleObject" Target="../embeddings/oleObject10.bin"/><Relationship Id="rId3" Type="http://schemas.openxmlformats.org/officeDocument/2006/relationships/slideLayout" Target="../slideLayouts/slideLayout52.xml"/><Relationship Id="rId21" Type="http://schemas.openxmlformats.org/officeDocument/2006/relationships/tags" Target="../tags/tag114.xml"/><Relationship Id="rId7" Type="http://schemas.openxmlformats.org/officeDocument/2006/relationships/tags" Target="../tags/tag100.xml"/><Relationship Id="rId12" Type="http://schemas.openxmlformats.org/officeDocument/2006/relationships/tags" Target="../tags/tag105.xml"/><Relationship Id="rId17" Type="http://schemas.openxmlformats.org/officeDocument/2006/relationships/tags" Target="../tags/tag110.xml"/><Relationship Id="rId25" Type="http://schemas.openxmlformats.org/officeDocument/2006/relationships/tags" Target="../tags/tag118.xml"/><Relationship Id="rId2" Type="http://schemas.openxmlformats.org/officeDocument/2006/relationships/slideLayout" Target="../slideLayouts/slideLayout51.xml"/><Relationship Id="rId16" Type="http://schemas.openxmlformats.org/officeDocument/2006/relationships/tags" Target="../tags/tag109.xml"/><Relationship Id="rId20" Type="http://schemas.openxmlformats.org/officeDocument/2006/relationships/tags" Target="../tags/tag113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50.xml"/><Relationship Id="rId6" Type="http://schemas.openxmlformats.org/officeDocument/2006/relationships/vmlDrawing" Target="../drawings/vmlDrawing10.vml"/><Relationship Id="rId11" Type="http://schemas.openxmlformats.org/officeDocument/2006/relationships/tags" Target="../tags/tag104.xml"/><Relationship Id="rId24" Type="http://schemas.openxmlformats.org/officeDocument/2006/relationships/tags" Target="../tags/tag117.xml"/><Relationship Id="rId5" Type="http://schemas.openxmlformats.org/officeDocument/2006/relationships/theme" Target="../theme/theme8.xml"/><Relationship Id="rId15" Type="http://schemas.openxmlformats.org/officeDocument/2006/relationships/tags" Target="../tags/tag108.xml"/><Relationship Id="rId23" Type="http://schemas.openxmlformats.org/officeDocument/2006/relationships/tags" Target="../tags/tag116.xml"/><Relationship Id="rId28" Type="http://schemas.openxmlformats.org/officeDocument/2006/relationships/image" Target="../media/image2.gif"/><Relationship Id="rId10" Type="http://schemas.openxmlformats.org/officeDocument/2006/relationships/tags" Target="../tags/tag103.xml"/><Relationship Id="rId19" Type="http://schemas.openxmlformats.org/officeDocument/2006/relationships/tags" Target="../tags/tag112.xml"/><Relationship Id="rId4" Type="http://schemas.openxmlformats.org/officeDocument/2006/relationships/slideLayout" Target="../slideLayouts/slideLayout53.xml"/><Relationship Id="rId9" Type="http://schemas.openxmlformats.org/officeDocument/2006/relationships/tags" Target="../tags/tag102.xml"/><Relationship Id="rId14" Type="http://schemas.openxmlformats.org/officeDocument/2006/relationships/tags" Target="../tags/tag107.xml"/><Relationship Id="rId22" Type="http://schemas.openxmlformats.org/officeDocument/2006/relationships/tags" Target="../tags/tag115.xml"/><Relationship Id="rId27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7AC9AB-7166-F34F-955F-AFDFE656A075}" type="datetimeFigureOut">
              <a:rPr lang="en-US" smtClean="0"/>
              <a:t>10/31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03A4A3-1339-8F4A-AB34-FE05E7F3EA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6353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Picture 8" descr="http://sawic.environment.gov.za/images/logo_dea.gif"/>
          <p:cNvPicPr>
            <a:picLocks noChangeAspect="1" noChangeArrowheads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74944" y="6348638"/>
            <a:ext cx="1232601" cy="451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16" descr="http://www.tourism.gov.za/images/logo.png"/>
          <p:cNvPicPr>
            <a:picLocks noChangeAspect="1" noChangeArrowheads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7416570" y="6367565"/>
            <a:ext cx="1146392" cy="417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SlideBottomBar"/>
          <p:cNvSpPr>
            <a:spLocks noChangeArrowheads="1"/>
          </p:cNvSpPr>
          <p:nvPr/>
        </p:nvSpPr>
        <p:spPr bwMode="ltGray">
          <a:xfrm>
            <a:off x="162" y="6811351"/>
            <a:ext cx="9143676" cy="46649"/>
          </a:xfrm>
          <a:prstGeom prst="rect">
            <a:avLst/>
          </a:prstGeom>
          <a:solidFill>
            <a:srgbClr val="BF9015"/>
          </a:solidFill>
          <a:ln>
            <a:noFill/>
          </a:ln>
          <a:effectLst/>
          <a:extLst/>
        </p:spPr>
        <p:txBody>
          <a:bodyPr wrap="none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174945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 userDrawn="1"/>
        </p:nvSpPr>
        <p:spPr bwMode="auto">
          <a:xfrm>
            <a:off x="174944" y="27536"/>
            <a:ext cx="89470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428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 userDrawn="1"/>
        </p:nvSpPr>
        <p:spPr bwMode="auto">
          <a:xfrm>
            <a:off x="174945" y="542617"/>
            <a:ext cx="879411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2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82156" y="1137061"/>
            <a:ext cx="4350892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 userDrawn="1"/>
        </p:nvGrpSpPr>
        <p:grpSpPr bwMode="auto">
          <a:xfrm>
            <a:off x="8189914" y="275438"/>
            <a:ext cx="788863" cy="1022061"/>
            <a:chOff x="4936" y="176"/>
            <a:chExt cx="487" cy="631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224">
                <a:solidFill>
                  <a:srgbClr val="000000"/>
                </a:solidFill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224">
                <a:solidFill>
                  <a:srgbClr val="000000"/>
                </a:solidFill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224">
                <a:solidFill>
                  <a:srgbClr val="000000"/>
                </a:solidFill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224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 userDrawn="1"/>
        </p:nvGrpSpPr>
        <p:grpSpPr bwMode="auto">
          <a:xfrm>
            <a:off x="7875664" y="275438"/>
            <a:ext cx="1103112" cy="749943"/>
            <a:chOff x="4750" y="176"/>
            <a:chExt cx="681" cy="463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224">
                <a:solidFill>
                  <a:srgbClr val="000000"/>
                </a:solidFill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224">
                <a:solidFill>
                  <a:srgbClr val="000000"/>
                </a:solidFill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224">
                <a:solidFill>
                  <a:srgbClr val="000000"/>
                </a:solidFill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 userDrawn="1"/>
        </p:nvGrpSpPr>
        <p:grpSpPr bwMode="auto">
          <a:xfrm>
            <a:off x="7859229" y="275439"/>
            <a:ext cx="1109828" cy="220474"/>
            <a:chOff x="7653105" y="285750"/>
            <a:chExt cx="1087670" cy="216085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 userDrawn="1"/>
        </p:nvGrpSpPr>
        <p:grpSpPr bwMode="auto">
          <a:xfrm>
            <a:off x="8121710" y="275438"/>
            <a:ext cx="857161" cy="1333054"/>
            <a:chOff x="6655594" y="273840"/>
            <a:chExt cx="840048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 userDrawn="1"/>
        </p:nvSpPr>
        <p:spPr bwMode="auto">
          <a:xfrm>
            <a:off x="8823483" y="6608384"/>
            <a:ext cx="145574" cy="14412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18" smtClean="0">
                <a:solidFill>
                  <a:srgbClr val="000000"/>
                </a:solidFill>
              </a:rPr>
              <a:pPr algn="r"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18" dirty="0">
              <a:solidFill>
                <a:srgbClr val="000000"/>
              </a:solidFill>
            </a:endParaRPr>
          </a:p>
        </p:txBody>
      </p:sp>
      <p:grpSp>
        <p:nvGrpSpPr>
          <p:cNvPr id="107" name="McK Moon" hidden="1"/>
          <p:cNvGrpSpPr>
            <a:grpSpLocks noChangeAspect="1"/>
          </p:cNvGrpSpPr>
          <p:nvPr userDrawn="1">
            <p:custDataLst>
              <p:tags r:id="rId7"/>
            </p:custDataLst>
          </p:nvPr>
        </p:nvGrpSpPr>
        <p:grpSpPr bwMode="auto">
          <a:xfrm>
            <a:off x="7556429" y="886083"/>
            <a:ext cx="259174" cy="259159"/>
            <a:chOff x="1600" y="1600"/>
            <a:chExt cx="160" cy="160"/>
          </a:xfrm>
        </p:grpSpPr>
        <p:sp>
          <p:nvSpPr>
            <p:cNvPr id="108" name="Oval 90"/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632">
                <a:solidFill>
                  <a:srgbClr val="000000"/>
                </a:solidFill>
              </a:endParaRPr>
            </a:p>
          </p:txBody>
        </p:sp>
        <p:sp>
          <p:nvSpPr>
            <p:cNvPr id="109" name="Arc 91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632">
                <a:solidFill>
                  <a:srgbClr val="000000"/>
                </a:solidFill>
              </a:endParaRPr>
            </a:p>
          </p:txBody>
        </p:sp>
      </p:grpSp>
      <p:grpSp>
        <p:nvGrpSpPr>
          <p:cNvPr id="62" name="Slide Elements" hidden="1"/>
          <p:cNvGrpSpPr>
            <a:grpSpLocks/>
          </p:cNvGrpSpPr>
          <p:nvPr userDrawn="1"/>
        </p:nvGrpSpPr>
        <p:grpSpPr bwMode="auto">
          <a:xfrm>
            <a:off x="175252" y="6156657"/>
            <a:ext cx="8793807" cy="594447"/>
            <a:chOff x="-865" y="3801"/>
            <a:chExt cx="6325" cy="367"/>
          </a:xfrm>
        </p:grpSpPr>
        <p:sp>
          <p:nvSpPr>
            <p:cNvPr id="105" name="4. Footnote"/>
            <p:cNvSpPr txBox="1">
              <a:spLocks noChangeArrowheads="1"/>
            </p:cNvSpPr>
            <p:nvPr/>
          </p:nvSpPr>
          <p:spPr bwMode="auto">
            <a:xfrm>
              <a:off x="-865" y="3801"/>
              <a:ext cx="6325" cy="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18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6" name="5. Source"/>
            <p:cNvSpPr>
              <a:spLocks noChangeArrowheads="1"/>
            </p:cNvSpPr>
            <p:nvPr/>
          </p:nvSpPr>
          <p:spPr bwMode="auto">
            <a:xfrm>
              <a:off x="75" y="4079"/>
              <a:ext cx="4159" cy="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US" sz="918" dirty="0">
                  <a:solidFill>
                    <a:srgbClr val="000000"/>
                  </a:solidFill>
                </a:rPr>
                <a:t>SOURCE: </a:t>
              </a:r>
              <a:r>
                <a:rPr lang="en-US" sz="918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69113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39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1" name="think-cell Slide" r:id="rId26" imgW="360" imgH="360" progId="TCLayout.ActiveDocument.1">
                  <p:embed/>
                </p:oleObj>
              </mc:Choice>
              <mc:Fallback>
                <p:oleObj name="think-cell Slide" r:id="rId2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99" name="Picture 8" descr="http://sawic.environment.gov.za/images/logo_dea.gif"/>
          <p:cNvPicPr>
            <a:picLocks noChangeAspect="1" noChangeArrowheads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74625" y="6348413"/>
            <a:ext cx="1233488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0" name="Picture 16" descr="http://www.tourism.gov.za/images/logo.png"/>
          <p:cNvPicPr>
            <a:picLocks noChangeAspect="1" noChangeArrowheads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7416800" y="6367463"/>
            <a:ext cx="11461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" name="SlideBottomBar"/>
          <p:cNvSpPr>
            <a:spLocks noChangeArrowheads="1"/>
          </p:cNvSpPr>
          <p:nvPr/>
        </p:nvSpPr>
        <p:spPr bwMode="ltGray">
          <a:xfrm>
            <a:off x="0" y="6811963"/>
            <a:ext cx="9144000" cy="46037"/>
          </a:xfrm>
          <a:prstGeom prst="rect">
            <a:avLst/>
          </a:prstGeom>
          <a:solidFill>
            <a:srgbClr val="BF9015"/>
          </a:solidFill>
          <a:ln>
            <a:noFill/>
          </a:ln>
          <a:effectLst/>
          <a:extLst/>
        </p:spPr>
        <p:txBody>
          <a:bodyPr wrap="none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632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102" name="Rectangle 286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1482725" y="1990725"/>
            <a:ext cx="4389438" cy="1255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103" name="Title Placeholder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174625" y="234950"/>
            <a:ext cx="8794750" cy="298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 userDrawn="1"/>
        </p:nvSpPr>
        <p:spPr bwMode="auto">
          <a:xfrm>
            <a:off x="174625" y="26988"/>
            <a:ext cx="895350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dirty="0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 userDrawn="1"/>
        </p:nvSpPr>
        <p:spPr bwMode="auto">
          <a:xfrm>
            <a:off x="174625" y="542925"/>
            <a:ext cx="8794750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  <a:cs typeface="Arial" panose="020B0604020202020204" pitchFamily="34" charset="0"/>
              </a:rPr>
              <a:t>Unit of measure</a:t>
            </a:r>
          </a:p>
        </p:txBody>
      </p:sp>
      <p:grpSp>
        <p:nvGrpSpPr>
          <p:cNvPr id="4106" name="ACET" hidden="1"/>
          <p:cNvGrpSpPr>
            <a:grpSpLocks/>
          </p:cNvGrpSpPr>
          <p:nvPr userDrawn="1"/>
        </p:nvGrpSpPr>
        <p:grpSpPr bwMode="auto">
          <a:xfrm>
            <a:off x="1482725" y="1136650"/>
            <a:ext cx="4349750" cy="531813"/>
            <a:chOff x="915" y="702"/>
            <a:chExt cx="2686" cy="328"/>
          </a:xfrm>
        </p:grpSpPr>
        <p:cxnSp>
          <p:nvCxnSpPr>
            <p:cNvPr id="4154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32" b="1" dirty="0">
                  <a:solidFill>
                    <a:srgbClr val="000000"/>
                  </a:solidFill>
                  <a:cs typeface="Arial" panose="020B0604020202020204" pitchFamily="34" charset="0"/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32" dirty="0">
                  <a:solidFill>
                    <a:srgbClr val="808080"/>
                  </a:solidFill>
                  <a:cs typeface="Arial" panose="020B0604020202020204" pitchFamily="34" charset="0"/>
                </a:rPr>
                <a:t>Unit of measure</a:t>
              </a:r>
            </a:p>
          </p:txBody>
        </p:sp>
      </p:grpSp>
      <p:grpSp>
        <p:nvGrpSpPr>
          <p:cNvPr id="4107" name="LegendBoxes" hidden="1"/>
          <p:cNvGrpSpPr>
            <a:grpSpLocks/>
          </p:cNvGrpSpPr>
          <p:nvPr userDrawn="1"/>
        </p:nvGrpSpPr>
        <p:grpSpPr bwMode="auto">
          <a:xfrm>
            <a:off x="8189913" y="276225"/>
            <a:ext cx="788987" cy="1020763"/>
            <a:chOff x="4936" y="176"/>
            <a:chExt cx="487" cy="631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24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24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24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24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108" name="LegendLines" hidden="1"/>
          <p:cNvGrpSpPr>
            <a:grpSpLocks/>
          </p:cNvGrpSpPr>
          <p:nvPr userDrawn="1"/>
        </p:nvGrpSpPr>
        <p:grpSpPr bwMode="auto">
          <a:xfrm>
            <a:off x="7875588" y="276225"/>
            <a:ext cx="1103312" cy="749300"/>
            <a:chOff x="4750" y="176"/>
            <a:chExt cx="681" cy="463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24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24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24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</p:grpSp>
      <p:grpSp>
        <p:nvGrpSpPr>
          <p:cNvPr id="4109" name="McKSticker" hidden="1"/>
          <p:cNvGrpSpPr>
            <a:grpSpLocks/>
          </p:cNvGrpSpPr>
          <p:nvPr userDrawn="1"/>
        </p:nvGrpSpPr>
        <p:grpSpPr bwMode="auto">
          <a:xfrm>
            <a:off x="7859713" y="276225"/>
            <a:ext cx="1109662" cy="219075"/>
            <a:chOff x="7653105" y="285750"/>
            <a:chExt cx="1087670" cy="216085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 dirty="0">
                  <a:solidFill>
                    <a:srgbClr val="808080"/>
                  </a:solidFill>
                  <a:cs typeface="Arial" panose="020B0604020202020204" pitchFamily="34" charset="0"/>
                </a:rPr>
                <a:t>PRELIMINARY</a:t>
              </a:r>
            </a:p>
          </p:txBody>
        </p:sp>
        <p:cxnSp>
          <p:nvCxnSpPr>
            <p:cNvPr id="4138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39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110" name="LegendMoons" hidden="1"/>
          <p:cNvGrpSpPr>
            <a:grpSpLocks/>
          </p:cNvGrpSpPr>
          <p:nvPr userDrawn="1"/>
        </p:nvGrpSpPr>
        <p:grpSpPr bwMode="auto">
          <a:xfrm>
            <a:off x="8121650" y="276225"/>
            <a:ext cx="857250" cy="1331913"/>
            <a:chOff x="6655594" y="273840"/>
            <a:chExt cx="840048" cy="1306516"/>
          </a:xfrm>
        </p:grpSpPr>
        <p:grpSp>
          <p:nvGrpSpPr>
            <p:cNvPr id="4117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2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2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118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2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2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2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2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119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2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2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2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2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120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38"/>
                <a:ext cx="160" cy="162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2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38"/>
                <a:ext cx="160" cy="162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2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057" y="286298"/>
              <a:ext cx="519585" cy="1884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057" y="561928"/>
              <a:ext cx="519585" cy="1868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057" y="836000"/>
              <a:ext cx="519585" cy="1884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057" y="1106958"/>
              <a:ext cx="519585" cy="1884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057" y="1384145"/>
              <a:ext cx="519585" cy="1884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  <a:defRPr/>
              </a:pPr>
              <a:r>
                <a:rPr lang="en-US" sz="1224" dirty="0">
                  <a:solidFill>
                    <a:srgbClr val="000000"/>
                  </a:solidFill>
                  <a:cs typeface="Arial" panose="020B0604020202020204" pitchFamily="34" charset="0"/>
                </a:rPr>
                <a:t>Legend</a:t>
              </a:r>
            </a:p>
          </p:txBody>
        </p:sp>
        <p:grpSp>
          <p:nvGrpSpPr>
            <p:cNvPr id="4126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2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2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2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24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4111" name="McK Moon" hidden="1"/>
          <p:cNvGrpSpPr>
            <a:grpSpLocks noChangeAspect="1"/>
          </p:cNvGrpSpPr>
          <p:nvPr userDrawn="1">
            <p:custDataLst>
              <p:tags r:id="rId8"/>
            </p:custDataLst>
          </p:nvPr>
        </p:nvGrpSpPr>
        <p:grpSpPr bwMode="auto">
          <a:xfrm>
            <a:off x="7556500" y="885825"/>
            <a:ext cx="258763" cy="258763"/>
            <a:chOff x="1600" y="1600"/>
            <a:chExt cx="160" cy="160"/>
          </a:xfrm>
        </p:grpSpPr>
        <p:sp>
          <p:nvSpPr>
            <p:cNvPr id="108" name="Oval 90"/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09" name="Arc 91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32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4112" name="Slide Elements" hidden="1"/>
          <p:cNvGrpSpPr>
            <a:grpSpLocks/>
          </p:cNvGrpSpPr>
          <p:nvPr userDrawn="1"/>
        </p:nvGrpSpPr>
        <p:grpSpPr bwMode="auto">
          <a:xfrm>
            <a:off x="174625" y="6156325"/>
            <a:ext cx="8794750" cy="595313"/>
            <a:chOff x="-865" y="3801"/>
            <a:chExt cx="6325" cy="367"/>
          </a:xfrm>
        </p:grpSpPr>
        <p:sp>
          <p:nvSpPr>
            <p:cNvPr id="105" name="4. Footnote"/>
            <p:cNvSpPr txBox="1">
              <a:spLocks noChangeArrowheads="1"/>
            </p:cNvSpPr>
            <p:nvPr/>
          </p:nvSpPr>
          <p:spPr bwMode="auto">
            <a:xfrm>
              <a:off x="-865" y="3801"/>
              <a:ext cx="6325" cy="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18" dirty="0">
                  <a:solidFill>
                    <a:srgbClr val="000000"/>
                  </a:solidFill>
                  <a:latin typeface="Arial"/>
                  <a:cs typeface="Arial" panose="020B0604020202020204" pitchFamily="34" charset="0"/>
                </a:rPr>
                <a:t>1 Footnote</a:t>
              </a:r>
            </a:p>
          </p:txBody>
        </p:sp>
        <p:sp>
          <p:nvSpPr>
            <p:cNvPr id="106" name="5. Source"/>
            <p:cNvSpPr>
              <a:spLocks noChangeArrowheads="1"/>
            </p:cNvSpPr>
            <p:nvPr/>
          </p:nvSpPr>
          <p:spPr bwMode="auto">
            <a:xfrm>
              <a:off x="75" y="4079"/>
              <a:ext cx="4159" cy="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  <a:defRPr/>
              </a:pPr>
              <a:r>
                <a:rPr lang="en-US" sz="918" dirty="0">
                  <a:solidFill>
                    <a:srgbClr val="000000"/>
                  </a:solidFill>
                  <a:cs typeface="Arial" panose="020B0604020202020204" pitchFamily="34" charset="0"/>
                </a:rPr>
                <a:t>SOURCE: Sour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85990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</p:sldLayoutIdLst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1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Picture 8" descr="http://sawic.environment.gov.za/images/logo_dea.gif"/>
          <p:cNvPicPr>
            <a:picLocks noChangeAspect="1" noChangeArrowheads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75251" y="6348638"/>
            <a:ext cx="1232601" cy="451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16" descr="http://www.tourism.gov.za/images/logo.png"/>
          <p:cNvPicPr>
            <a:picLocks noChangeAspect="1" noChangeArrowheads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7471624" y="6375110"/>
            <a:ext cx="1146392" cy="417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SlideBottomBar"/>
          <p:cNvSpPr>
            <a:spLocks noChangeArrowheads="1"/>
          </p:cNvSpPr>
          <p:nvPr/>
        </p:nvSpPr>
        <p:spPr bwMode="ltGray">
          <a:xfrm>
            <a:off x="163" y="6811352"/>
            <a:ext cx="9143675" cy="46649"/>
          </a:xfrm>
          <a:prstGeom prst="rect">
            <a:avLst/>
          </a:prstGeom>
          <a:solidFill>
            <a:srgbClr val="BF9015"/>
          </a:solidFill>
          <a:ln>
            <a:noFill/>
          </a:ln>
          <a:effectLst/>
          <a:extLst/>
        </p:spPr>
        <p:txBody>
          <a:bodyPr wrap="none" anchor="ctr"/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endParaRPr lang="en-US" sz="1224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1482156" y="1990667"/>
            <a:ext cx="4389768" cy="94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174945" y="234864"/>
            <a:ext cx="8794114" cy="22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 userDrawn="1"/>
        </p:nvSpPr>
        <p:spPr bwMode="auto">
          <a:xfrm>
            <a:off x="174944" y="27537"/>
            <a:ext cx="655629" cy="164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</a:pPr>
            <a:r>
              <a:rPr lang="en-US" sz="1071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 userDrawn="1"/>
        </p:nvSpPr>
        <p:spPr bwMode="auto">
          <a:xfrm>
            <a:off x="174945" y="542618"/>
            <a:ext cx="8794114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24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82156" y="1273121"/>
            <a:ext cx="4350892" cy="395218"/>
            <a:chOff x="915" y="786"/>
            <a:chExt cx="2686" cy="244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86"/>
              <a:ext cx="2686" cy="24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24" b="1" dirty="0">
                  <a:solidFill>
                    <a:srgbClr val="000000"/>
                  </a:solidFill>
                </a:rPr>
                <a:t>Title</a:t>
              </a:r>
            </a:p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24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 userDrawn="1"/>
        </p:nvGrpSpPr>
        <p:grpSpPr bwMode="auto">
          <a:xfrm>
            <a:off x="8189904" y="275438"/>
            <a:ext cx="652795" cy="1004244"/>
            <a:chOff x="4936" y="176"/>
            <a:chExt cx="403" cy="620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US" sz="918" dirty="0">
                <a:solidFill>
                  <a:srgbClr val="000000"/>
                </a:solidFill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US" sz="918" dirty="0">
                <a:solidFill>
                  <a:srgbClr val="000000"/>
                </a:solidFill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US" sz="918" dirty="0">
                <a:solidFill>
                  <a:srgbClr val="000000"/>
                </a:solidFill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US" sz="918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 userDrawn="1"/>
        </p:nvGrpSpPr>
        <p:grpSpPr bwMode="auto">
          <a:xfrm>
            <a:off x="7875665" y="275439"/>
            <a:ext cx="967046" cy="698111"/>
            <a:chOff x="4750" y="176"/>
            <a:chExt cx="597" cy="431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US" sz="918" dirty="0">
                <a:solidFill>
                  <a:srgbClr val="000000"/>
                </a:solidFill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US" sz="918" dirty="0">
                <a:solidFill>
                  <a:srgbClr val="000000"/>
                </a:solidFill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US" sz="918" dirty="0">
                <a:solidFill>
                  <a:srgbClr val="000000"/>
                </a:solidFill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3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918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 userDrawn="1"/>
        </p:nvGrpSpPr>
        <p:grpSpPr bwMode="auto">
          <a:xfrm>
            <a:off x="8144668" y="275441"/>
            <a:ext cx="824393" cy="168957"/>
            <a:chOff x="7932842" y="285750"/>
            <a:chExt cx="807933" cy="165593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932842" y="285750"/>
              <a:ext cx="807933" cy="16559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918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932842" y="285750"/>
              <a:ext cx="0" cy="165593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932842" y="451343"/>
              <a:ext cx="80793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 userDrawn="1"/>
        </p:nvGrpSpPr>
        <p:grpSpPr bwMode="auto">
          <a:xfrm>
            <a:off x="8121710" y="275438"/>
            <a:ext cx="721547" cy="1333054"/>
            <a:chOff x="6655594" y="273840"/>
            <a:chExt cx="707141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18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18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386466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386466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86466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86466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386466" cy="13844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85145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918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18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18" dirty="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07" name="McK Moon" hidden="1"/>
          <p:cNvGrpSpPr>
            <a:grpSpLocks noChangeAspect="1"/>
          </p:cNvGrpSpPr>
          <p:nvPr userDrawn="1">
            <p:custDataLst>
              <p:tags r:id="rId7"/>
            </p:custDataLst>
          </p:nvPr>
        </p:nvGrpSpPr>
        <p:grpSpPr bwMode="auto">
          <a:xfrm>
            <a:off x="7556428" y="886084"/>
            <a:ext cx="259175" cy="259159"/>
            <a:chOff x="1600" y="1600"/>
            <a:chExt cx="160" cy="160"/>
          </a:xfrm>
        </p:grpSpPr>
        <p:sp>
          <p:nvSpPr>
            <p:cNvPr id="108" name="Oval 90"/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</a:endParaRPr>
            </a:p>
          </p:txBody>
        </p:sp>
        <p:sp>
          <p:nvSpPr>
            <p:cNvPr id="109" name="Arc 91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2" name="Slide Elements" hidden="1"/>
          <p:cNvGrpSpPr>
            <a:grpSpLocks/>
          </p:cNvGrpSpPr>
          <p:nvPr userDrawn="1"/>
        </p:nvGrpSpPr>
        <p:grpSpPr bwMode="auto">
          <a:xfrm>
            <a:off x="175252" y="6195531"/>
            <a:ext cx="8793807" cy="555573"/>
            <a:chOff x="-865" y="3825"/>
            <a:chExt cx="6325" cy="343"/>
          </a:xfrm>
        </p:grpSpPr>
        <p:sp>
          <p:nvSpPr>
            <p:cNvPr id="105" name="4. Footnote"/>
            <p:cNvSpPr txBox="1">
              <a:spLocks noChangeArrowheads="1"/>
            </p:cNvSpPr>
            <p:nvPr/>
          </p:nvSpPr>
          <p:spPr bwMode="auto">
            <a:xfrm>
              <a:off x="-865" y="3825"/>
              <a:ext cx="6325" cy="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89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6" name="5. Source"/>
            <p:cNvSpPr>
              <a:spLocks noChangeArrowheads="1"/>
            </p:cNvSpPr>
            <p:nvPr/>
          </p:nvSpPr>
          <p:spPr bwMode="auto">
            <a:xfrm>
              <a:off x="75" y="4103"/>
              <a:ext cx="4159" cy="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66481" indent="-466481" defTabSz="685145" fontAlgn="base">
                <a:spcBef>
                  <a:spcPct val="0"/>
                </a:spcBef>
                <a:spcAft>
                  <a:spcPct val="0"/>
                </a:spcAft>
                <a:tabLst>
                  <a:tab pos="468911" algn="l"/>
                </a:tabLst>
              </a:pPr>
              <a:r>
                <a:rPr lang="en-US" sz="689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82396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85072" rtl="0" eaLnBrk="1" fontAlgn="base" hangingPunct="1">
        <a:spcBef>
          <a:spcPct val="0"/>
        </a:spcBef>
        <a:spcAft>
          <a:spcPct val="0"/>
        </a:spcAft>
        <a:tabLst>
          <a:tab pos="206493" algn="l"/>
        </a:tabLst>
        <a:defRPr sz="1454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07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2pPr>
      <a:lvl3pPr algn="l" defTabSz="68507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3pPr>
      <a:lvl4pPr algn="l" defTabSz="68507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4pPr>
      <a:lvl5pPr algn="l" defTabSz="68507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5pPr>
      <a:lvl6pPr marL="349823" algn="l" defTabSz="68507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6pPr>
      <a:lvl7pPr marL="699647" algn="l" defTabSz="68507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7pPr>
      <a:lvl8pPr marL="1049471" algn="l" defTabSz="68507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8pPr>
      <a:lvl9pPr marL="1399296" algn="l" defTabSz="685072" rtl="0" eaLnBrk="1" fontAlgn="base" hangingPunct="1">
        <a:spcBef>
          <a:spcPct val="0"/>
        </a:spcBef>
        <a:spcAft>
          <a:spcPct val="0"/>
        </a:spcAft>
        <a:defRPr sz="1454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07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24" baseline="0">
          <a:solidFill>
            <a:schemeClr val="tx1"/>
          </a:solidFill>
          <a:latin typeface="+mn-lt"/>
          <a:ea typeface="+mn-ea"/>
          <a:cs typeface="+mn-cs"/>
        </a:defRPr>
      </a:lvl1pPr>
      <a:lvl2pPr marL="148190" indent="-146975" algn="l" defTabSz="6850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24" baseline="0">
          <a:solidFill>
            <a:schemeClr val="tx1"/>
          </a:solidFill>
          <a:latin typeface="+mn-lt"/>
        </a:defRPr>
      </a:lvl2pPr>
      <a:lvl3pPr marL="349823" indent="-200420" algn="l" defTabSz="6850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24" baseline="0">
          <a:solidFill>
            <a:schemeClr val="tx1"/>
          </a:solidFill>
          <a:latin typeface="+mn-lt"/>
        </a:defRPr>
      </a:lvl3pPr>
      <a:lvl4pPr marL="470076" indent="-119037" algn="l" defTabSz="6850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24" baseline="0">
          <a:solidFill>
            <a:schemeClr val="tx1"/>
          </a:solidFill>
          <a:latin typeface="+mn-lt"/>
        </a:defRPr>
      </a:lvl4pPr>
      <a:lvl5pPr marL="573710" indent="-99603" algn="l" defTabSz="6850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5pPr>
      <a:lvl6pPr marL="573710" indent="-99603" algn="l" defTabSz="6850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6pPr>
      <a:lvl7pPr marL="573710" indent="-99603" algn="l" defTabSz="6850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7pPr>
      <a:lvl8pPr marL="573710" indent="-99603" algn="l" defTabSz="6850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8pPr>
      <a:lvl9pPr marL="573710" indent="-99603" algn="l" defTabSz="6850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24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647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1pPr>
      <a:lvl2pPr marL="349823" algn="l" defTabSz="699647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2pPr>
      <a:lvl3pPr marL="699647" algn="l" defTabSz="699647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3pPr>
      <a:lvl4pPr marL="1049471" algn="l" defTabSz="699647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4pPr>
      <a:lvl5pPr marL="1399296" algn="l" defTabSz="699647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5pPr>
      <a:lvl6pPr marL="1749119" algn="l" defTabSz="699647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6pPr>
      <a:lvl7pPr marL="2098943" algn="l" defTabSz="699647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7pPr>
      <a:lvl8pPr marL="2448767" algn="l" defTabSz="699647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8pPr>
      <a:lvl9pPr marL="2798590" algn="l" defTabSz="699647" rtl="0" eaLnBrk="1" latinLnBrk="0" hangingPunct="1">
        <a:defRPr sz="137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7AC9AB-7166-F34F-955F-AFDFE656A07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03A4A3-1339-8F4A-AB34-FE05E7F3EA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2503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8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Picture 8" descr="http://sawic.environment.gov.za/images/logo_dea.gif"/>
          <p:cNvPicPr>
            <a:picLocks noChangeAspect="1" noChangeArrowheads="1"/>
          </p:cNvPicPr>
          <p:nvPr userDrawn="1"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74944" y="6348638"/>
            <a:ext cx="1232601" cy="451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16" descr="http://www.tourism.gov.za/images/logo.png"/>
          <p:cNvPicPr>
            <a:picLocks noChangeAspect="1" noChangeArrowheads="1"/>
          </p:cNvPicPr>
          <p:nvPr userDrawn="1"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7416570" y="6367565"/>
            <a:ext cx="1146392" cy="417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SlideBottomBar"/>
          <p:cNvSpPr>
            <a:spLocks noChangeArrowheads="1"/>
          </p:cNvSpPr>
          <p:nvPr/>
        </p:nvSpPr>
        <p:spPr bwMode="ltGray">
          <a:xfrm>
            <a:off x="162" y="6811351"/>
            <a:ext cx="9143676" cy="46649"/>
          </a:xfrm>
          <a:prstGeom prst="rect">
            <a:avLst/>
          </a:prstGeom>
          <a:solidFill>
            <a:srgbClr val="BF9015"/>
          </a:solidFill>
          <a:ln>
            <a:noFill/>
          </a:ln>
          <a:effectLst/>
          <a:extLst/>
        </p:spPr>
        <p:txBody>
          <a:bodyPr wrap="none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174945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 userDrawn="1"/>
        </p:nvSpPr>
        <p:spPr bwMode="auto">
          <a:xfrm>
            <a:off x="174944" y="27536"/>
            <a:ext cx="89470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428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 userDrawn="1"/>
        </p:nvSpPr>
        <p:spPr bwMode="auto">
          <a:xfrm>
            <a:off x="174945" y="542617"/>
            <a:ext cx="879411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2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82156" y="1137061"/>
            <a:ext cx="4350892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 userDrawn="1"/>
        </p:nvGrpSpPr>
        <p:grpSpPr bwMode="auto">
          <a:xfrm>
            <a:off x="8189914" y="275438"/>
            <a:ext cx="788863" cy="1022061"/>
            <a:chOff x="4936" y="176"/>
            <a:chExt cx="487" cy="631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224">
                <a:solidFill>
                  <a:srgbClr val="000000"/>
                </a:solidFill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224">
                <a:solidFill>
                  <a:srgbClr val="000000"/>
                </a:solidFill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224">
                <a:solidFill>
                  <a:srgbClr val="000000"/>
                </a:solidFill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224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 userDrawn="1"/>
        </p:nvGrpSpPr>
        <p:grpSpPr bwMode="auto">
          <a:xfrm>
            <a:off x="7875664" y="275438"/>
            <a:ext cx="1103112" cy="749943"/>
            <a:chOff x="4750" y="176"/>
            <a:chExt cx="681" cy="463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224">
                <a:solidFill>
                  <a:srgbClr val="000000"/>
                </a:solidFill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224">
                <a:solidFill>
                  <a:srgbClr val="000000"/>
                </a:solidFill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224">
                <a:solidFill>
                  <a:srgbClr val="000000"/>
                </a:solidFill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 userDrawn="1"/>
        </p:nvGrpSpPr>
        <p:grpSpPr bwMode="auto">
          <a:xfrm>
            <a:off x="7859229" y="275439"/>
            <a:ext cx="1109828" cy="220474"/>
            <a:chOff x="7653105" y="285750"/>
            <a:chExt cx="1087670" cy="216085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 userDrawn="1"/>
        </p:nvGrpSpPr>
        <p:grpSpPr bwMode="auto">
          <a:xfrm>
            <a:off x="8121710" y="275438"/>
            <a:ext cx="857161" cy="1333054"/>
            <a:chOff x="6655594" y="273840"/>
            <a:chExt cx="840048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 userDrawn="1"/>
        </p:nvSpPr>
        <p:spPr bwMode="auto">
          <a:xfrm>
            <a:off x="8823483" y="6608384"/>
            <a:ext cx="145574" cy="14412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18" smtClean="0">
                <a:solidFill>
                  <a:srgbClr val="000000"/>
                </a:solidFill>
              </a:rPr>
              <a:pPr algn="r"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18" dirty="0">
              <a:solidFill>
                <a:srgbClr val="000000"/>
              </a:solidFill>
            </a:endParaRPr>
          </a:p>
        </p:txBody>
      </p:sp>
      <p:grpSp>
        <p:nvGrpSpPr>
          <p:cNvPr id="107" name="McK Moon" hidden="1"/>
          <p:cNvGrpSpPr>
            <a:grpSpLocks noChangeAspect="1"/>
          </p:cNvGrpSpPr>
          <p:nvPr userDrawn="1">
            <p:custDataLst>
              <p:tags r:id="rId10"/>
            </p:custDataLst>
          </p:nvPr>
        </p:nvGrpSpPr>
        <p:grpSpPr bwMode="auto">
          <a:xfrm>
            <a:off x="7556429" y="886083"/>
            <a:ext cx="259174" cy="259159"/>
            <a:chOff x="1600" y="1600"/>
            <a:chExt cx="160" cy="160"/>
          </a:xfrm>
        </p:grpSpPr>
        <p:sp>
          <p:nvSpPr>
            <p:cNvPr id="108" name="Oval 90"/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632">
                <a:solidFill>
                  <a:srgbClr val="000000"/>
                </a:solidFill>
              </a:endParaRPr>
            </a:p>
          </p:txBody>
        </p:sp>
        <p:sp>
          <p:nvSpPr>
            <p:cNvPr id="109" name="Arc 91"/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632">
                <a:solidFill>
                  <a:srgbClr val="000000"/>
                </a:solidFill>
              </a:endParaRPr>
            </a:p>
          </p:txBody>
        </p:sp>
      </p:grpSp>
      <p:grpSp>
        <p:nvGrpSpPr>
          <p:cNvPr id="62" name="Slide Elements" hidden="1"/>
          <p:cNvGrpSpPr>
            <a:grpSpLocks/>
          </p:cNvGrpSpPr>
          <p:nvPr userDrawn="1"/>
        </p:nvGrpSpPr>
        <p:grpSpPr bwMode="auto">
          <a:xfrm>
            <a:off x="175252" y="6156657"/>
            <a:ext cx="8793807" cy="594447"/>
            <a:chOff x="-865" y="3801"/>
            <a:chExt cx="6325" cy="367"/>
          </a:xfrm>
        </p:grpSpPr>
        <p:sp>
          <p:nvSpPr>
            <p:cNvPr id="105" name="4. Footnote"/>
            <p:cNvSpPr txBox="1">
              <a:spLocks noChangeArrowheads="1"/>
            </p:cNvSpPr>
            <p:nvPr/>
          </p:nvSpPr>
          <p:spPr bwMode="auto">
            <a:xfrm>
              <a:off x="-865" y="3801"/>
              <a:ext cx="6325" cy="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18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6" name="5. Source"/>
            <p:cNvSpPr>
              <a:spLocks noChangeArrowheads="1"/>
            </p:cNvSpPr>
            <p:nvPr/>
          </p:nvSpPr>
          <p:spPr bwMode="auto">
            <a:xfrm>
              <a:off x="75" y="4079"/>
              <a:ext cx="4159" cy="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US" sz="918" dirty="0">
                  <a:solidFill>
                    <a:srgbClr val="000000"/>
                  </a:solidFill>
                </a:rPr>
                <a:t>SOURCE: </a:t>
              </a:r>
              <a:r>
                <a:rPr lang="en-US" sz="918" dirty="0" smtClean="0">
                  <a:solidFill>
                    <a:srgbClr val="000000"/>
                  </a:solidFill>
                </a:rPr>
                <a:t>Sour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71716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39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2CC1E80-4E2D-4F92-A309-66BC8CE4DEA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655CA5-5CBA-DF4F-B1B0-7A8AA507C16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0339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Picture 8" descr="http://sawic.environment.gov.za/images/logo_dea.gif"/>
          <p:cNvPicPr>
            <a:picLocks noChangeAspect="1" noChangeArrowheads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74944" y="6348638"/>
            <a:ext cx="1232601" cy="451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16" descr="http://www.tourism.gov.za/images/logo.png"/>
          <p:cNvPicPr>
            <a:picLocks noChangeAspect="1" noChangeArrowheads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7416570" y="6367565"/>
            <a:ext cx="1146392" cy="417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SlideBottomBar"/>
          <p:cNvSpPr>
            <a:spLocks noChangeArrowheads="1"/>
          </p:cNvSpPr>
          <p:nvPr/>
        </p:nvSpPr>
        <p:spPr bwMode="ltGray">
          <a:xfrm>
            <a:off x="162" y="6811351"/>
            <a:ext cx="9143676" cy="46649"/>
          </a:xfrm>
          <a:prstGeom prst="rect">
            <a:avLst/>
          </a:prstGeom>
          <a:solidFill>
            <a:srgbClr val="BF9015"/>
          </a:solidFill>
          <a:ln>
            <a:noFill/>
          </a:ln>
          <a:effectLst/>
          <a:extLst/>
        </p:spPr>
        <p:txBody>
          <a:bodyPr wrap="none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174945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 userDrawn="1"/>
        </p:nvSpPr>
        <p:spPr bwMode="auto">
          <a:xfrm>
            <a:off x="174944" y="27536"/>
            <a:ext cx="89470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428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 userDrawn="1"/>
        </p:nvSpPr>
        <p:spPr bwMode="auto">
          <a:xfrm>
            <a:off x="174945" y="542617"/>
            <a:ext cx="879411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482156" y="1137061"/>
            <a:ext cx="4350892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 userDrawn="1"/>
        </p:nvGrpSpPr>
        <p:grpSpPr bwMode="auto">
          <a:xfrm>
            <a:off x="8189914" y="275438"/>
            <a:ext cx="788863" cy="1022061"/>
            <a:chOff x="4936" y="176"/>
            <a:chExt cx="487" cy="631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224">
                <a:solidFill>
                  <a:srgbClr val="000000"/>
                </a:solidFill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224">
                <a:solidFill>
                  <a:srgbClr val="000000"/>
                </a:solidFill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224">
                <a:solidFill>
                  <a:srgbClr val="000000"/>
                </a:solidFill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224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 userDrawn="1"/>
        </p:nvGrpSpPr>
        <p:grpSpPr bwMode="auto">
          <a:xfrm>
            <a:off x="7875664" y="275438"/>
            <a:ext cx="1103112" cy="749943"/>
            <a:chOff x="4750" y="176"/>
            <a:chExt cx="681" cy="463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224">
                <a:solidFill>
                  <a:srgbClr val="000000"/>
                </a:solidFill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224">
                <a:solidFill>
                  <a:srgbClr val="000000"/>
                </a:solidFill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224">
                <a:solidFill>
                  <a:srgbClr val="000000"/>
                </a:solidFill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 userDrawn="1"/>
        </p:nvGrpSpPr>
        <p:grpSpPr bwMode="auto">
          <a:xfrm>
            <a:off x="7859229" y="275439"/>
            <a:ext cx="1109828" cy="220474"/>
            <a:chOff x="7653105" y="285750"/>
            <a:chExt cx="1087670" cy="216085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 userDrawn="1"/>
        </p:nvGrpSpPr>
        <p:grpSpPr bwMode="auto">
          <a:xfrm>
            <a:off x="8121710" y="275438"/>
            <a:ext cx="857161" cy="1333054"/>
            <a:chOff x="6655594" y="273840"/>
            <a:chExt cx="840048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107" name="McK Moon" hidden="1"/>
          <p:cNvGrpSpPr>
            <a:grpSpLocks noChangeAspect="1"/>
          </p:cNvGrpSpPr>
          <p:nvPr userDrawn="1">
            <p:custDataLst>
              <p:tags r:id="rId8"/>
            </p:custDataLst>
          </p:nvPr>
        </p:nvGrpSpPr>
        <p:grpSpPr bwMode="auto">
          <a:xfrm>
            <a:off x="7556429" y="886083"/>
            <a:ext cx="259174" cy="259159"/>
            <a:chOff x="1600" y="1600"/>
            <a:chExt cx="160" cy="160"/>
          </a:xfrm>
        </p:grpSpPr>
        <p:sp>
          <p:nvSpPr>
            <p:cNvPr id="108" name="Oval 90"/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632">
                <a:solidFill>
                  <a:srgbClr val="000000"/>
                </a:solidFill>
              </a:endParaRPr>
            </a:p>
          </p:txBody>
        </p:sp>
        <p:sp>
          <p:nvSpPr>
            <p:cNvPr id="109" name="Arc 91"/>
            <p:cNvSpPr>
              <a:spLocks noChangeAspect="1"/>
            </p:cNvSpPr>
            <p:nvPr>
              <p:custDataLst>
                <p:tags r:id="rId10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632">
                <a:solidFill>
                  <a:srgbClr val="000000"/>
                </a:solidFill>
              </a:endParaRPr>
            </a:p>
          </p:txBody>
        </p:sp>
      </p:grpSp>
      <p:grpSp>
        <p:nvGrpSpPr>
          <p:cNvPr id="62" name="Slide Elements" hidden="1"/>
          <p:cNvGrpSpPr>
            <a:grpSpLocks/>
          </p:cNvGrpSpPr>
          <p:nvPr userDrawn="1"/>
        </p:nvGrpSpPr>
        <p:grpSpPr bwMode="auto">
          <a:xfrm>
            <a:off x="175252" y="6156657"/>
            <a:ext cx="8793807" cy="594447"/>
            <a:chOff x="-865" y="3801"/>
            <a:chExt cx="6325" cy="367"/>
          </a:xfrm>
        </p:grpSpPr>
        <p:sp>
          <p:nvSpPr>
            <p:cNvPr id="105" name="4. Footnote"/>
            <p:cNvSpPr txBox="1">
              <a:spLocks noChangeArrowheads="1"/>
            </p:cNvSpPr>
            <p:nvPr/>
          </p:nvSpPr>
          <p:spPr bwMode="auto">
            <a:xfrm>
              <a:off x="-865" y="3801"/>
              <a:ext cx="6325" cy="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918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6" name="5. Source"/>
            <p:cNvSpPr>
              <a:spLocks noChangeArrowheads="1"/>
            </p:cNvSpPr>
            <p:nvPr/>
          </p:nvSpPr>
          <p:spPr bwMode="auto">
            <a:xfrm>
              <a:off x="75" y="4079"/>
              <a:ext cx="4159" cy="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US" sz="918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37645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39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52"/>
            <a:fld id="{1C7AC9AB-7166-F34F-955F-AFDFE656A07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152"/>
              <a:t>10/31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1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52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52"/>
            <a:fld id="{A703A4A3-1339-8F4A-AB34-FE05E7F3EAE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152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655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txStyles>
    <p:titleStyle>
      <a:lvl1pPr algn="ctr" defTabSz="457152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4" indent="-342864" algn="l" defTabSz="457152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1" indent="-285720" algn="l" defTabSz="457152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79" indent="-228576" algn="l" defTabSz="457152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30" indent="-228576" algn="l" defTabSz="457152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82" indent="-228576" algn="l" defTabSz="457152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33" indent="-228576" algn="l" defTabSz="4571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85" indent="-228576" algn="l" defTabSz="4571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37" indent="-228576" algn="l" defTabSz="4571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88" indent="-228576" algn="l" defTabSz="457152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45715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337.xml"/><Relationship Id="rId7" Type="http://schemas.openxmlformats.org/officeDocument/2006/relationships/slideLayout" Target="../slideLayouts/slideLayout34.xml"/><Relationship Id="rId2" Type="http://schemas.openxmlformats.org/officeDocument/2006/relationships/tags" Target="../tags/tag336.xml"/><Relationship Id="rId1" Type="http://schemas.openxmlformats.org/officeDocument/2006/relationships/vmlDrawing" Target="../drawings/vmlDrawing15.vml"/><Relationship Id="rId6" Type="http://schemas.openxmlformats.org/officeDocument/2006/relationships/tags" Target="../tags/tag340.xml"/><Relationship Id="rId5" Type="http://schemas.openxmlformats.org/officeDocument/2006/relationships/tags" Target="../tags/tag339.xml"/><Relationship Id="rId10" Type="http://schemas.openxmlformats.org/officeDocument/2006/relationships/image" Target="../media/image40.emf"/><Relationship Id="rId4" Type="http://schemas.openxmlformats.org/officeDocument/2006/relationships/tags" Target="../tags/tag338.xml"/><Relationship Id="rId9" Type="http://schemas.openxmlformats.org/officeDocument/2006/relationships/oleObject" Target="../embeddings/oleObject16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image" Target="../media/image44.jpeg"/><Relationship Id="rId3" Type="http://schemas.openxmlformats.org/officeDocument/2006/relationships/tags" Target="../tags/tag342.xml"/><Relationship Id="rId7" Type="http://schemas.openxmlformats.org/officeDocument/2006/relationships/tags" Target="../tags/tag346.xml"/><Relationship Id="rId12" Type="http://schemas.openxmlformats.org/officeDocument/2006/relationships/image" Target="../media/image43.jpeg"/><Relationship Id="rId2" Type="http://schemas.openxmlformats.org/officeDocument/2006/relationships/tags" Target="../tags/tag341.xml"/><Relationship Id="rId1" Type="http://schemas.openxmlformats.org/officeDocument/2006/relationships/vmlDrawing" Target="../drawings/vmlDrawing16.vml"/><Relationship Id="rId6" Type="http://schemas.openxmlformats.org/officeDocument/2006/relationships/tags" Target="../tags/tag345.xml"/><Relationship Id="rId11" Type="http://schemas.openxmlformats.org/officeDocument/2006/relationships/image" Target="../media/image42.jpeg"/><Relationship Id="rId5" Type="http://schemas.openxmlformats.org/officeDocument/2006/relationships/tags" Target="../tags/tag344.xml"/><Relationship Id="rId10" Type="http://schemas.openxmlformats.org/officeDocument/2006/relationships/image" Target="../media/image41.emf"/><Relationship Id="rId4" Type="http://schemas.openxmlformats.org/officeDocument/2006/relationships/tags" Target="../tags/tag343.xml"/><Relationship Id="rId9" Type="http://schemas.openxmlformats.org/officeDocument/2006/relationships/oleObject" Target="../embeddings/oleObject17.bin"/><Relationship Id="rId14" Type="http://schemas.openxmlformats.org/officeDocument/2006/relationships/image" Target="../media/image45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5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5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tags" Target="../tags/tag235.xml"/><Relationship Id="rId21" Type="http://schemas.openxmlformats.org/officeDocument/2006/relationships/tags" Target="../tags/tag139.xml"/><Relationship Id="rId42" Type="http://schemas.openxmlformats.org/officeDocument/2006/relationships/tags" Target="../tags/tag160.xml"/><Relationship Id="rId63" Type="http://schemas.openxmlformats.org/officeDocument/2006/relationships/tags" Target="../tags/tag181.xml"/><Relationship Id="rId84" Type="http://schemas.openxmlformats.org/officeDocument/2006/relationships/tags" Target="../tags/tag202.xml"/><Relationship Id="rId138" Type="http://schemas.openxmlformats.org/officeDocument/2006/relationships/tags" Target="../tags/tag256.xml"/><Relationship Id="rId159" Type="http://schemas.openxmlformats.org/officeDocument/2006/relationships/tags" Target="../tags/tag277.xml"/><Relationship Id="rId170" Type="http://schemas.openxmlformats.org/officeDocument/2006/relationships/tags" Target="../tags/tag288.xml"/><Relationship Id="rId191" Type="http://schemas.openxmlformats.org/officeDocument/2006/relationships/image" Target="../media/image19.png"/><Relationship Id="rId205" Type="http://schemas.openxmlformats.org/officeDocument/2006/relationships/image" Target="../media/image26.png"/><Relationship Id="rId107" Type="http://schemas.openxmlformats.org/officeDocument/2006/relationships/tags" Target="../tags/tag225.xml"/><Relationship Id="rId11" Type="http://schemas.openxmlformats.org/officeDocument/2006/relationships/tags" Target="../tags/tag129.xml"/><Relationship Id="rId32" Type="http://schemas.openxmlformats.org/officeDocument/2006/relationships/tags" Target="../tags/tag150.xml"/><Relationship Id="rId37" Type="http://schemas.openxmlformats.org/officeDocument/2006/relationships/tags" Target="../tags/tag155.xml"/><Relationship Id="rId53" Type="http://schemas.openxmlformats.org/officeDocument/2006/relationships/tags" Target="../tags/tag171.xml"/><Relationship Id="rId58" Type="http://schemas.openxmlformats.org/officeDocument/2006/relationships/tags" Target="../tags/tag176.xml"/><Relationship Id="rId74" Type="http://schemas.openxmlformats.org/officeDocument/2006/relationships/tags" Target="../tags/tag192.xml"/><Relationship Id="rId79" Type="http://schemas.openxmlformats.org/officeDocument/2006/relationships/tags" Target="../tags/tag197.xml"/><Relationship Id="rId102" Type="http://schemas.openxmlformats.org/officeDocument/2006/relationships/tags" Target="../tags/tag220.xml"/><Relationship Id="rId123" Type="http://schemas.openxmlformats.org/officeDocument/2006/relationships/tags" Target="../tags/tag241.xml"/><Relationship Id="rId128" Type="http://schemas.openxmlformats.org/officeDocument/2006/relationships/tags" Target="../tags/tag246.xml"/><Relationship Id="rId144" Type="http://schemas.openxmlformats.org/officeDocument/2006/relationships/tags" Target="../tags/tag262.xml"/><Relationship Id="rId149" Type="http://schemas.openxmlformats.org/officeDocument/2006/relationships/tags" Target="../tags/tag267.xml"/><Relationship Id="rId5" Type="http://schemas.openxmlformats.org/officeDocument/2006/relationships/tags" Target="../tags/tag123.xml"/><Relationship Id="rId90" Type="http://schemas.openxmlformats.org/officeDocument/2006/relationships/tags" Target="../tags/tag208.xml"/><Relationship Id="rId95" Type="http://schemas.openxmlformats.org/officeDocument/2006/relationships/tags" Target="../tags/tag213.xml"/><Relationship Id="rId160" Type="http://schemas.openxmlformats.org/officeDocument/2006/relationships/tags" Target="../tags/tag278.xml"/><Relationship Id="rId165" Type="http://schemas.openxmlformats.org/officeDocument/2006/relationships/tags" Target="../tags/tag283.xml"/><Relationship Id="rId181" Type="http://schemas.openxmlformats.org/officeDocument/2006/relationships/image" Target="../media/image12.emf"/><Relationship Id="rId186" Type="http://schemas.microsoft.com/office/2007/relationships/hdphoto" Target="../media/hdphoto2.wdp"/><Relationship Id="rId216" Type="http://schemas.microsoft.com/office/2007/relationships/hdphoto" Target="../media/hdphoto16.wdp"/><Relationship Id="rId211" Type="http://schemas.openxmlformats.org/officeDocument/2006/relationships/image" Target="../media/image29.png"/><Relationship Id="rId22" Type="http://schemas.openxmlformats.org/officeDocument/2006/relationships/tags" Target="../tags/tag140.xml"/><Relationship Id="rId27" Type="http://schemas.openxmlformats.org/officeDocument/2006/relationships/tags" Target="../tags/tag145.xml"/><Relationship Id="rId43" Type="http://schemas.openxmlformats.org/officeDocument/2006/relationships/tags" Target="../tags/tag161.xml"/><Relationship Id="rId48" Type="http://schemas.openxmlformats.org/officeDocument/2006/relationships/tags" Target="../tags/tag166.xml"/><Relationship Id="rId64" Type="http://schemas.openxmlformats.org/officeDocument/2006/relationships/tags" Target="../tags/tag182.xml"/><Relationship Id="rId69" Type="http://schemas.openxmlformats.org/officeDocument/2006/relationships/tags" Target="../tags/tag187.xml"/><Relationship Id="rId113" Type="http://schemas.openxmlformats.org/officeDocument/2006/relationships/tags" Target="../tags/tag231.xml"/><Relationship Id="rId118" Type="http://schemas.openxmlformats.org/officeDocument/2006/relationships/tags" Target="../tags/tag236.xml"/><Relationship Id="rId134" Type="http://schemas.openxmlformats.org/officeDocument/2006/relationships/tags" Target="../tags/tag252.xml"/><Relationship Id="rId139" Type="http://schemas.openxmlformats.org/officeDocument/2006/relationships/tags" Target="../tags/tag257.xml"/><Relationship Id="rId80" Type="http://schemas.openxmlformats.org/officeDocument/2006/relationships/tags" Target="../tags/tag198.xml"/><Relationship Id="rId85" Type="http://schemas.openxmlformats.org/officeDocument/2006/relationships/tags" Target="../tags/tag203.xml"/><Relationship Id="rId150" Type="http://schemas.openxmlformats.org/officeDocument/2006/relationships/tags" Target="../tags/tag268.xml"/><Relationship Id="rId155" Type="http://schemas.openxmlformats.org/officeDocument/2006/relationships/tags" Target="../tags/tag273.xml"/><Relationship Id="rId171" Type="http://schemas.openxmlformats.org/officeDocument/2006/relationships/tags" Target="../tags/tag289.xml"/><Relationship Id="rId176" Type="http://schemas.openxmlformats.org/officeDocument/2006/relationships/tags" Target="../tags/tag294.xml"/><Relationship Id="rId192" Type="http://schemas.microsoft.com/office/2007/relationships/hdphoto" Target="../media/hdphoto4.wdp"/><Relationship Id="rId197" Type="http://schemas.openxmlformats.org/officeDocument/2006/relationships/image" Target="../media/image22.png"/><Relationship Id="rId206" Type="http://schemas.microsoft.com/office/2007/relationships/hdphoto" Target="../media/hdphoto11.wdp"/><Relationship Id="rId201" Type="http://schemas.openxmlformats.org/officeDocument/2006/relationships/image" Target="../media/image24.png"/><Relationship Id="rId12" Type="http://schemas.openxmlformats.org/officeDocument/2006/relationships/tags" Target="../tags/tag130.xml"/><Relationship Id="rId17" Type="http://schemas.openxmlformats.org/officeDocument/2006/relationships/tags" Target="../tags/tag135.xml"/><Relationship Id="rId33" Type="http://schemas.openxmlformats.org/officeDocument/2006/relationships/tags" Target="../tags/tag151.xml"/><Relationship Id="rId38" Type="http://schemas.openxmlformats.org/officeDocument/2006/relationships/tags" Target="../tags/tag156.xml"/><Relationship Id="rId59" Type="http://schemas.openxmlformats.org/officeDocument/2006/relationships/tags" Target="../tags/tag177.xml"/><Relationship Id="rId103" Type="http://schemas.openxmlformats.org/officeDocument/2006/relationships/tags" Target="../tags/tag221.xml"/><Relationship Id="rId108" Type="http://schemas.openxmlformats.org/officeDocument/2006/relationships/tags" Target="../tags/tag226.xml"/><Relationship Id="rId124" Type="http://schemas.openxmlformats.org/officeDocument/2006/relationships/tags" Target="../tags/tag242.xml"/><Relationship Id="rId129" Type="http://schemas.openxmlformats.org/officeDocument/2006/relationships/tags" Target="../tags/tag247.xml"/><Relationship Id="rId54" Type="http://schemas.openxmlformats.org/officeDocument/2006/relationships/tags" Target="../tags/tag172.xml"/><Relationship Id="rId70" Type="http://schemas.openxmlformats.org/officeDocument/2006/relationships/tags" Target="../tags/tag188.xml"/><Relationship Id="rId75" Type="http://schemas.openxmlformats.org/officeDocument/2006/relationships/tags" Target="../tags/tag193.xml"/><Relationship Id="rId91" Type="http://schemas.openxmlformats.org/officeDocument/2006/relationships/tags" Target="../tags/tag209.xml"/><Relationship Id="rId96" Type="http://schemas.openxmlformats.org/officeDocument/2006/relationships/tags" Target="../tags/tag214.xml"/><Relationship Id="rId140" Type="http://schemas.openxmlformats.org/officeDocument/2006/relationships/tags" Target="../tags/tag258.xml"/><Relationship Id="rId145" Type="http://schemas.openxmlformats.org/officeDocument/2006/relationships/tags" Target="../tags/tag263.xml"/><Relationship Id="rId161" Type="http://schemas.openxmlformats.org/officeDocument/2006/relationships/tags" Target="../tags/tag279.xml"/><Relationship Id="rId166" Type="http://schemas.openxmlformats.org/officeDocument/2006/relationships/tags" Target="../tags/tag284.xml"/><Relationship Id="rId182" Type="http://schemas.openxmlformats.org/officeDocument/2006/relationships/image" Target="../media/image13.png"/><Relationship Id="rId187" Type="http://schemas.openxmlformats.org/officeDocument/2006/relationships/image" Target="../media/image16.png"/><Relationship Id="rId1" Type="http://schemas.openxmlformats.org/officeDocument/2006/relationships/vmlDrawing" Target="../drawings/vmlDrawing12.vml"/><Relationship Id="rId6" Type="http://schemas.openxmlformats.org/officeDocument/2006/relationships/tags" Target="../tags/tag124.xml"/><Relationship Id="rId212" Type="http://schemas.microsoft.com/office/2007/relationships/hdphoto" Target="../media/hdphoto14.wdp"/><Relationship Id="rId23" Type="http://schemas.openxmlformats.org/officeDocument/2006/relationships/tags" Target="../tags/tag141.xml"/><Relationship Id="rId28" Type="http://schemas.openxmlformats.org/officeDocument/2006/relationships/tags" Target="../tags/tag146.xml"/><Relationship Id="rId49" Type="http://schemas.openxmlformats.org/officeDocument/2006/relationships/tags" Target="../tags/tag167.xml"/><Relationship Id="rId114" Type="http://schemas.openxmlformats.org/officeDocument/2006/relationships/tags" Target="../tags/tag232.xml"/><Relationship Id="rId119" Type="http://schemas.openxmlformats.org/officeDocument/2006/relationships/tags" Target="../tags/tag237.xml"/><Relationship Id="rId44" Type="http://schemas.openxmlformats.org/officeDocument/2006/relationships/tags" Target="../tags/tag162.xml"/><Relationship Id="rId60" Type="http://schemas.openxmlformats.org/officeDocument/2006/relationships/tags" Target="../tags/tag178.xml"/><Relationship Id="rId65" Type="http://schemas.openxmlformats.org/officeDocument/2006/relationships/tags" Target="../tags/tag183.xml"/><Relationship Id="rId81" Type="http://schemas.openxmlformats.org/officeDocument/2006/relationships/tags" Target="../tags/tag199.xml"/><Relationship Id="rId86" Type="http://schemas.openxmlformats.org/officeDocument/2006/relationships/tags" Target="../tags/tag204.xml"/><Relationship Id="rId130" Type="http://schemas.openxmlformats.org/officeDocument/2006/relationships/tags" Target="../tags/tag248.xml"/><Relationship Id="rId135" Type="http://schemas.openxmlformats.org/officeDocument/2006/relationships/tags" Target="../tags/tag253.xml"/><Relationship Id="rId151" Type="http://schemas.openxmlformats.org/officeDocument/2006/relationships/tags" Target="../tags/tag269.xml"/><Relationship Id="rId156" Type="http://schemas.openxmlformats.org/officeDocument/2006/relationships/tags" Target="../tags/tag274.xml"/><Relationship Id="rId177" Type="http://schemas.openxmlformats.org/officeDocument/2006/relationships/tags" Target="../tags/tag295.xml"/><Relationship Id="rId198" Type="http://schemas.microsoft.com/office/2007/relationships/hdphoto" Target="../media/hdphoto7.wdp"/><Relationship Id="rId172" Type="http://schemas.openxmlformats.org/officeDocument/2006/relationships/tags" Target="../tags/tag290.xml"/><Relationship Id="rId193" Type="http://schemas.openxmlformats.org/officeDocument/2006/relationships/image" Target="../media/image20.png"/><Relationship Id="rId202" Type="http://schemas.microsoft.com/office/2007/relationships/hdphoto" Target="../media/hdphoto9.wdp"/><Relationship Id="rId207" Type="http://schemas.openxmlformats.org/officeDocument/2006/relationships/image" Target="../media/image27.png"/><Relationship Id="rId13" Type="http://schemas.openxmlformats.org/officeDocument/2006/relationships/tags" Target="../tags/tag131.xml"/><Relationship Id="rId18" Type="http://schemas.openxmlformats.org/officeDocument/2006/relationships/tags" Target="../tags/tag136.xml"/><Relationship Id="rId39" Type="http://schemas.openxmlformats.org/officeDocument/2006/relationships/tags" Target="../tags/tag157.xml"/><Relationship Id="rId109" Type="http://schemas.openxmlformats.org/officeDocument/2006/relationships/tags" Target="../tags/tag227.xml"/><Relationship Id="rId34" Type="http://schemas.openxmlformats.org/officeDocument/2006/relationships/tags" Target="../tags/tag152.xml"/><Relationship Id="rId50" Type="http://schemas.openxmlformats.org/officeDocument/2006/relationships/tags" Target="../tags/tag168.xml"/><Relationship Id="rId55" Type="http://schemas.openxmlformats.org/officeDocument/2006/relationships/tags" Target="../tags/tag173.xml"/><Relationship Id="rId76" Type="http://schemas.openxmlformats.org/officeDocument/2006/relationships/tags" Target="../tags/tag194.xml"/><Relationship Id="rId97" Type="http://schemas.openxmlformats.org/officeDocument/2006/relationships/tags" Target="../tags/tag215.xml"/><Relationship Id="rId104" Type="http://schemas.openxmlformats.org/officeDocument/2006/relationships/tags" Target="../tags/tag222.xml"/><Relationship Id="rId120" Type="http://schemas.openxmlformats.org/officeDocument/2006/relationships/tags" Target="../tags/tag238.xml"/><Relationship Id="rId125" Type="http://schemas.openxmlformats.org/officeDocument/2006/relationships/tags" Target="../tags/tag243.xml"/><Relationship Id="rId141" Type="http://schemas.openxmlformats.org/officeDocument/2006/relationships/tags" Target="../tags/tag259.xml"/><Relationship Id="rId146" Type="http://schemas.openxmlformats.org/officeDocument/2006/relationships/tags" Target="../tags/tag264.xml"/><Relationship Id="rId167" Type="http://schemas.openxmlformats.org/officeDocument/2006/relationships/tags" Target="../tags/tag285.xml"/><Relationship Id="rId188" Type="http://schemas.openxmlformats.org/officeDocument/2006/relationships/image" Target="../media/image17.png"/><Relationship Id="rId7" Type="http://schemas.openxmlformats.org/officeDocument/2006/relationships/tags" Target="../tags/tag125.xml"/><Relationship Id="rId71" Type="http://schemas.openxmlformats.org/officeDocument/2006/relationships/tags" Target="../tags/tag189.xml"/><Relationship Id="rId92" Type="http://schemas.openxmlformats.org/officeDocument/2006/relationships/tags" Target="../tags/tag210.xml"/><Relationship Id="rId162" Type="http://schemas.openxmlformats.org/officeDocument/2006/relationships/tags" Target="../tags/tag280.xml"/><Relationship Id="rId183" Type="http://schemas.microsoft.com/office/2007/relationships/hdphoto" Target="../media/hdphoto1.wdp"/><Relationship Id="rId213" Type="http://schemas.openxmlformats.org/officeDocument/2006/relationships/image" Target="../media/image30.png"/><Relationship Id="rId2" Type="http://schemas.openxmlformats.org/officeDocument/2006/relationships/tags" Target="../tags/tag120.xml"/><Relationship Id="rId29" Type="http://schemas.openxmlformats.org/officeDocument/2006/relationships/tags" Target="../tags/tag147.xml"/><Relationship Id="rId24" Type="http://schemas.openxmlformats.org/officeDocument/2006/relationships/tags" Target="../tags/tag142.xml"/><Relationship Id="rId40" Type="http://schemas.openxmlformats.org/officeDocument/2006/relationships/tags" Target="../tags/tag158.xml"/><Relationship Id="rId45" Type="http://schemas.openxmlformats.org/officeDocument/2006/relationships/tags" Target="../tags/tag163.xml"/><Relationship Id="rId66" Type="http://schemas.openxmlformats.org/officeDocument/2006/relationships/tags" Target="../tags/tag184.xml"/><Relationship Id="rId87" Type="http://schemas.openxmlformats.org/officeDocument/2006/relationships/tags" Target="../tags/tag205.xml"/><Relationship Id="rId110" Type="http://schemas.openxmlformats.org/officeDocument/2006/relationships/tags" Target="../tags/tag228.xml"/><Relationship Id="rId115" Type="http://schemas.openxmlformats.org/officeDocument/2006/relationships/tags" Target="../tags/tag233.xml"/><Relationship Id="rId131" Type="http://schemas.openxmlformats.org/officeDocument/2006/relationships/tags" Target="../tags/tag249.xml"/><Relationship Id="rId136" Type="http://schemas.openxmlformats.org/officeDocument/2006/relationships/tags" Target="../tags/tag254.xml"/><Relationship Id="rId157" Type="http://schemas.openxmlformats.org/officeDocument/2006/relationships/tags" Target="../tags/tag275.xml"/><Relationship Id="rId178" Type="http://schemas.openxmlformats.org/officeDocument/2006/relationships/tags" Target="../tags/tag296.xml"/><Relationship Id="rId61" Type="http://schemas.openxmlformats.org/officeDocument/2006/relationships/tags" Target="../tags/tag179.xml"/><Relationship Id="rId82" Type="http://schemas.openxmlformats.org/officeDocument/2006/relationships/tags" Target="../tags/tag200.xml"/><Relationship Id="rId152" Type="http://schemas.openxmlformats.org/officeDocument/2006/relationships/tags" Target="../tags/tag270.xml"/><Relationship Id="rId173" Type="http://schemas.openxmlformats.org/officeDocument/2006/relationships/tags" Target="../tags/tag291.xml"/><Relationship Id="rId194" Type="http://schemas.microsoft.com/office/2007/relationships/hdphoto" Target="../media/hdphoto5.wdp"/><Relationship Id="rId199" Type="http://schemas.openxmlformats.org/officeDocument/2006/relationships/image" Target="../media/image23.png"/><Relationship Id="rId203" Type="http://schemas.openxmlformats.org/officeDocument/2006/relationships/image" Target="../media/image25.png"/><Relationship Id="rId208" Type="http://schemas.microsoft.com/office/2007/relationships/hdphoto" Target="../media/hdphoto12.wdp"/><Relationship Id="rId19" Type="http://schemas.openxmlformats.org/officeDocument/2006/relationships/tags" Target="../tags/tag137.xml"/><Relationship Id="rId14" Type="http://schemas.openxmlformats.org/officeDocument/2006/relationships/tags" Target="../tags/tag132.xml"/><Relationship Id="rId30" Type="http://schemas.openxmlformats.org/officeDocument/2006/relationships/tags" Target="../tags/tag148.xml"/><Relationship Id="rId35" Type="http://schemas.openxmlformats.org/officeDocument/2006/relationships/tags" Target="../tags/tag153.xml"/><Relationship Id="rId56" Type="http://schemas.openxmlformats.org/officeDocument/2006/relationships/tags" Target="../tags/tag174.xml"/><Relationship Id="rId77" Type="http://schemas.openxmlformats.org/officeDocument/2006/relationships/tags" Target="../tags/tag195.xml"/><Relationship Id="rId100" Type="http://schemas.openxmlformats.org/officeDocument/2006/relationships/tags" Target="../tags/tag218.xml"/><Relationship Id="rId105" Type="http://schemas.openxmlformats.org/officeDocument/2006/relationships/tags" Target="../tags/tag223.xml"/><Relationship Id="rId126" Type="http://schemas.openxmlformats.org/officeDocument/2006/relationships/tags" Target="../tags/tag244.xml"/><Relationship Id="rId147" Type="http://schemas.openxmlformats.org/officeDocument/2006/relationships/tags" Target="../tags/tag265.xml"/><Relationship Id="rId168" Type="http://schemas.openxmlformats.org/officeDocument/2006/relationships/tags" Target="../tags/tag286.xml"/><Relationship Id="rId8" Type="http://schemas.openxmlformats.org/officeDocument/2006/relationships/tags" Target="../tags/tag126.xml"/><Relationship Id="rId51" Type="http://schemas.openxmlformats.org/officeDocument/2006/relationships/tags" Target="../tags/tag169.xml"/><Relationship Id="rId72" Type="http://schemas.openxmlformats.org/officeDocument/2006/relationships/tags" Target="../tags/tag190.xml"/><Relationship Id="rId93" Type="http://schemas.openxmlformats.org/officeDocument/2006/relationships/tags" Target="../tags/tag211.xml"/><Relationship Id="rId98" Type="http://schemas.openxmlformats.org/officeDocument/2006/relationships/tags" Target="../tags/tag216.xml"/><Relationship Id="rId121" Type="http://schemas.openxmlformats.org/officeDocument/2006/relationships/tags" Target="../tags/tag239.xml"/><Relationship Id="rId142" Type="http://schemas.openxmlformats.org/officeDocument/2006/relationships/tags" Target="../tags/tag260.xml"/><Relationship Id="rId163" Type="http://schemas.openxmlformats.org/officeDocument/2006/relationships/tags" Target="../tags/tag281.xml"/><Relationship Id="rId184" Type="http://schemas.openxmlformats.org/officeDocument/2006/relationships/image" Target="../media/image14.png"/><Relationship Id="rId189" Type="http://schemas.openxmlformats.org/officeDocument/2006/relationships/image" Target="../media/image18.png"/><Relationship Id="rId3" Type="http://schemas.openxmlformats.org/officeDocument/2006/relationships/tags" Target="../tags/tag121.xml"/><Relationship Id="rId214" Type="http://schemas.microsoft.com/office/2007/relationships/hdphoto" Target="../media/hdphoto15.wdp"/><Relationship Id="rId25" Type="http://schemas.openxmlformats.org/officeDocument/2006/relationships/tags" Target="../tags/tag143.xml"/><Relationship Id="rId46" Type="http://schemas.openxmlformats.org/officeDocument/2006/relationships/tags" Target="../tags/tag164.xml"/><Relationship Id="rId67" Type="http://schemas.openxmlformats.org/officeDocument/2006/relationships/tags" Target="../tags/tag185.xml"/><Relationship Id="rId116" Type="http://schemas.openxmlformats.org/officeDocument/2006/relationships/tags" Target="../tags/tag234.xml"/><Relationship Id="rId137" Type="http://schemas.openxmlformats.org/officeDocument/2006/relationships/tags" Target="../tags/tag255.xml"/><Relationship Id="rId158" Type="http://schemas.openxmlformats.org/officeDocument/2006/relationships/tags" Target="../tags/tag276.xml"/><Relationship Id="rId20" Type="http://schemas.openxmlformats.org/officeDocument/2006/relationships/tags" Target="../tags/tag138.xml"/><Relationship Id="rId41" Type="http://schemas.openxmlformats.org/officeDocument/2006/relationships/tags" Target="../tags/tag159.xml"/><Relationship Id="rId62" Type="http://schemas.openxmlformats.org/officeDocument/2006/relationships/tags" Target="../tags/tag180.xml"/><Relationship Id="rId83" Type="http://schemas.openxmlformats.org/officeDocument/2006/relationships/tags" Target="../tags/tag201.xml"/><Relationship Id="rId88" Type="http://schemas.openxmlformats.org/officeDocument/2006/relationships/tags" Target="../tags/tag206.xml"/><Relationship Id="rId111" Type="http://schemas.openxmlformats.org/officeDocument/2006/relationships/tags" Target="../tags/tag229.xml"/><Relationship Id="rId132" Type="http://schemas.openxmlformats.org/officeDocument/2006/relationships/tags" Target="../tags/tag250.xml"/><Relationship Id="rId153" Type="http://schemas.openxmlformats.org/officeDocument/2006/relationships/tags" Target="../tags/tag271.xml"/><Relationship Id="rId174" Type="http://schemas.openxmlformats.org/officeDocument/2006/relationships/tags" Target="../tags/tag292.xml"/><Relationship Id="rId179" Type="http://schemas.openxmlformats.org/officeDocument/2006/relationships/slideLayout" Target="../slideLayouts/slideLayout20.xml"/><Relationship Id="rId195" Type="http://schemas.openxmlformats.org/officeDocument/2006/relationships/image" Target="../media/image21.png"/><Relationship Id="rId209" Type="http://schemas.openxmlformats.org/officeDocument/2006/relationships/image" Target="../media/image28.png"/><Relationship Id="rId190" Type="http://schemas.microsoft.com/office/2007/relationships/hdphoto" Target="../media/hdphoto3.wdp"/><Relationship Id="rId204" Type="http://schemas.microsoft.com/office/2007/relationships/hdphoto" Target="../media/hdphoto10.wdp"/><Relationship Id="rId15" Type="http://schemas.openxmlformats.org/officeDocument/2006/relationships/tags" Target="../tags/tag133.xml"/><Relationship Id="rId36" Type="http://schemas.openxmlformats.org/officeDocument/2006/relationships/tags" Target="../tags/tag154.xml"/><Relationship Id="rId57" Type="http://schemas.openxmlformats.org/officeDocument/2006/relationships/tags" Target="../tags/tag175.xml"/><Relationship Id="rId106" Type="http://schemas.openxmlformats.org/officeDocument/2006/relationships/tags" Target="../tags/tag224.xml"/><Relationship Id="rId127" Type="http://schemas.openxmlformats.org/officeDocument/2006/relationships/tags" Target="../tags/tag245.xml"/><Relationship Id="rId10" Type="http://schemas.openxmlformats.org/officeDocument/2006/relationships/tags" Target="../tags/tag128.xml"/><Relationship Id="rId31" Type="http://schemas.openxmlformats.org/officeDocument/2006/relationships/tags" Target="../tags/tag149.xml"/><Relationship Id="rId52" Type="http://schemas.openxmlformats.org/officeDocument/2006/relationships/tags" Target="../tags/tag170.xml"/><Relationship Id="rId73" Type="http://schemas.openxmlformats.org/officeDocument/2006/relationships/tags" Target="../tags/tag191.xml"/><Relationship Id="rId78" Type="http://schemas.openxmlformats.org/officeDocument/2006/relationships/tags" Target="../tags/tag196.xml"/><Relationship Id="rId94" Type="http://schemas.openxmlformats.org/officeDocument/2006/relationships/tags" Target="../tags/tag212.xml"/><Relationship Id="rId99" Type="http://schemas.openxmlformats.org/officeDocument/2006/relationships/tags" Target="../tags/tag217.xml"/><Relationship Id="rId101" Type="http://schemas.openxmlformats.org/officeDocument/2006/relationships/tags" Target="../tags/tag219.xml"/><Relationship Id="rId122" Type="http://schemas.openxmlformats.org/officeDocument/2006/relationships/tags" Target="../tags/tag240.xml"/><Relationship Id="rId143" Type="http://schemas.openxmlformats.org/officeDocument/2006/relationships/tags" Target="../tags/tag261.xml"/><Relationship Id="rId148" Type="http://schemas.openxmlformats.org/officeDocument/2006/relationships/tags" Target="../tags/tag266.xml"/><Relationship Id="rId164" Type="http://schemas.openxmlformats.org/officeDocument/2006/relationships/tags" Target="../tags/tag282.xml"/><Relationship Id="rId169" Type="http://schemas.openxmlformats.org/officeDocument/2006/relationships/tags" Target="../tags/tag287.xml"/><Relationship Id="rId185" Type="http://schemas.openxmlformats.org/officeDocument/2006/relationships/image" Target="../media/image15.png"/><Relationship Id="rId4" Type="http://schemas.openxmlformats.org/officeDocument/2006/relationships/tags" Target="../tags/tag122.xml"/><Relationship Id="rId9" Type="http://schemas.openxmlformats.org/officeDocument/2006/relationships/tags" Target="../tags/tag127.xml"/><Relationship Id="rId180" Type="http://schemas.openxmlformats.org/officeDocument/2006/relationships/oleObject" Target="../embeddings/oleObject12.bin"/><Relationship Id="rId210" Type="http://schemas.microsoft.com/office/2007/relationships/hdphoto" Target="../media/hdphoto13.wdp"/><Relationship Id="rId215" Type="http://schemas.openxmlformats.org/officeDocument/2006/relationships/image" Target="../media/image31.png"/><Relationship Id="rId26" Type="http://schemas.openxmlformats.org/officeDocument/2006/relationships/tags" Target="../tags/tag144.xml"/><Relationship Id="rId47" Type="http://schemas.openxmlformats.org/officeDocument/2006/relationships/tags" Target="../tags/tag165.xml"/><Relationship Id="rId68" Type="http://schemas.openxmlformats.org/officeDocument/2006/relationships/tags" Target="../tags/tag186.xml"/><Relationship Id="rId89" Type="http://schemas.openxmlformats.org/officeDocument/2006/relationships/tags" Target="../tags/tag207.xml"/><Relationship Id="rId112" Type="http://schemas.openxmlformats.org/officeDocument/2006/relationships/tags" Target="../tags/tag230.xml"/><Relationship Id="rId133" Type="http://schemas.openxmlformats.org/officeDocument/2006/relationships/tags" Target="../tags/tag251.xml"/><Relationship Id="rId154" Type="http://schemas.openxmlformats.org/officeDocument/2006/relationships/tags" Target="../tags/tag272.xml"/><Relationship Id="rId175" Type="http://schemas.openxmlformats.org/officeDocument/2006/relationships/tags" Target="../tags/tag293.xml"/><Relationship Id="rId196" Type="http://schemas.microsoft.com/office/2007/relationships/hdphoto" Target="../media/hdphoto6.wdp"/><Relationship Id="rId200" Type="http://schemas.microsoft.com/office/2007/relationships/hdphoto" Target="../media/hdphoto8.wdp"/><Relationship Id="rId16" Type="http://schemas.openxmlformats.org/officeDocument/2006/relationships/tags" Target="../tags/tag13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03.xml"/><Relationship Id="rId13" Type="http://schemas.openxmlformats.org/officeDocument/2006/relationships/oleObject" Target="../embeddings/oleObject13.bin"/><Relationship Id="rId3" Type="http://schemas.openxmlformats.org/officeDocument/2006/relationships/tags" Target="../tags/tag298.xml"/><Relationship Id="rId7" Type="http://schemas.openxmlformats.org/officeDocument/2006/relationships/tags" Target="../tags/tag302.xml"/><Relationship Id="rId12" Type="http://schemas.openxmlformats.org/officeDocument/2006/relationships/slideLayout" Target="../slideLayouts/slideLayout6.xml"/><Relationship Id="rId17" Type="http://schemas.openxmlformats.org/officeDocument/2006/relationships/image" Target="../media/image35.jpeg"/><Relationship Id="rId2" Type="http://schemas.openxmlformats.org/officeDocument/2006/relationships/tags" Target="../tags/tag297.xml"/><Relationship Id="rId16" Type="http://schemas.openxmlformats.org/officeDocument/2006/relationships/image" Target="../media/image34.jpeg"/><Relationship Id="rId1" Type="http://schemas.openxmlformats.org/officeDocument/2006/relationships/vmlDrawing" Target="../drawings/vmlDrawing13.vml"/><Relationship Id="rId6" Type="http://schemas.openxmlformats.org/officeDocument/2006/relationships/tags" Target="../tags/tag301.xml"/><Relationship Id="rId11" Type="http://schemas.openxmlformats.org/officeDocument/2006/relationships/tags" Target="../tags/tag306.xml"/><Relationship Id="rId5" Type="http://schemas.openxmlformats.org/officeDocument/2006/relationships/tags" Target="../tags/tag300.xml"/><Relationship Id="rId15" Type="http://schemas.openxmlformats.org/officeDocument/2006/relationships/image" Target="../media/image33.jpeg"/><Relationship Id="rId10" Type="http://schemas.openxmlformats.org/officeDocument/2006/relationships/tags" Target="../tags/tag305.xml"/><Relationship Id="rId4" Type="http://schemas.openxmlformats.org/officeDocument/2006/relationships/tags" Target="../tags/tag299.xml"/><Relationship Id="rId9" Type="http://schemas.openxmlformats.org/officeDocument/2006/relationships/tags" Target="../tags/tag304.xml"/><Relationship Id="rId14" Type="http://schemas.openxmlformats.org/officeDocument/2006/relationships/image" Target="../media/image32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13.xml"/><Relationship Id="rId13" Type="http://schemas.openxmlformats.org/officeDocument/2006/relationships/tags" Target="../tags/tag318.xml"/><Relationship Id="rId18" Type="http://schemas.openxmlformats.org/officeDocument/2006/relationships/tags" Target="../tags/tag323.xml"/><Relationship Id="rId26" Type="http://schemas.openxmlformats.org/officeDocument/2006/relationships/tags" Target="../tags/tag331.xml"/><Relationship Id="rId3" Type="http://schemas.openxmlformats.org/officeDocument/2006/relationships/tags" Target="../tags/tag308.xml"/><Relationship Id="rId21" Type="http://schemas.openxmlformats.org/officeDocument/2006/relationships/tags" Target="../tags/tag326.xml"/><Relationship Id="rId34" Type="http://schemas.openxmlformats.org/officeDocument/2006/relationships/image" Target="../media/image36.emf"/><Relationship Id="rId7" Type="http://schemas.openxmlformats.org/officeDocument/2006/relationships/tags" Target="../tags/tag312.xml"/><Relationship Id="rId12" Type="http://schemas.openxmlformats.org/officeDocument/2006/relationships/tags" Target="../tags/tag317.xml"/><Relationship Id="rId17" Type="http://schemas.openxmlformats.org/officeDocument/2006/relationships/tags" Target="../tags/tag322.xml"/><Relationship Id="rId25" Type="http://schemas.openxmlformats.org/officeDocument/2006/relationships/tags" Target="../tags/tag330.xml"/><Relationship Id="rId33" Type="http://schemas.openxmlformats.org/officeDocument/2006/relationships/oleObject" Target="../embeddings/oleObject14.bin"/><Relationship Id="rId38" Type="http://schemas.openxmlformats.org/officeDocument/2006/relationships/image" Target="../media/image39.jpeg"/><Relationship Id="rId2" Type="http://schemas.openxmlformats.org/officeDocument/2006/relationships/tags" Target="../tags/tag307.xml"/><Relationship Id="rId16" Type="http://schemas.openxmlformats.org/officeDocument/2006/relationships/tags" Target="../tags/tag321.xml"/><Relationship Id="rId20" Type="http://schemas.openxmlformats.org/officeDocument/2006/relationships/tags" Target="../tags/tag325.xml"/><Relationship Id="rId29" Type="http://schemas.openxmlformats.org/officeDocument/2006/relationships/tags" Target="../tags/tag334.xml"/><Relationship Id="rId1" Type="http://schemas.openxmlformats.org/officeDocument/2006/relationships/vmlDrawing" Target="../drawings/vmlDrawing14.vml"/><Relationship Id="rId6" Type="http://schemas.openxmlformats.org/officeDocument/2006/relationships/tags" Target="../tags/tag311.xml"/><Relationship Id="rId11" Type="http://schemas.openxmlformats.org/officeDocument/2006/relationships/tags" Target="../tags/tag316.xml"/><Relationship Id="rId24" Type="http://schemas.openxmlformats.org/officeDocument/2006/relationships/tags" Target="../tags/tag329.xml"/><Relationship Id="rId32" Type="http://schemas.openxmlformats.org/officeDocument/2006/relationships/notesSlide" Target="../notesSlides/notesSlide1.xml"/><Relationship Id="rId37" Type="http://schemas.openxmlformats.org/officeDocument/2006/relationships/image" Target="../media/image38.jpeg"/><Relationship Id="rId5" Type="http://schemas.openxmlformats.org/officeDocument/2006/relationships/tags" Target="../tags/tag310.xml"/><Relationship Id="rId15" Type="http://schemas.openxmlformats.org/officeDocument/2006/relationships/tags" Target="../tags/tag320.xml"/><Relationship Id="rId23" Type="http://schemas.openxmlformats.org/officeDocument/2006/relationships/tags" Target="../tags/tag328.xml"/><Relationship Id="rId28" Type="http://schemas.openxmlformats.org/officeDocument/2006/relationships/tags" Target="../tags/tag333.xml"/><Relationship Id="rId36" Type="http://schemas.openxmlformats.org/officeDocument/2006/relationships/image" Target="../media/image37.emf"/><Relationship Id="rId10" Type="http://schemas.openxmlformats.org/officeDocument/2006/relationships/tags" Target="../tags/tag315.xml"/><Relationship Id="rId19" Type="http://schemas.openxmlformats.org/officeDocument/2006/relationships/tags" Target="../tags/tag324.xml"/><Relationship Id="rId31" Type="http://schemas.openxmlformats.org/officeDocument/2006/relationships/slideLayout" Target="../slideLayouts/slideLayout6.xml"/><Relationship Id="rId4" Type="http://schemas.openxmlformats.org/officeDocument/2006/relationships/tags" Target="../tags/tag309.xml"/><Relationship Id="rId9" Type="http://schemas.openxmlformats.org/officeDocument/2006/relationships/tags" Target="../tags/tag314.xml"/><Relationship Id="rId14" Type="http://schemas.openxmlformats.org/officeDocument/2006/relationships/tags" Target="../tags/tag319.xml"/><Relationship Id="rId22" Type="http://schemas.openxmlformats.org/officeDocument/2006/relationships/tags" Target="../tags/tag327.xml"/><Relationship Id="rId27" Type="http://schemas.openxmlformats.org/officeDocument/2006/relationships/tags" Target="../tags/tag332.xml"/><Relationship Id="rId30" Type="http://schemas.openxmlformats.org/officeDocument/2006/relationships/tags" Target="../tags/tag335.xml"/><Relationship Id="rId35" Type="http://schemas.openxmlformats.org/officeDocument/2006/relationships/oleObject" Target="../embeddings/oleObject15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2830" y="1419368"/>
            <a:ext cx="8925636" cy="3098042"/>
          </a:xfrm>
        </p:spPr>
        <p:txBody>
          <a:bodyPr>
            <a:normAutofit fontScale="90000"/>
          </a:bodyPr>
          <a:lstStyle/>
          <a:p>
            <a:r>
              <a:rPr lang="en-US" sz="4900" b="1" dirty="0" smtClean="0">
                <a:solidFill>
                  <a:schemeClr val="bg1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/>
            </a:r>
            <a:br>
              <a:rPr lang="en-US" sz="4900" b="1" dirty="0" smtClean="0">
                <a:solidFill>
                  <a:schemeClr val="bg1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</a:br>
            <a:r>
              <a:rPr lang="en-US" sz="3100" dirty="0" smtClean="0">
                <a:solidFill>
                  <a:schemeClr val="bg1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:</a:t>
            </a:r>
            <a:br>
              <a:rPr lang="en-US" sz="3100" dirty="0" smtClean="0">
                <a:solidFill>
                  <a:schemeClr val="bg1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</a:br>
            <a:r>
              <a:rPr lang="en-US" sz="4000" b="1" dirty="0" smtClean="0">
                <a:solidFill>
                  <a:schemeClr val="bg1"/>
                </a:solidFill>
                <a:latin typeface="Arial Black" panose="020B0A04020102020204" pitchFamily="34" charset="0"/>
                <a:cs typeface="Lucida Sans Unicode" panose="020B0602030504020204" pitchFamily="34" charset="0"/>
              </a:rPr>
              <a:t>TOWARDS A TRANSFORMED, INCLUSIVE AND SUSTAINABLE BIODIVERSITY ECONOMY SECTOR FOR ALL</a:t>
            </a:r>
            <a:r>
              <a:rPr lang="en-US" sz="3200" b="1" dirty="0" smtClean="0">
                <a:solidFill>
                  <a:schemeClr val="bg1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/>
            </a:r>
            <a:br>
              <a:rPr lang="en-US" sz="3200" b="1" dirty="0" smtClean="0">
                <a:solidFill>
                  <a:schemeClr val="bg1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</a:br>
            <a:r>
              <a:rPr lang="en-US" sz="2800" b="1" dirty="0" smtClean="0">
                <a:solidFill>
                  <a:schemeClr val="bg1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/>
            </a:r>
            <a:br>
              <a:rPr lang="en-US" sz="2800" b="1" dirty="0" smtClean="0">
                <a:solidFill>
                  <a:schemeClr val="bg1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</a:br>
            <a:r>
              <a:rPr lang="en-ZA" sz="2800" dirty="0" smtClean="0">
                <a:solidFill>
                  <a:schemeClr val="bg1"/>
                </a:solidFill>
              </a:rPr>
              <a:t/>
            </a:r>
            <a:br>
              <a:rPr lang="en-ZA" sz="2800" dirty="0" smtClean="0">
                <a:solidFill>
                  <a:schemeClr val="bg1"/>
                </a:solidFill>
              </a:rPr>
            </a:br>
            <a:r>
              <a:rPr lang="en-ZA" sz="2800" dirty="0">
                <a:solidFill>
                  <a:schemeClr val="bg1"/>
                </a:solidFill>
              </a:rPr>
              <a:t/>
            </a:r>
            <a:br>
              <a:rPr lang="en-ZA" sz="2800" dirty="0">
                <a:solidFill>
                  <a:schemeClr val="bg1"/>
                </a:solidFill>
              </a:rPr>
            </a:b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21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09954"/>
            <a:ext cx="8229600" cy="685800"/>
          </a:xfrm>
        </p:spPr>
        <p:txBody>
          <a:bodyPr>
            <a:normAutofit/>
          </a:bodyPr>
          <a:lstStyle/>
          <a:p>
            <a:r>
              <a:rPr lang="en-ZA" sz="3600" b="1" dirty="0" smtClean="0">
                <a:latin typeface="Lucida Sans Unicode" panose="020B0602030504020204" pitchFamily="34" charset="0"/>
                <a:cs typeface="Lucida Sans Unicode" panose="020B0602030504020204" pitchFamily="34" charset="0"/>
              </a:rPr>
              <a:t> </a:t>
            </a:r>
            <a:endParaRPr lang="en-ZA" sz="3600" b="1" dirty="0"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40677" y="1282535"/>
            <a:ext cx="8862646" cy="499602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2400" dirty="0" smtClean="0"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marL="0" indent="0" algn="ctr">
              <a:buNone/>
              <a:defRPr/>
            </a:pPr>
            <a:endParaRPr lang="en-US" dirty="0" smtClean="0"/>
          </a:p>
          <a:p>
            <a:pPr marL="0" indent="0" algn="ctr">
              <a:buNone/>
              <a:defRPr/>
            </a:pPr>
            <a:endParaRPr lang="en-US" dirty="0"/>
          </a:p>
          <a:p>
            <a:pPr marL="0" indent="0" algn="ctr">
              <a:buNone/>
              <a:defRPr/>
            </a:pPr>
            <a:r>
              <a:rPr lang="en-US" b="1" dirty="0" smtClean="0"/>
              <a:t>ADDRESSING THE CHALLENGES </a:t>
            </a:r>
            <a:endParaRPr lang="en-ZA" b="1" dirty="0"/>
          </a:p>
        </p:txBody>
      </p:sp>
    </p:spTree>
    <p:extLst>
      <p:ext uri="{BB962C8B-B14F-4D97-AF65-F5344CB8AC3E}">
        <p14:creationId xmlns:p14="http://schemas.microsoft.com/office/powerpoint/2010/main" val="391156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9" imgW="524" imgH="526" progId="TCLayout.ActiveDocument.1">
                  <p:embed/>
                </p:oleObj>
              </mc:Choice>
              <mc:Fallback>
                <p:oleObj name="think-cell Slide" r:id="rId9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75204" y="234864"/>
            <a:ext cx="8793595" cy="5966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dirty="0"/>
              <a:t>The </a:t>
            </a:r>
            <a:r>
              <a:rPr lang="en-GB" dirty="0">
                <a:solidFill>
                  <a:srgbClr val="0B4623"/>
                </a:solidFill>
              </a:rPr>
              <a:t>Wildlife Economy Lab developed detailed plans </a:t>
            </a:r>
            <a:r>
              <a:rPr lang="en-GB" dirty="0" smtClean="0">
                <a:solidFill>
                  <a:srgbClr val="0B4623"/>
                </a:solidFill>
              </a:rPr>
              <a:t>for</a:t>
            </a:r>
            <a:br>
              <a:rPr lang="en-GB" dirty="0" smtClean="0">
                <a:solidFill>
                  <a:srgbClr val="0B4623"/>
                </a:solidFill>
              </a:rPr>
            </a:br>
            <a:r>
              <a:rPr lang="en-GB" dirty="0" smtClean="0">
                <a:solidFill>
                  <a:srgbClr val="0B4623"/>
                </a:solidFill>
              </a:rPr>
              <a:t>15 </a:t>
            </a:r>
            <a:r>
              <a:rPr lang="en-GB" dirty="0">
                <a:solidFill>
                  <a:srgbClr val="0B4623"/>
                </a:solidFill>
              </a:rPr>
              <a:t>initiatives </a:t>
            </a:r>
            <a:r>
              <a:rPr lang="en-GB" dirty="0" smtClean="0">
                <a:solidFill>
                  <a:srgbClr val="0B4623"/>
                </a:solidFill>
              </a:rPr>
              <a:t>and 6 addi</a:t>
            </a:r>
            <a:r>
              <a:rPr lang="en-GB" dirty="0" smtClean="0"/>
              <a:t>tional initiatives </a:t>
            </a:r>
            <a:endParaRPr lang="en-GB" dirty="0"/>
          </a:p>
        </p:txBody>
      </p:sp>
      <p:sp>
        <p:nvSpPr>
          <p:cNvPr id="45" name="Rectangle 87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7738152" y="330727"/>
            <a:ext cx="130616" cy="1256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7748" tIns="77748" rIns="77748" bIns="77748" numCol="1" anchor="b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endParaRPr lang="en-GB" sz="918" b="1" dirty="0">
              <a:solidFill>
                <a:srgbClr val="0B4623"/>
              </a:solidFill>
            </a:endParaRPr>
          </a:p>
        </p:txBody>
      </p:sp>
      <p:sp>
        <p:nvSpPr>
          <p:cNvPr id="46" name="Rectangle 8"/>
          <p:cNvSpPr txBox="1">
            <a:spLocks/>
          </p:cNvSpPr>
          <p:nvPr/>
        </p:nvSpPr>
        <p:spPr>
          <a:xfrm>
            <a:off x="7943300" y="322877"/>
            <a:ext cx="1046760" cy="144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800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800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800"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800"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8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918" dirty="0">
                <a:solidFill>
                  <a:srgbClr val="000000"/>
                </a:solidFill>
              </a:rPr>
              <a:t>Recommendations</a:t>
            </a:r>
            <a:r>
              <a:rPr lang="en-GB" sz="918" baseline="30000" dirty="0">
                <a:solidFill>
                  <a:srgbClr val="000000"/>
                </a:solidFill>
              </a:rPr>
              <a:t>1</a:t>
            </a:r>
          </a:p>
        </p:txBody>
      </p:sp>
      <p:sp>
        <p:nvSpPr>
          <p:cNvPr id="47" name="4. Footnote"/>
          <p:cNvSpPr txBox="1">
            <a:spLocks noChangeArrowheads="1"/>
          </p:cNvSpPr>
          <p:nvPr/>
        </p:nvSpPr>
        <p:spPr bwMode="auto">
          <a:xfrm>
            <a:off x="175511" y="6156689"/>
            <a:ext cx="8793289" cy="144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marL="104775" indent="-104775" defTabSz="895350">
              <a:defRPr sz="9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918" dirty="0">
                <a:solidFill>
                  <a:srgbClr val="000000"/>
                </a:solidFill>
              </a:rPr>
              <a:t>1 Recommendations will be included with high level activities, but these will not have 3ft plans </a:t>
            </a:r>
          </a:p>
        </p:txBody>
      </p:sp>
      <p:grpSp>
        <p:nvGrpSpPr>
          <p:cNvPr id="48" name="Group 47"/>
          <p:cNvGrpSpPr/>
          <p:nvPr/>
        </p:nvGrpSpPr>
        <p:grpSpPr>
          <a:xfrm>
            <a:off x="271" y="1303673"/>
            <a:ext cx="9143461" cy="932973"/>
            <a:chOff x="1" y="1221699"/>
            <a:chExt cx="8961438" cy="914400"/>
          </a:xfrm>
        </p:grpSpPr>
        <p:sp>
          <p:nvSpPr>
            <p:cNvPr id="49" name="Rectangle 48"/>
            <p:cNvSpPr>
              <a:spLocks/>
            </p:cNvSpPr>
            <p:nvPr/>
          </p:nvSpPr>
          <p:spPr>
            <a:xfrm>
              <a:off x="1" y="1221699"/>
              <a:ext cx="8961438" cy="914400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2700000" scaled="1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GB" sz="1071" dirty="0">
                <a:solidFill>
                  <a:srgbClr val="000000"/>
                </a:solidFill>
              </a:endParaRPr>
            </a:p>
          </p:txBody>
        </p:sp>
        <p:cxnSp>
          <p:nvCxnSpPr>
            <p:cNvPr id="56" name="Straight Connector 55"/>
            <p:cNvCxnSpPr>
              <a:cxnSpLocks/>
            </p:cNvCxnSpPr>
            <p:nvPr/>
          </p:nvCxnSpPr>
          <p:spPr>
            <a:xfrm>
              <a:off x="1" y="1221699"/>
              <a:ext cx="8961438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8" name="Rectangle 87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175203" y="1076220"/>
            <a:ext cx="2879155" cy="192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224" dirty="0">
                <a:solidFill>
                  <a:srgbClr val="0B4623"/>
                </a:solidFill>
              </a:rPr>
              <a:t>Facilitating transformation </a:t>
            </a:r>
          </a:p>
        </p:txBody>
      </p:sp>
      <p:sp>
        <p:nvSpPr>
          <p:cNvPr id="90" name="Rectangle 87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3132423" y="887802"/>
            <a:ext cx="2879155" cy="384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224" dirty="0">
                <a:solidFill>
                  <a:srgbClr val="0B4623"/>
                </a:solidFill>
              </a:rPr>
              <a:t>Driving growth through promoting ‘value’ and products</a:t>
            </a:r>
          </a:p>
        </p:txBody>
      </p:sp>
      <p:sp>
        <p:nvSpPr>
          <p:cNvPr id="26" name="Rectangle 87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6089643" y="887802"/>
            <a:ext cx="2879155" cy="384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224" dirty="0">
                <a:solidFill>
                  <a:srgbClr val="0B4623"/>
                </a:solidFill>
              </a:rPr>
              <a:t>Creating an enabling environment for the wildlife sector</a:t>
            </a:r>
          </a:p>
        </p:txBody>
      </p:sp>
      <p:sp>
        <p:nvSpPr>
          <p:cNvPr id="54" name="Rectangle 53"/>
          <p:cNvSpPr>
            <a:spLocks/>
          </p:cNvSpPr>
          <p:nvPr/>
        </p:nvSpPr>
        <p:spPr>
          <a:xfrm>
            <a:off x="3118027" y="2855344"/>
            <a:ext cx="2907946" cy="324944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/>
          <a:p>
            <a:pPr defTabSz="913429"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endParaRPr lang="en-GB" sz="1071" b="1" dirty="0">
              <a:solidFill>
                <a:srgbClr val="000000"/>
              </a:solidFill>
            </a:endParaRPr>
          </a:p>
        </p:txBody>
      </p:sp>
      <p:sp>
        <p:nvSpPr>
          <p:cNvPr id="55" name="Rectangle 54"/>
          <p:cNvSpPr>
            <a:spLocks/>
          </p:cNvSpPr>
          <p:nvPr/>
        </p:nvSpPr>
        <p:spPr>
          <a:xfrm>
            <a:off x="6075248" y="5477791"/>
            <a:ext cx="2907946" cy="6269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/>
          <a:p>
            <a:pPr defTabSz="913429"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endParaRPr lang="en-GB" sz="1071" b="1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>
            <a:spLocks/>
          </p:cNvSpPr>
          <p:nvPr/>
        </p:nvSpPr>
        <p:spPr>
          <a:xfrm>
            <a:off x="160807" y="5477791"/>
            <a:ext cx="2907946" cy="62699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77748" tIns="77748" rIns="77748" bIns="77748" numCol="1" anchor="t" anchorCtr="0" compatLnSpc="1">
            <a:prstTxWarp prst="textNoShape">
              <a:avLst/>
            </a:prstTxWarp>
            <a:noAutofit/>
          </a:bodyPr>
          <a:lstStyle/>
          <a:p>
            <a:pPr defTabSz="913429"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endParaRPr lang="en-GB" sz="1071" b="1" dirty="0">
              <a:solidFill>
                <a:srgbClr val="000000"/>
              </a:solidFill>
            </a:endParaRPr>
          </a:p>
        </p:txBody>
      </p:sp>
      <p:sp>
        <p:nvSpPr>
          <p:cNvPr id="20" name="Oval 19"/>
          <p:cNvSpPr>
            <a:spLocks/>
          </p:cNvSpPr>
          <p:nvPr/>
        </p:nvSpPr>
        <p:spPr bwMode="gray">
          <a:xfrm>
            <a:off x="175203" y="1365715"/>
            <a:ext cx="186595" cy="186595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sz="1071" b="1" kern="0" dirty="0">
                <a:solidFill>
                  <a:srgbClr val="FFFFFF"/>
                </a:solidFill>
                <a:ea typeface="宋体" pitchFamily="2" charset="-122"/>
                <a:cs typeface="Arial"/>
              </a:rPr>
              <a:t>1</a:t>
            </a:r>
          </a:p>
        </p:txBody>
      </p:sp>
      <p:sp>
        <p:nvSpPr>
          <p:cNvPr id="70" name="TextBox 69"/>
          <p:cNvSpPr txBox="1">
            <a:spLocks/>
          </p:cNvSpPr>
          <p:nvPr/>
        </p:nvSpPr>
        <p:spPr>
          <a:xfrm>
            <a:off x="410163" y="1365716"/>
            <a:ext cx="2547327" cy="33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Aft>
                <a:spcPct val="0"/>
              </a:spcAft>
              <a:buClr>
                <a:srgbClr val="0B4623"/>
              </a:buClr>
            </a:pPr>
            <a:r>
              <a:rPr lang="en-GB" sz="1071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dentify and prioritise </a:t>
            </a:r>
            <a:r>
              <a:rPr lang="en-GB" sz="1071" b="1" dirty="0">
                <a:solidFill>
                  <a:srgbClr val="0B4623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10m Ha for transformation</a:t>
            </a:r>
            <a:r>
              <a:rPr lang="en-GB" sz="1071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of wildlife economy</a:t>
            </a:r>
          </a:p>
        </p:txBody>
      </p:sp>
      <p:sp>
        <p:nvSpPr>
          <p:cNvPr id="40" name="Oval 39"/>
          <p:cNvSpPr>
            <a:spLocks/>
          </p:cNvSpPr>
          <p:nvPr/>
        </p:nvSpPr>
        <p:spPr bwMode="gray">
          <a:xfrm>
            <a:off x="175203" y="1805009"/>
            <a:ext cx="186595" cy="186595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sz="1071" b="1" kern="0" dirty="0">
                <a:solidFill>
                  <a:srgbClr val="FFFFFF"/>
                </a:solidFill>
                <a:ea typeface="宋体" pitchFamily="2" charset="-122"/>
                <a:cs typeface="Arial"/>
              </a:rPr>
              <a:t>2</a:t>
            </a:r>
          </a:p>
        </p:txBody>
      </p:sp>
      <p:sp>
        <p:nvSpPr>
          <p:cNvPr id="71" name="TextBox 70"/>
          <p:cNvSpPr txBox="1">
            <a:spLocks/>
          </p:cNvSpPr>
          <p:nvPr/>
        </p:nvSpPr>
        <p:spPr>
          <a:xfrm>
            <a:off x="410163" y="1805010"/>
            <a:ext cx="2547327" cy="67254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Aft>
                <a:spcPct val="0"/>
              </a:spcAft>
              <a:buClr>
                <a:srgbClr val="0B4623"/>
              </a:buClr>
            </a:pPr>
            <a:r>
              <a:rPr lang="en-GB" sz="1071" dirty="0">
                <a:solidFill>
                  <a:srgbClr val="000000"/>
                </a:solidFill>
              </a:rPr>
              <a:t>Coordinate existing support mechanisms under a </a:t>
            </a:r>
            <a:r>
              <a:rPr lang="en-GB" sz="1071" b="1" dirty="0">
                <a:solidFill>
                  <a:srgbClr val="0B4623"/>
                </a:solidFill>
              </a:rPr>
              <a:t>‘Wildlife Support Unit’</a:t>
            </a:r>
            <a:r>
              <a:rPr lang="en-GB" sz="1071" b="1" dirty="0">
                <a:solidFill>
                  <a:srgbClr val="000000"/>
                </a:solidFill>
              </a:rPr>
              <a:t> </a:t>
            </a:r>
            <a:r>
              <a:rPr lang="en-GB" sz="1071" dirty="0">
                <a:solidFill>
                  <a:srgbClr val="000000"/>
                </a:solidFill>
              </a:rPr>
              <a:t>to efficiently support new entrants to the industry</a:t>
            </a:r>
          </a:p>
        </p:txBody>
      </p:sp>
      <p:sp>
        <p:nvSpPr>
          <p:cNvPr id="22" name="Oval 21"/>
          <p:cNvSpPr>
            <a:spLocks/>
          </p:cNvSpPr>
          <p:nvPr/>
        </p:nvSpPr>
        <p:spPr bwMode="gray">
          <a:xfrm>
            <a:off x="175203" y="2574035"/>
            <a:ext cx="186595" cy="186595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sz="1071" b="1" kern="0" dirty="0">
                <a:solidFill>
                  <a:srgbClr val="FFFFFF"/>
                </a:solidFill>
                <a:ea typeface="宋体" pitchFamily="2" charset="-122"/>
                <a:cs typeface="Arial"/>
              </a:rPr>
              <a:t>3</a:t>
            </a:r>
          </a:p>
        </p:txBody>
      </p:sp>
      <p:sp>
        <p:nvSpPr>
          <p:cNvPr id="72" name="TextBox 71"/>
          <p:cNvSpPr txBox="1">
            <a:spLocks/>
          </p:cNvSpPr>
          <p:nvPr/>
        </p:nvSpPr>
        <p:spPr>
          <a:xfrm>
            <a:off x="410163" y="2574035"/>
            <a:ext cx="2547327" cy="67254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ZA" sz="1071" dirty="0">
                <a:solidFill>
                  <a:srgbClr val="000000"/>
                </a:solidFill>
              </a:rPr>
              <a:t>Increase capacity and </a:t>
            </a:r>
            <a:r>
              <a:rPr lang="en-ZA" sz="1071" b="1" dirty="0">
                <a:solidFill>
                  <a:srgbClr val="0B4623"/>
                </a:solidFill>
              </a:rPr>
              <a:t>support for at least 300 Community Entities </a:t>
            </a:r>
            <a:r>
              <a:rPr lang="en-ZA" sz="1071" dirty="0">
                <a:solidFill>
                  <a:srgbClr val="000000"/>
                </a:solidFill>
              </a:rPr>
              <a:t>including community property agreements</a:t>
            </a:r>
            <a:r>
              <a:rPr lang="en-US" sz="1071" dirty="0">
                <a:solidFill>
                  <a:srgbClr val="000000"/>
                </a:solidFill>
              </a:rPr>
              <a:t> </a:t>
            </a:r>
            <a:r>
              <a:rPr lang="en-ZA" sz="1071" dirty="0">
                <a:solidFill>
                  <a:srgbClr val="000000"/>
                </a:solidFill>
              </a:rPr>
              <a:t>(CPAs), trusts and traditional authorities</a:t>
            </a:r>
          </a:p>
        </p:txBody>
      </p:sp>
      <p:sp>
        <p:nvSpPr>
          <p:cNvPr id="23" name="Oval 22"/>
          <p:cNvSpPr>
            <a:spLocks/>
          </p:cNvSpPr>
          <p:nvPr/>
        </p:nvSpPr>
        <p:spPr bwMode="gray">
          <a:xfrm>
            <a:off x="175203" y="3343061"/>
            <a:ext cx="186595" cy="169632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sz="1071" b="1" kern="0" dirty="0">
                <a:solidFill>
                  <a:srgbClr val="FFFFFF"/>
                </a:solidFill>
                <a:ea typeface="宋体" pitchFamily="2" charset="-122"/>
                <a:cs typeface="Arial"/>
              </a:rPr>
              <a:t>4</a:t>
            </a:r>
          </a:p>
        </p:txBody>
      </p:sp>
      <p:sp>
        <p:nvSpPr>
          <p:cNvPr id="73" name="TextBox 72"/>
          <p:cNvSpPr txBox="1">
            <a:spLocks/>
          </p:cNvSpPr>
          <p:nvPr/>
        </p:nvSpPr>
        <p:spPr>
          <a:xfrm>
            <a:off x="410163" y="3372047"/>
            <a:ext cx="2547327" cy="84068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Aft>
                <a:spcPct val="0"/>
              </a:spcAft>
              <a:buClr>
                <a:srgbClr val="0B4623"/>
              </a:buClr>
            </a:pPr>
            <a:r>
              <a:rPr lang="en-GB" sz="1071" dirty="0">
                <a:solidFill>
                  <a:srgbClr val="000000"/>
                </a:solidFill>
              </a:rPr>
              <a:t>Create </a:t>
            </a:r>
            <a:r>
              <a:rPr lang="en-GB" sz="1071" b="1" dirty="0">
                <a:solidFill>
                  <a:srgbClr val="0B4623"/>
                </a:solidFill>
              </a:rPr>
              <a:t>supply-chain linkages and capacitate 4,000 </a:t>
            </a:r>
            <a:r>
              <a:rPr lang="en-GB" sz="1071" b="1" dirty="0" err="1">
                <a:solidFill>
                  <a:srgbClr val="0B4623"/>
                </a:solidFill>
              </a:rPr>
              <a:t>SMMEs</a:t>
            </a:r>
            <a:r>
              <a:rPr lang="en-GB" sz="1071" b="1" dirty="0">
                <a:solidFill>
                  <a:srgbClr val="0B4623"/>
                </a:solidFill>
              </a:rPr>
              <a:t> </a:t>
            </a:r>
            <a:r>
              <a:rPr lang="en-GB" sz="1071" dirty="0">
                <a:solidFill>
                  <a:srgbClr val="000000"/>
                </a:solidFill>
              </a:rPr>
              <a:t>(new and existing) to locally capture the value of ancillary goods and services to the wildlife economy</a:t>
            </a:r>
          </a:p>
        </p:txBody>
      </p:sp>
      <p:sp>
        <p:nvSpPr>
          <p:cNvPr id="27" name="Oval 26"/>
          <p:cNvSpPr>
            <a:spLocks/>
          </p:cNvSpPr>
          <p:nvPr/>
        </p:nvSpPr>
        <p:spPr bwMode="gray">
          <a:xfrm>
            <a:off x="175203" y="4305937"/>
            <a:ext cx="186595" cy="169632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sz="1071" b="1" kern="0" dirty="0">
                <a:solidFill>
                  <a:srgbClr val="FFFFFF"/>
                </a:solidFill>
                <a:ea typeface="宋体" pitchFamily="2" charset="-122"/>
                <a:cs typeface="Arial"/>
              </a:rPr>
              <a:t>5</a:t>
            </a:r>
          </a:p>
        </p:txBody>
      </p:sp>
      <p:sp>
        <p:nvSpPr>
          <p:cNvPr id="74" name="TextBox 73"/>
          <p:cNvSpPr txBox="1">
            <a:spLocks/>
          </p:cNvSpPr>
          <p:nvPr/>
        </p:nvSpPr>
        <p:spPr>
          <a:xfrm>
            <a:off x="410163" y="4319936"/>
            <a:ext cx="2547327" cy="5044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Aft>
                <a:spcPct val="0"/>
              </a:spcAft>
              <a:buClr>
                <a:srgbClr val="0B4623"/>
              </a:buClr>
            </a:pPr>
            <a:r>
              <a:rPr lang="en-GB" sz="1071" dirty="0">
                <a:solidFill>
                  <a:srgbClr val="000000"/>
                </a:solidFill>
              </a:rPr>
              <a:t>Operationalise the </a:t>
            </a:r>
            <a:r>
              <a:rPr lang="en-GB" sz="1071" dirty="0" err="1">
                <a:solidFill>
                  <a:srgbClr val="000000"/>
                </a:solidFill>
              </a:rPr>
              <a:t>uMfolozi</a:t>
            </a:r>
            <a:r>
              <a:rPr lang="en-GB" sz="1071" dirty="0">
                <a:solidFill>
                  <a:srgbClr val="000000"/>
                </a:solidFill>
              </a:rPr>
              <a:t> </a:t>
            </a:r>
            <a:r>
              <a:rPr lang="en-GB" sz="1071" b="1" dirty="0">
                <a:solidFill>
                  <a:srgbClr val="0B4623"/>
                </a:solidFill>
              </a:rPr>
              <a:t>Biodiversity</a:t>
            </a:r>
            <a:r>
              <a:rPr lang="en-GB" sz="1071" b="1" dirty="0">
                <a:solidFill>
                  <a:srgbClr val="000000"/>
                </a:solidFill>
              </a:rPr>
              <a:t> </a:t>
            </a:r>
            <a:r>
              <a:rPr lang="en-GB" sz="1071" b="1" dirty="0">
                <a:solidFill>
                  <a:srgbClr val="0B4623"/>
                </a:solidFill>
              </a:rPr>
              <a:t>Economy</a:t>
            </a:r>
            <a:r>
              <a:rPr lang="en-GB" sz="1071" b="1" dirty="0">
                <a:solidFill>
                  <a:srgbClr val="000000"/>
                </a:solidFill>
              </a:rPr>
              <a:t> </a:t>
            </a:r>
            <a:r>
              <a:rPr lang="en-GB" sz="1071" b="1" dirty="0">
                <a:solidFill>
                  <a:srgbClr val="0B4623"/>
                </a:solidFill>
              </a:rPr>
              <a:t>Node</a:t>
            </a:r>
            <a:r>
              <a:rPr lang="en-GB" sz="1071" dirty="0">
                <a:solidFill>
                  <a:srgbClr val="000000"/>
                </a:solidFill>
              </a:rPr>
              <a:t> as a pilot for the wildlife node concept</a:t>
            </a:r>
          </a:p>
        </p:txBody>
      </p:sp>
      <p:sp>
        <p:nvSpPr>
          <p:cNvPr id="30" name="Oval 29"/>
          <p:cNvSpPr>
            <a:spLocks/>
          </p:cNvSpPr>
          <p:nvPr/>
        </p:nvSpPr>
        <p:spPr bwMode="gray">
          <a:xfrm>
            <a:off x="175203" y="4924096"/>
            <a:ext cx="186595" cy="186595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sz="1071" b="1" kern="0" dirty="0">
                <a:solidFill>
                  <a:srgbClr val="FFFFFF"/>
                </a:solidFill>
                <a:ea typeface="宋体" pitchFamily="2" charset="-122"/>
                <a:cs typeface="Arial"/>
              </a:rPr>
              <a:t>6</a:t>
            </a:r>
          </a:p>
        </p:txBody>
      </p:sp>
      <p:sp>
        <p:nvSpPr>
          <p:cNvPr id="75" name="TextBox 74"/>
          <p:cNvSpPr txBox="1">
            <a:spLocks/>
          </p:cNvSpPr>
          <p:nvPr/>
        </p:nvSpPr>
        <p:spPr>
          <a:xfrm>
            <a:off x="410163" y="4924097"/>
            <a:ext cx="2547327" cy="5044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Aft>
                <a:spcPct val="0"/>
              </a:spcAft>
              <a:buClr>
                <a:srgbClr val="0B4623"/>
              </a:buClr>
            </a:pPr>
            <a:r>
              <a:rPr lang="en-GB" sz="1071" b="1" dirty="0">
                <a:solidFill>
                  <a:srgbClr val="0B4623"/>
                </a:solidFill>
              </a:rPr>
              <a:t>Empower 4,000 emerging entrepreneurs and farmers </a:t>
            </a:r>
            <a:r>
              <a:rPr lang="en-GB" sz="1071" dirty="0">
                <a:solidFill>
                  <a:srgbClr val="000000"/>
                </a:solidFill>
              </a:rPr>
              <a:t>through</a:t>
            </a:r>
            <a:r>
              <a:rPr lang="en-GB" sz="1071" dirty="0">
                <a:solidFill>
                  <a:srgbClr val="0B4623"/>
                </a:solidFill>
              </a:rPr>
              <a:t> </a:t>
            </a:r>
            <a:r>
              <a:rPr lang="en-GB" sz="1071" b="1" dirty="0">
                <a:solidFill>
                  <a:srgbClr val="0B4623"/>
                </a:solidFill>
              </a:rPr>
              <a:t>focused capacity</a:t>
            </a:r>
            <a:r>
              <a:rPr lang="en-GB" sz="1071" b="1" dirty="0">
                <a:solidFill>
                  <a:srgbClr val="000000"/>
                </a:solidFill>
              </a:rPr>
              <a:t>-</a:t>
            </a:r>
            <a:r>
              <a:rPr lang="en-GB" sz="1071" b="1" dirty="0">
                <a:solidFill>
                  <a:srgbClr val="0B4623"/>
                </a:solidFill>
              </a:rPr>
              <a:t>building </a:t>
            </a:r>
            <a:r>
              <a:rPr lang="en-GB" sz="1071" dirty="0">
                <a:solidFill>
                  <a:srgbClr val="000000"/>
                </a:solidFill>
              </a:rPr>
              <a:t>programmes</a:t>
            </a:r>
          </a:p>
        </p:txBody>
      </p:sp>
      <p:sp>
        <p:nvSpPr>
          <p:cNvPr id="29" name="Oval 28"/>
          <p:cNvSpPr>
            <a:spLocks/>
          </p:cNvSpPr>
          <p:nvPr/>
        </p:nvSpPr>
        <p:spPr bwMode="gray">
          <a:xfrm>
            <a:off x="175203" y="5528255"/>
            <a:ext cx="186595" cy="186595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sz="1071" b="1" kern="0" dirty="0" err="1">
                <a:solidFill>
                  <a:srgbClr val="0B4623"/>
                </a:solidFill>
                <a:ea typeface="宋体" pitchFamily="2" charset="-122"/>
                <a:cs typeface="Arial"/>
              </a:rPr>
              <a:t>i</a:t>
            </a:r>
            <a:endParaRPr lang="en-GB" sz="1071" b="1" kern="0" dirty="0">
              <a:solidFill>
                <a:srgbClr val="0B4623"/>
              </a:solidFill>
              <a:ea typeface="宋体" pitchFamily="2" charset="-122"/>
              <a:cs typeface="Arial"/>
            </a:endParaRPr>
          </a:p>
        </p:txBody>
      </p:sp>
      <p:sp>
        <p:nvSpPr>
          <p:cNvPr id="76" name="TextBox 75"/>
          <p:cNvSpPr txBox="1">
            <a:spLocks/>
          </p:cNvSpPr>
          <p:nvPr/>
        </p:nvSpPr>
        <p:spPr>
          <a:xfrm>
            <a:off x="410163" y="5551197"/>
            <a:ext cx="2644194" cy="5044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Aft>
                <a:spcPct val="0"/>
              </a:spcAft>
              <a:buClr>
                <a:srgbClr val="0B4623"/>
              </a:buClr>
            </a:pPr>
            <a:r>
              <a:rPr lang="en-GB" sz="1071" dirty="0">
                <a:solidFill>
                  <a:srgbClr val="000000"/>
                </a:solidFill>
              </a:rPr>
              <a:t>Develop a toolkit of effective wildlife business, stewardship and partnership models</a:t>
            </a:r>
          </a:p>
        </p:txBody>
      </p:sp>
      <p:sp>
        <p:nvSpPr>
          <p:cNvPr id="37" name="Oval 36"/>
          <p:cNvSpPr>
            <a:spLocks/>
          </p:cNvSpPr>
          <p:nvPr/>
        </p:nvSpPr>
        <p:spPr bwMode="gray">
          <a:xfrm>
            <a:off x="3132423" y="2901525"/>
            <a:ext cx="186595" cy="186595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sz="1071" b="1" kern="0" dirty="0">
                <a:solidFill>
                  <a:srgbClr val="0B4623"/>
                </a:solidFill>
                <a:ea typeface="宋体" pitchFamily="2" charset="-122"/>
                <a:cs typeface="Arial"/>
              </a:rPr>
              <a:t>ii</a:t>
            </a:r>
          </a:p>
        </p:txBody>
      </p:sp>
      <p:sp>
        <p:nvSpPr>
          <p:cNvPr id="77" name="TextBox 76"/>
          <p:cNvSpPr txBox="1">
            <a:spLocks/>
          </p:cNvSpPr>
          <p:nvPr/>
        </p:nvSpPr>
        <p:spPr>
          <a:xfrm>
            <a:off x="3367384" y="2922283"/>
            <a:ext cx="2644194" cy="5044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ts val="204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071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romote sustainable use as a foundation for conservation and growth of biodiversity economy</a:t>
            </a:r>
          </a:p>
        </p:txBody>
      </p:sp>
      <p:sp>
        <p:nvSpPr>
          <p:cNvPr id="38" name="Oval 37"/>
          <p:cNvSpPr>
            <a:spLocks/>
          </p:cNvSpPr>
          <p:nvPr/>
        </p:nvSpPr>
        <p:spPr bwMode="gray">
          <a:xfrm>
            <a:off x="3132423" y="3607755"/>
            <a:ext cx="186595" cy="186595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sz="1071" b="1" kern="0" dirty="0">
                <a:solidFill>
                  <a:srgbClr val="0B4623"/>
                </a:solidFill>
                <a:ea typeface="宋体" pitchFamily="2" charset="-122"/>
                <a:cs typeface="Arial"/>
              </a:rPr>
              <a:t>iii</a:t>
            </a:r>
          </a:p>
        </p:txBody>
      </p:sp>
      <p:sp>
        <p:nvSpPr>
          <p:cNvPr id="78" name="TextBox 77"/>
          <p:cNvSpPr txBox="1">
            <a:spLocks/>
          </p:cNvSpPr>
          <p:nvPr/>
        </p:nvSpPr>
        <p:spPr>
          <a:xfrm>
            <a:off x="3367384" y="3614641"/>
            <a:ext cx="2644194" cy="5044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ts val="204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071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evelop a strategic marketing campaign and value proposition for mixed game and livestock systems</a:t>
            </a:r>
          </a:p>
        </p:txBody>
      </p:sp>
      <p:sp>
        <p:nvSpPr>
          <p:cNvPr id="39" name="Oval 38"/>
          <p:cNvSpPr>
            <a:spLocks/>
          </p:cNvSpPr>
          <p:nvPr/>
        </p:nvSpPr>
        <p:spPr bwMode="gray">
          <a:xfrm>
            <a:off x="3132423" y="4300113"/>
            <a:ext cx="186595" cy="186595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sz="1071" b="1" kern="0" dirty="0">
                <a:solidFill>
                  <a:srgbClr val="0B4623"/>
                </a:solidFill>
                <a:ea typeface="宋体" pitchFamily="2" charset="-122"/>
                <a:cs typeface="Arial"/>
              </a:rPr>
              <a:t>iv</a:t>
            </a:r>
          </a:p>
        </p:txBody>
      </p:sp>
      <p:sp>
        <p:nvSpPr>
          <p:cNvPr id="79" name="TextBox 78"/>
          <p:cNvSpPr txBox="1">
            <a:spLocks/>
          </p:cNvSpPr>
          <p:nvPr/>
        </p:nvSpPr>
        <p:spPr>
          <a:xfrm>
            <a:off x="3367384" y="4323277"/>
            <a:ext cx="2644194" cy="672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ts val="204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071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Establish mechanisms to allow for holistic and integrated management of animal health and conflict issues at the livestock-wildlife interface</a:t>
            </a:r>
          </a:p>
        </p:txBody>
      </p:sp>
      <p:sp>
        <p:nvSpPr>
          <p:cNvPr id="58" name="Oval 57"/>
          <p:cNvSpPr>
            <a:spLocks/>
          </p:cNvSpPr>
          <p:nvPr/>
        </p:nvSpPr>
        <p:spPr bwMode="gray">
          <a:xfrm>
            <a:off x="3132423" y="5173614"/>
            <a:ext cx="186595" cy="186595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sz="1071" b="1" kern="0" dirty="0">
                <a:solidFill>
                  <a:srgbClr val="0B4623"/>
                </a:solidFill>
                <a:ea typeface="宋体" pitchFamily="2" charset="-122"/>
                <a:cs typeface="Arial"/>
              </a:rPr>
              <a:t>v</a:t>
            </a:r>
          </a:p>
        </p:txBody>
      </p:sp>
      <p:sp>
        <p:nvSpPr>
          <p:cNvPr id="80" name="TextBox 79"/>
          <p:cNvSpPr txBox="1">
            <a:spLocks/>
          </p:cNvSpPr>
          <p:nvPr/>
        </p:nvSpPr>
        <p:spPr>
          <a:xfrm>
            <a:off x="3367384" y="5190876"/>
            <a:ext cx="2644194" cy="840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ts val="204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071" dirty="0">
                <a:solidFill>
                  <a:srgbClr val="000000"/>
                </a:solidFill>
              </a:rPr>
              <a:t>Fast track the development of norms and standards to actively manage and mitigate critical wildlife economy risks such as intensive and selective breeding, animal diseases and invasive species</a:t>
            </a:r>
            <a:endParaRPr lang="en-GB" sz="1071" dirty="0">
              <a:solidFill>
                <a:srgbClr val="000000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1" name="Oval 30"/>
          <p:cNvSpPr>
            <a:spLocks/>
          </p:cNvSpPr>
          <p:nvPr/>
        </p:nvSpPr>
        <p:spPr bwMode="gray">
          <a:xfrm>
            <a:off x="3132423" y="1365714"/>
            <a:ext cx="186595" cy="186595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sz="1071" b="1" kern="0" dirty="0">
                <a:solidFill>
                  <a:srgbClr val="FFFFFF"/>
                </a:solidFill>
                <a:ea typeface="宋体" pitchFamily="2" charset="-122"/>
                <a:cs typeface="Arial"/>
              </a:rPr>
              <a:t>7</a:t>
            </a:r>
          </a:p>
        </p:txBody>
      </p:sp>
      <p:sp>
        <p:nvSpPr>
          <p:cNvPr id="81" name="TextBox 80"/>
          <p:cNvSpPr txBox="1">
            <a:spLocks/>
          </p:cNvSpPr>
          <p:nvPr/>
        </p:nvSpPr>
        <p:spPr>
          <a:xfrm>
            <a:off x="3367384" y="1365715"/>
            <a:ext cx="2644194" cy="50440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ts val="204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071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Formalise </a:t>
            </a:r>
            <a:r>
              <a:rPr lang="en-GB" sz="1071" b="1" dirty="0">
                <a:solidFill>
                  <a:srgbClr val="0B4623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A game meat market </a:t>
            </a:r>
            <a:r>
              <a:rPr lang="en-GB" sz="1071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and create a network of game meat processing facilities</a:t>
            </a:r>
            <a:endParaRPr lang="en-GB" sz="1071" b="1" dirty="0">
              <a:solidFill>
                <a:srgbClr val="0B4623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5" name="Oval 34"/>
          <p:cNvSpPr>
            <a:spLocks/>
          </p:cNvSpPr>
          <p:nvPr/>
        </p:nvSpPr>
        <p:spPr bwMode="gray">
          <a:xfrm>
            <a:off x="3132423" y="2051187"/>
            <a:ext cx="186595" cy="186595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sz="1071" b="1" kern="0" dirty="0">
                <a:solidFill>
                  <a:srgbClr val="FFFFFF"/>
                </a:solidFill>
                <a:ea typeface="宋体" pitchFamily="2" charset="-122"/>
                <a:cs typeface="Arial"/>
              </a:rPr>
              <a:t>8</a:t>
            </a:r>
          </a:p>
        </p:txBody>
      </p:sp>
      <p:sp>
        <p:nvSpPr>
          <p:cNvPr id="82" name="TextBox 81"/>
          <p:cNvSpPr txBox="1">
            <a:spLocks/>
          </p:cNvSpPr>
          <p:nvPr/>
        </p:nvSpPr>
        <p:spPr>
          <a:xfrm>
            <a:off x="3367384" y="2051188"/>
            <a:ext cx="2644194" cy="67254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ts val="204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071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Implement a campaign that </a:t>
            </a:r>
            <a:r>
              <a:rPr lang="en-GB" sz="1071" dirty="0">
                <a:solidFill>
                  <a:srgbClr val="0B4623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drives </a:t>
            </a:r>
            <a:r>
              <a:rPr lang="en-GB" sz="1071" b="1" dirty="0">
                <a:solidFill>
                  <a:srgbClr val="0B4623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participative transformation and consumer growth </a:t>
            </a:r>
            <a:r>
              <a:rPr lang="en-GB" sz="1071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for wildlife-related activities and products</a:t>
            </a:r>
            <a:endParaRPr lang="en-GB" sz="1071" b="1" dirty="0">
              <a:solidFill>
                <a:srgbClr val="0B4623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33" name="Oval 32"/>
          <p:cNvSpPr>
            <a:spLocks/>
          </p:cNvSpPr>
          <p:nvPr/>
        </p:nvSpPr>
        <p:spPr bwMode="gray">
          <a:xfrm>
            <a:off x="6089643" y="1365714"/>
            <a:ext cx="186595" cy="186595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sz="1071" b="1" kern="0" dirty="0">
                <a:solidFill>
                  <a:srgbClr val="FFFFFF"/>
                </a:solidFill>
                <a:ea typeface="宋体" pitchFamily="2" charset="-122"/>
                <a:cs typeface="Arial"/>
              </a:rPr>
              <a:t>9</a:t>
            </a:r>
          </a:p>
        </p:txBody>
      </p:sp>
      <p:sp>
        <p:nvSpPr>
          <p:cNvPr id="83" name="TextBox 82"/>
          <p:cNvSpPr txBox="1">
            <a:spLocks/>
          </p:cNvSpPr>
          <p:nvPr/>
        </p:nvSpPr>
        <p:spPr>
          <a:xfrm>
            <a:off x="6324604" y="1365715"/>
            <a:ext cx="2644194" cy="5044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ts val="204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071" dirty="0">
                <a:solidFill>
                  <a:srgbClr val="000000"/>
                </a:solidFill>
              </a:rPr>
              <a:t>Create an </a:t>
            </a:r>
            <a:r>
              <a:rPr lang="en-GB" sz="1071" b="1" dirty="0">
                <a:solidFill>
                  <a:srgbClr val="0B4623"/>
                </a:solidFill>
              </a:rPr>
              <a:t>enabling legislative environment </a:t>
            </a:r>
            <a:r>
              <a:rPr lang="en-GB" sz="1071" dirty="0">
                <a:solidFill>
                  <a:srgbClr val="000000"/>
                </a:solidFill>
              </a:rPr>
              <a:t>through the amendment of </a:t>
            </a:r>
            <a:r>
              <a:rPr lang="en-GB" sz="1071" dirty="0" err="1">
                <a:solidFill>
                  <a:srgbClr val="000000"/>
                </a:solidFill>
              </a:rPr>
              <a:t>NEMBA</a:t>
            </a:r>
            <a:endParaRPr lang="en-GB" sz="1071" dirty="0">
              <a:solidFill>
                <a:srgbClr val="000000"/>
              </a:solidFill>
            </a:endParaRPr>
          </a:p>
        </p:txBody>
      </p:sp>
      <p:sp>
        <p:nvSpPr>
          <p:cNvPr id="44" name="Oval 43"/>
          <p:cNvSpPr>
            <a:spLocks/>
          </p:cNvSpPr>
          <p:nvPr/>
        </p:nvSpPr>
        <p:spPr bwMode="gray">
          <a:xfrm>
            <a:off x="6089643" y="1983915"/>
            <a:ext cx="186595" cy="186595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sz="1071" b="1" kern="0" dirty="0">
                <a:solidFill>
                  <a:srgbClr val="FFFFFF"/>
                </a:solidFill>
                <a:ea typeface="宋体" pitchFamily="2" charset="-122"/>
                <a:cs typeface="Arial"/>
              </a:rPr>
              <a:t>10</a:t>
            </a:r>
          </a:p>
        </p:txBody>
      </p:sp>
      <p:sp>
        <p:nvSpPr>
          <p:cNvPr id="84" name="TextBox 83"/>
          <p:cNvSpPr txBox="1">
            <a:spLocks/>
          </p:cNvSpPr>
          <p:nvPr/>
        </p:nvSpPr>
        <p:spPr>
          <a:xfrm>
            <a:off x="6324604" y="1983916"/>
            <a:ext cx="2644194" cy="33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ts val="204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071" dirty="0">
                <a:solidFill>
                  <a:srgbClr val="000000"/>
                </a:solidFill>
              </a:rPr>
              <a:t>Develop and implement </a:t>
            </a:r>
            <a:r>
              <a:rPr lang="en-GB" sz="1071" b="1" dirty="0">
                <a:solidFill>
                  <a:srgbClr val="0B4623"/>
                </a:solidFill>
              </a:rPr>
              <a:t>wildlife industry standards</a:t>
            </a:r>
            <a:endParaRPr lang="en-GB" sz="1071" dirty="0">
              <a:solidFill>
                <a:srgbClr val="000000"/>
              </a:solidFill>
            </a:endParaRPr>
          </a:p>
        </p:txBody>
      </p:sp>
      <p:sp>
        <p:nvSpPr>
          <p:cNvPr id="57" name="Oval 56"/>
          <p:cNvSpPr>
            <a:spLocks/>
          </p:cNvSpPr>
          <p:nvPr/>
        </p:nvSpPr>
        <p:spPr bwMode="gray">
          <a:xfrm>
            <a:off x="6089643" y="2437251"/>
            <a:ext cx="186595" cy="186595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sz="1071" b="1" kern="0" dirty="0">
                <a:solidFill>
                  <a:srgbClr val="FFFFFF"/>
                </a:solidFill>
                <a:ea typeface="宋体" pitchFamily="2" charset="-122"/>
                <a:cs typeface="Arial"/>
              </a:rPr>
              <a:t>11</a:t>
            </a:r>
          </a:p>
        </p:txBody>
      </p:sp>
      <p:sp>
        <p:nvSpPr>
          <p:cNvPr id="85" name="TextBox 84"/>
          <p:cNvSpPr txBox="1">
            <a:spLocks/>
          </p:cNvSpPr>
          <p:nvPr/>
        </p:nvSpPr>
        <p:spPr>
          <a:xfrm>
            <a:off x="6324604" y="2437252"/>
            <a:ext cx="2644194" cy="33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ts val="204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071" dirty="0">
                <a:solidFill>
                  <a:srgbClr val="000000"/>
                </a:solidFill>
              </a:rPr>
              <a:t>Implement a national wildlife economy </a:t>
            </a:r>
            <a:r>
              <a:rPr lang="en-GB" sz="1071" b="1" dirty="0">
                <a:solidFill>
                  <a:srgbClr val="0B4623"/>
                </a:solidFill>
              </a:rPr>
              <a:t>branding scheme</a:t>
            </a:r>
          </a:p>
        </p:txBody>
      </p:sp>
      <p:sp>
        <p:nvSpPr>
          <p:cNvPr id="32" name="Oval 31"/>
          <p:cNvSpPr>
            <a:spLocks/>
          </p:cNvSpPr>
          <p:nvPr/>
        </p:nvSpPr>
        <p:spPr bwMode="gray">
          <a:xfrm>
            <a:off x="6089643" y="2890586"/>
            <a:ext cx="186595" cy="186595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sz="1071" b="1" kern="0" dirty="0">
                <a:solidFill>
                  <a:srgbClr val="FFFFFF"/>
                </a:solidFill>
                <a:ea typeface="宋体" pitchFamily="2" charset="-122"/>
                <a:cs typeface="Arial"/>
              </a:rPr>
              <a:t>12</a:t>
            </a:r>
          </a:p>
        </p:txBody>
      </p:sp>
      <p:sp>
        <p:nvSpPr>
          <p:cNvPr id="86" name="TextBox 85"/>
          <p:cNvSpPr txBox="1">
            <a:spLocks/>
          </p:cNvSpPr>
          <p:nvPr/>
        </p:nvSpPr>
        <p:spPr>
          <a:xfrm>
            <a:off x="6324604" y="2890587"/>
            <a:ext cx="2644194" cy="5044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ts val="204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071" dirty="0">
                <a:solidFill>
                  <a:srgbClr val="000000"/>
                </a:solidFill>
              </a:rPr>
              <a:t>Develop and implement an </a:t>
            </a:r>
            <a:r>
              <a:rPr lang="en-GB" sz="1071" b="1" dirty="0">
                <a:solidFill>
                  <a:srgbClr val="0B4623"/>
                </a:solidFill>
              </a:rPr>
              <a:t>electronic wildlife permitting system</a:t>
            </a:r>
            <a:r>
              <a:rPr lang="en-GB" sz="1071" dirty="0">
                <a:solidFill>
                  <a:srgbClr val="000000"/>
                </a:solidFill>
              </a:rPr>
              <a:t> and centralised database</a:t>
            </a:r>
          </a:p>
        </p:txBody>
      </p:sp>
      <p:sp>
        <p:nvSpPr>
          <p:cNvPr id="41" name="Oval 40"/>
          <p:cNvSpPr>
            <a:spLocks/>
          </p:cNvSpPr>
          <p:nvPr/>
        </p:nvSpPr>
        <p:spPr bwMode="gray">
          <a:xfrm>
            <a:off x="6089643" y="3508787"/>
            <a:ext cx="186595" cy="186595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sz="1071" b="1" kern="0" dirty="0">
                <a:solidFill>
                  <a:srgbClr val="FFFFFF"/>
                </a:solidFill>
                <a:ea typeface="宋体" pitchFamily="2" charset="-122"/>
                <a:cs typeface="Arial"/>
              </a:rPr>
              <a:t>13</a:t>
            </a:r>
          </a:p>
        </p:txBody>
      </p:sp>
      <p:sp>
        <p:nvSpPr>
          <p:cNvPr id="87" name="TextBox 86"/>
          <p:cNvSpPr txBox="1">
            <a:spLocks/>
          </p:cNvSpPr>
          <p:nvPr/>
        </p:nvSpPr>
        <p:spPr>
          <a:xfrm>
            <a:off x="6324604" y="3508787"/>
            <a:ext cx="2644194" cy="8406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ts val="204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071" b="1" dirty="0">
                <a:solidFill>
                  <a:srgbClr val="0B4623"/>
                </a:solidFill>
              </a:rPr>
              <a:t>“Re-position” the Wildlife Forum</a:t>
            </a:r>
            <a:r>
              <a:rPr lang="en-GB" sz="1071" dirty="0">
                <a:solidFill>
                  <a:srgbClr val="0B4623"/>
                </a:solidFill>
              </a:rPr>
              <a:t> </a:t>
            </a:r>
            <a:r>
              <a:rPr lang="en-GB" sz="1071" dirty="0">
                <a:solidFill>
                  <a:srgbClr val="000000"/>
                </a:solidFill>
              </a:rPr>
              <a:t>as an efficient interdepartmental/ industry collaboration and co-ordination platform to promote the benefits of the Wildlife Economy</a:t>
            </a:r>
          </a:p>
        </p:txBody>
      </p:sp>
      <p:sp>
        <p:nvSpPr>
          <p:cNvPr id="42" name="Oval 41"/>
          <p:cNvSpPr>
            <a:spLocks/>
          </p:cNvSpPr>
          <p:nvPr/>
        </p:nvSpPr>
        <p:spPr bwMode="gray">
          <a:xfrm>
            <a:off x="6089643" y="4456717"/>
            <a:ext cx="186595" cy="186595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sz="1071" b="1" kern="0" dirty="0">
                <a:solidFill>
                  <a:srgbClr val="FFFFFF"/>
                </a:solidFill>
                <a:ea typeface="宋体" pitchFamily="2" charset="-122"/>
                <a:cs typeface="Arial"/>
              </a:rPr>
              <a:t>14</a:t>
            </a:r>
          </a:p>
        </p:txBody>
      </p:sp>
      <p:sp>
        <p:nvSpPr>
          <p:cNvPr id="89" name="TextBox 88"/>
          <p:cNvSpPr txBox="1">
            <a:spLocks/>
          </p:cNvSpPr>
          <p:nvPr/>
        </p:nvSpPr>
        <p:spPr>
          <a:xfrm>
            <a:off x="6324604" y="4456717"/>
            <a:ext cx="2644194" cy="5044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ts val="204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071" dirty="0">
                <a:solidFill>
                  <a:srgbClr val="000000"/>
                </a:solidFill>
              </a:rPr>
              <a:t>Develop an integrated k</a:t>
            </a:r>
            <a:r>
              <a:rPr lang="en-GB" sz="1071" b="1" dirty="0">
                <a:solidFill>
                  <a:srgbClr val="0B4623"/>
                </a:solidFill>
              </a:rPr>
              <a:t>nowledge/</a:t>
            </a:r>
            <a:br>
              <a:rPr lang="en-GB" sz="1071" b="1" dirty="0">
                <a:solidFill>
                  <a:srgbClr val="0B4623"/>
                </a:solidFill>
              </a:rPr>
            </a:br>
            <a:r>
              <a:rPr lang="en-GB" sz="1071" b="1" dirty="0">
                <a:solidFill>
                  <a:srgbClr val="0B4623"/>
                </a:solidFill>
              </a:rPr>
              <a:t>evidence generating and sharing platform</a:t>
            </a:r>
            <a:r>
              <a:rPr lang="en-GB" sz="1071" dirty="0">
                <a:solidFill>
                  <a:srgbClr val="000000"/>
                </a:solidFill>
              </a:rPr>
              <a:t> to support the wildlife economy</a:t>
            </a:r>
          </a:p>
        </p:txBody>
      </p:sp>
      <p:sp>
        <p:nvSpPr>
          <p:cNvPr id="50" name="Oval 49"/>
          <p:cNvSpPr>
            <a:spLocks/>
          </p:cNvSpPr>
          <p:nvPr/>
        </p:nvSpPr>
        <p:spPr bwMode="gray">
          <a:xfrm>
            <a:off x="6089643" y="5074918"/>
            <a:ext cx="186595" cy="186595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sz="1071" b="1" kern="0" dirty="0">
                <a:solidFill>
                  <a:srgbClr val="FFFFFF"/>
                </a:solidFill>
                <a:ea typeface="宋体" pitchFamily="2" charset="-122"/>
                <a:cs typeface="Arial"/>
              </a:rPr>
              <a:t>15</a:t>
            </a:r>
          </a:p>
        </p:txBody>
      </p:sp>
      <p:sp>
        <p:nvSpPr>
          <p:cNvPr id="91" name="TextBox 90"/>
          <p:cNvSpPr txBox="1">
            <a:spLocks/>
          </p:cNvSpPr>
          <p:nvPr/>
        </p:nvSpPr>
        <p:spPr>
          <a:xfrm>
            <a:off x="6324604" y="5074919"/>
            <a:ext cx="2644194" cy="336271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ts val="204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071" b="1" dirty="0">
                <a:solidFill>
                  <a:srgbClr val="0B4623"/>
                </a:solidFill>
              </a:rPr>
              <a:t>Leverage protected areas to </a:t>
            </a:r>
            <a:r>
              <a:rPr lang="en-GB" sz="1071" dirty="0">
                <a:solidFill>
                  <a:srgbClr val="000000"/>
                </a:solidFill>
              </a:rPr>
              <a:t>unlock economic potential</a:t>
            </a:r>
          </a:p>
        </p:txBody>
      </p:sp>
      <p:sp>
        <p:nvSpPr>
          <p:cNvPr id="43" name="Oval 42"/>
          <p:cNvSpPr>
            <a:spLocks/>
          </p:cNvSpPr>
          <p:nvPr/>
        </p:nvSpPr>
        <p:spPr bwMode="gray">
          <a:xfrm>
            <a:off x="6089643" y="5528255"/>
            <a:ext cx="186595" cy="186595"/>
          </a:xfrm>
          <a:prstGeom prst="ellips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defRPr/>
            </a:pPr>
            <a:r>
              <a:rPr lang="en-GB" sz="1071" b="1" kern="0" dirty="0">
                <a:solidFill>
                  <a:srgbClr val="0B4623"/>
                </a:solidFill>
                <a:ea typeface="宋体" pitchFamily="2" charset="-122"/>
                <a:cs typeface="Arial"/>
              </a:rPr>
              <a:t>vi</a:t>
            </a:r>
          </a:p>
        </p:txBody>
      </p:sp>
      <p:sp>
        <p:nvSpPr>
          <p:cNvPr id="92" name="TextBox 91"/>
          <p:cNvSpPr txBox="1">
            <a:spLocks/>
          </p:cNvSpPr>
          <p:nvPr/>
        </p:nvSpPr>
        <p:spPr>
          <a:xfrm>
            <a:off x="6324604" y="5551197"/>
            <a:ext cx="2644194" cy="5044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ts val="204"/>
              </a:spcBef>
              <a:spcAft>
                <a:spcPct val="0"/>
              </a:spcAft>
              <a:buClr>
                <a:srgbClr val="0B4623"/>
              </a:buClr>
            </a:pPr>
            <a:r>
              <a:rPr lang="en-GB" sz="1071" dirty="0">
                <a:solidFill>
                  <a:srgbClr val="000000"/>
                </a:solidFill>
              </a:rPr>
              <a:t>Develop, upskill and resource extension services to facilitate the growth of the wildlife economy</a:t>
            </a:r>
          </a:p>
        </p:txBody>
      </p:sp>
      <p:sp>
        <p:nvSpPr>
          <p:cNvPr id="59" name="1. On-page tracker"/>
          <p:cNvSpPr>
            <a:spLocks noChangeArrowheads="1"/>
          </p:cNvSpPr>
          <p:nvPr/>
        </p:nvSpPr>
        <p:spPr bwMode="auto">
          <a:xfrm>
            <a:off x="175203" y="27537"/>
            <a:ext cx="1057425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en-GB" sz="1428" dirty="0">
                <a:solidFill>
                  <a:srgbClr val="808080"/>
                </a:solidFill>
              </a:rPr>
              <a:t>INITIATIVES</a:t>
            </a:r>
          </a:p>
        </p:txBody>
      </p:sp>
    </p:spTree>
    <p:extLst>
      <p:ext uri="{BB962C8B-B14F-4D97-AF65-F5344CB8AC3E}">
        <p14:creationId xmlns:p14="http://schemas.microsoft.com/office/powerpoint/2010/main" val="35068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/>
          <p:cNvSpPr>
            <a:spLocks/>
          </p:cNvSpPr>
          <p:nvPr/>
        </p:nvSpPr>
        <p:spPr bwMode="gray">
          <a:xfrm>
            <a:off x="4546392" y="547347"/>
            <a:ext cx="4608907" cy="514237"/>
          </a:xfrm>
          <a:prstGeom prst="rect">
            <a:avLst/>
          </a:prstGeom>
          <a:solidFill>
            <a:schemeClr val="accent5"/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3656" tIns="36731" rIns="110194" bIns="36731" rtlCol="0" anchor="ctr" anchorCtr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632" b="1" dirty="0">
                <a:solidFill>
                  <a:srgbClr val="FFFFFF"/>
                </a:solidFill>
              </a:rPr>
              <a:t>How do we increase demand and local value addition?</a:t>
            </a:r>
            <a:endParaRPr lang="en-ZA" sz="1632" b="1" dirty="0">
              <a:solidFill>
                <a:srgbClr val="FFFFFF"/>
              </a:solidFill>
            </a:endParaRPr>
          </a:p>
        </p:txBody>
      </p:sp>
      <p:sp>
        <p:nvSpPr>
          <p:cNvPr id="46" name="Rectangle 45"/>
          <p:cNvSpPr>
            <a:spLocks/>
          </p:cNvSpPr>
          <p:nvPr/>
        </p:nvSpPr>
        <p:spPr bwMode="gray">
          <a:xfrm>
            <a:off x="271" y="547347"/>
            <a:ext cx="4546121" cy="514237"/>
          </a:xfrm>
          <a:prstGeom prst="rect">
            <a:avLst/>
          </a:prstGeom>
          <a:solidFill>
            <a:schemeClr val="accent2"/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3656" tIns="36731" rIns="110194" bIns="36731" rtlCol="0" anchor="ctr" anchorCtr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632" b="1" dirty="0">
                <a:solidFill>
                  <a:srgbClr val="FFFFFF"/>
                </a:solidFill>
              </a:rPr>
              <a:t>How do we increase the supply?</a:t>
            </a:r>
            <a:endParaRPr lang="en-ZA" sz="1632" b="1" dirty="0">
              <a:solidFill>
                <a:srgbClr val="FFFFFF"/>
              </a:solidFill>
            </a:endParaRPr>
          </a:p>
        </p:txBody>
      </p:sp>
      <p:sp>
        <p:nvSpPr>
          <p:cNvPr id="72" name="Title 1"/>
          <p:cNvSpPr>
            <a:spLocks noGrp="1"/>
          </p:cNvSpPr>
          <p:nvPr>
            <p:ph type="title"/>
          </p:nvPr>
        </p:nvSpPr>
        <p:spPr bwMode="gray"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Key initiatives to drive growth in the Bioprospecting Economy</a:t>
            </a:r>
          </a:p>
        </p:txBody>
      </p:sp>
      <p:sp>
        <p:nvSpPr>
          <p:cNvPr id="97" name="Rectangle 96"/>
          <p:cNvSpPr>
            <a:spLocks/>
          </p:cNvSpPr>
          <p:nvPr/>
        </p:nvSpPr>
        <p:spPr bwMode="gray">
          <a:xfrm>
            <a:off x="11840" y="4137226"/>
            <a:ext cx="9131890" cy="17801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731" tIns="36731" rIns="36731" bIns="36731" rtlCol="0" anchor="ctr" anchorCtr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ZA" sz="1632" b="1" dirty="0">
              <a:solidFill>
                <a:srgbClr val="FFFFFF"/>
              </a:solidFill>
            </a:endParaRPr>
          </a:p>
        </p:txBody>
      </p:sp>
      <p:sp>
        <p:nvSpPr>
          <p:cNvPr id="82" name="Rectangle 81"/>
          <p:cNvSpPr>
            <a:spLocks/>
          </p:cNvSpPr>
          <p:nvPr/>
        </p:nvSpPr>
        <p:spPr bwMode="gray">
          <a:xfrm>
            <a:off x="4546391" y="1048657"/>
            <a:ext cx="4608907" cy="2631033"/>
          </a:xfrm>
          <a:prstGeom prst="rect">
            <a:avLst/>
          </a:prstGeom>
          <a:solidFill>
            <a:srgbClr val="995E11">
              <a:alpha val="21961"/>
            </a:srgbClr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731" tIns="36731" rIns="36731" bIns="36731" rtlCol="0" anchor="ctr" anchorCtr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ZA" sz="1632" b="1" dirty="0">
              <a:solidFill>
                <a:srgbClr val="FFFFFF"/>
              </a:solidFill>
            </a:endParaRPr>
          </a:p>
        </p:txBody>
      </p:sp>
      <p:sp>
        <p:nvSpPr>
          <p:cNvPr id="65" name="Rectangle 64"/>
          <p:cNvSpPr>
            <a:spLocks/>
          </p:cNvSpPr>
          <p:nvPr/>
        </p:nvSpPr>
        <p:spPr bwMode="gray">
          <a:xfrm>
            <a:off x="270" y="1048657"/>
            <a:ext cx="4546123" cy="2631033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731" tIns="36731" rIns="36731" bIns="36731" rtlCol="0" anchor="ctr" anchorCtr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ZA" sz="1632" b="1" dirty="0">
              <a:solidFill>
                <a:srgbClr val="FFFFFF"/>
              </a:solidFill>
            </a:endParaRPr>
          </a:p>
        </p:txBody>
      </p:sp>
      <p:sp>
        <p:nvSpPr>
          <p:cNvPr id="59" name="Rectangle 286"/>
          <p:cNvSpPr txBox="1">
            <a:spLocks noChangeArrowheads="1"/>
          </p:cNvSpPr>
          <p:nvPr/>
        </p:nvSpPr>
        <p:spPr bwMode="gray">
          <a:xfrm>
            <a:off x="1012737" y="1088040"/>
            <a:ext cx="3423397" cy="128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620" lvl="1" indent="0">
              <a:spcBef>
                <a:spcPts val="612"/>
              </a:spcBef>
              <a:buClr>
                <a:srgbClr val="0B4623"/>
              </a:buClr>
              <a:buFont typeface="Arial" charset="0"/>
              <a:buNone/>
            </a:pPr>
            <a:r>
              <a:rPr lang="en-US" sz="1632" dirty="0">
                <a:solidFill>
                  <a:srgbClr val="000000"/>
                </a:solidFill>
              </a:rPr>
              <a:t>Promote a mass cultivation </a:t>
            </a:r>
            <a:br>
              <a:rPr lang="en-US" sz="1632" dirty="0">
                <a:solidFill>
                  <a:srgbClr val="000000"/>
                </a:solidFill>
              </a:rPr>
            </a:br>
            <a:r>
              <a:rPr lang="en-US" sz="1632" dirty="0">
                <a:solidFill>
                  <a:srgbClr val="000000"/>
                </a:solidFill>
              </a:rPr>
              <a:t>drive of 25 plant species of strategic importance and </a:t>
            </a:r>
            <a:br>
              <a:rPr lang="en-US" sz="1632" dirty="0">
                <a:solidFill>
                  <a:srgbClr val="000000"/>
                </a:solidFill>
              </a:rPr>
            </a:br>
            <a:r>
              <a:rPr lang="en-US" sz="1632" dirty="0">
                <a:solidFill>
                  <a:srgbClr val="000000"/>
                </a:solidFill>
              </a:rPr>
              <a:t>increase cultivation by </a:t>
            </a:r>
            <a:br>
              <a:rPr lang="en-US" sz="1632" dirty="0">
                <a:solidFill>
                  <a:srgbClr val="000000"/>
                </a:solidFill>
              </a:rPr>
            </a:br>
            <a:r>
              <a:rPr lang="en-US" sz="1632" dirty="0">
                <a:solidFill>
                  <a:srgbClr val="000000"/>
                </a:solidFill>
              </a:rPr>
              <a:t>500 hectares per annum</a:t>
            </a:r>
          </a:p>
        </p:txBody>
      </p:sp>
      <p:pic>
        <p:nvPicPr>
          <p:cNvPr id="54" name="Picture 53"/>
          <p:cNvPicPr>
            <a:picLocks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33994" y="1141478"/>
            <a:ext cx="706977" cy="665633"/>
          </a:xfrm>
          <a:prstGeom prst="roundRect">
            <a:avLst/>
          </a:prstGeom>
        </p:spPr>
      </p:pic>
      <p:sp>
        <p:nvSpPr>
          <p:cNvPr id="60" name="TextBox 19"/>
          <p:cNvSpPr txBox="1"/>
          <p:nvPr>
            <p:custDataLst>
              <p:tags r:id="rId3"/>
            </p:custDataLst>
          </p:nvPr>
        </p:nvSpPr>
        <p:spPr bwMode="gray">
          <a:xfrm>
            <a:off x="50336" y="1290639"/>
            <a:ext cx="330581" cy="330581"/>
          </a:xfrm>
          <a:prstGeom prst="ellipse">
            <a:avLst/>
          </a:prstGeom>
          <a:solidFill>
            <a:schemeClr val="accent4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none" lIns="3887" tIns="0" rIns="3887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1900" b="1" baseline="0">
                <a:solidFill>
                  <a:schemeClr val="bg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632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84" name="Rectangle 286"/>
          <p:cNvSpPr txBox="1">
            <a:spLocks noChangeArrowheads="1"/>
          </p:cNvSpPr>
          <p:nvPr/>
        </p:nvSpPr>
        <p:spPr bwMode="gray">
          <a:xfrm>
            <a:off x="5586163" y="1088040"/>
            <a:ext cx="3546799" cy="2641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620" lvl="1" indent="0">
              <a:spcBef>
                <a:spcPts val="612"/>
              </a:spcBef>
              <a:buClr>
                <a:srgbClr val="0B4623"/>
              </a:buClr>
              <a:buSzPct val="100000"/>
              <a:buFont typeface="Arial" charset="0"/>
              <a:buNone/>
            </a:pPr>
            <a:r>
              <a:rPr lang="en-US" sz="1632" dirty="0">
                <a:solidFill>
                  <a:srgbClr val="000000"/>
                </a:solidFill>
              </a:rPr>
              <a:t>Establish a coordinating and facilitating BioPANZA (Bio Products Advancement Network South Africa) to harness existing initiatives and to address the innovation chasm</a:t>
            </a:r>
          </a:p>
          <a:p>
            <a:pPr marL="293171" lvl="1" indent="-291551">
              <a:spcBef>
                <a:spcPts val="612"/>
              </a:spcBef>
              <a:buClr>
                <a:srgbClr val="0B4623"/>
              </a:buClr>
              <a:buSzPct val="100000"/>
              <a:buFont typeface="Wingdings" panose="05000000000000000000" pitchFamily="2" charset="2"/>
              <a:buChar char="§"/>
            </a:pPr>
            <a:r>
              <a:rPr lang="en-US" sz="1632" dirty="0">
                <a:solidFill>
                  <a:srgbClr val="000000"/>
                </a:solidFill>
              </a:rPr>
              <a:t>Promote applied research, local processing, innovation and </a:t>
            </a:r>
            <a:br>
              <a:rPr lang="en-US" sz="1632" dirty="0">
                <a:solidFill>
                  <a:srgbClr val="000000"/>
                </a:solidFill>
              </a:rPr>
            </a:br>
            <a:r>
              <a:rPr lang="en-US" sz="1632" dirty="0">
                <a:solidFill>
                  <a:srgbClr val="000000"/>
                </a:solidFill>
              </a:rPr>
              <a:t>product development; and to promote the use and awareness </a:t>
            </a:r>
            <a:br>
              <a:rPr lang="en-US" sz="1632" dirty="0">
                <a:solidFill>
                  <a:srgbClr val="000000"/>
                </a:solidFill>
              </a:rPr>
            </a:br>
            <a:r>
              <a:rPr lang="en-US" sz="1632" dirty="0">
                <a:solidFill>
                  <a:srgbClr val="000000"/>
                </a:solidFill>
              </a:rPr>
              <a:t>of products with IBRs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1012737" y="5238817"/>
            <a:ext cx="8130994" cy="5125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32962" fontAlgn="base">
              <a:spcBef>
                <a:spcPts val="612"/>
              </a:spcBef>
              <a:spcAft>
                <a:spcPct val="0"/>
              </a:spcAft>
            </a:pPr>
            <a:r>
              <a:rPr lang="en-US" sz="1632" dirty="0">
                <a:solidFill>
                  <a:srgbClr val="000000"/>
                </a:solidFill>
              </a:rPr>
              <a:t>Improve efficiencies in the Bioprospecting Access and Benefit Sharing (BABS) permitting system</a:t>
            </a:r>
          </a:p>
        </p:txBody>
      </p:sp>
      <p:pic>
        <p:nvPicPr>
          <p:cNvPr id="93" name="Picture 92"/>
          <p:cNvPicPr>
            <a:picLocks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25186" y="4176101"/>
            <a:ext cx="706977" cy="665633"/>
          </a:xfrm>
          <a:prstGeom prst="roundRect">
            <a:avLst/>
          </a:prstGeom>
          <a:ln>
            <a:solidFill>
              <a:schemeClr val="bg2">
                <a:lumMod val="95000"/>
              </a:schemeClr>
            </a:solidFill>
          </a:ln>
        </p:spPr>
      </p:pic>
      <p:sp>
        <p:nvSpPr>
          <p:cNvPr id="92" name="TextBox 91"/>
          <p:cNvSpPr txBox="1"/>
          <p:nvPr>
            <p:custDataLst>
              <p:tags r:id="rId4"/>
            </p:custDataLst>
          </p:nvPr>
        </p:nvSpPr>
        <p:spPr bwMode="gray">
          <a:xfrm>
            <a:off x="50336" y="4364959"/>
            <a:ext cx="330581" cy="330581"/>
          </a:xfrm>
          <a:prstGeom prst="ellipse">
            <a:avLst/>
          </a:prstGeom>
          <a:solidFill>
            <a:schemeClr val="accent4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none" lIns="3887" tIns="0" rIns="3887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1900" b="1" baseline="0">
                <a:solidFill>
                  <a:schemeClr val="bg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632" dirty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00" name="Rectangle 99"/>
          <p:cNvSpPr>
            <a:spLocks/>
          </p:cNvSpPr>
          <p:nvPr/>
        </p:nvSpPr>
        <p:spPr bwMode="gray">
          <a:xfrm>
            <a:off x="3358" y="3694762"/>
            <a:ext cx="9151940" cy="424989"/>
          </a:xfrm>
          <a:prstGeom prst="rect">
            <a:avLst/>
          </a:prstGeom>
          <a:solidFill>
            <a:schemeClr val="accent6"/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731" tIns="36731" rIns="36731" bIns="36731" rtlCol="0" anchor="ctr" anchorCtr="0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632" b="1" dirty="0">
                <a:solidFill>
                  <a:srgbClr val="FFFFFF"/>
                </a:solidFill>
              </a:rPr>
              <a:t>Regulatory</a:t>
            </a:r>
            <a:endParaRPr lang="en-ZA" sz="1632" b="1" dirty="0">
              <a:solidFill>
                <a:srgbClr val="FFFFFF"/>
              </a:solidFill>
            </a:endParaRPr>
          </a:p>
        </p:txBody>
      </p:sp>
      <p:sp>
        <p:nvSpPr>
          <p:cNvPr id="101" name="Rectangle 100"/>
          <p:cNvSpPr>
            <a:spLocks/>
          </p:cNvSpPr>
          <p:nvPr/>
        </p:nvSpPr>
        <p:spPr bwMode="gray">
          <a:xfrm>
            <a:off x="-8209" y="5932614"/>
            <a:ext cx="9151940" cy="424989"/>
          </a:xfrm>
          <a:prstGeom prst="rect">
            <a:avLst/>
          </a:prstGeom>
          <a:solidFill>
            <a:schemeClr val="accent4"/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731" tIns="36731" rIns="36731" bIns="36731" rtlCol="0" anchor="ctr" anchorCtr="0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632" b="1" dirty="0">
                <a:solidFill>
                  <a:srgbClr val="FFFFFF"/>
                </a:solidFill>
              </a:rPr>
              <a:t>Transformation is a cross cutting essential</a:t>
            </a:r>
            <a:endParaRPr lang="en-ZA" sz="1632" b="1" dirty="0">
              <a:solidFill>
                <a:srgbClr val="FFFFFF"/>
              </a:solidFill>
            </a:endParaRPr>
          </a:p>
        </p:txBody>
      </p:sp>
      <p:pic>
        <p:nvPicPr>
          <p:cNvPr id="38" name="Picture 37"/>
          <p:cNvPicPr>
            <a:picLocks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792084" y="1141478"/>
            <a:ext cx="706977" cy="665633"/>
          </a:xfrm>
          <a:prstGeom prst="roundRect">
            <a:avLst/>
          </a:prstGeom>
        </p:spPr>
      </p:pic>
      <p:sp>
        <p:nvSpPr>
          <p:cNvPr id="61" name="TextBox 60"/>
          <p:cNvSpPr txBox="1"/>
          <p:nvPr>
            <p:custDataLst>
              <p:tags r:id="rId5"/>
            </p:custDataLst>
          </p:nvPr>
        </p:nvSpPr>
        <p:spPr bwMode="gray">
          <a:xfrm>
            <a:off x="4590767" y="1290639"/>
            <a:ext cx="330581" cy="330581"/>
          </a:xfrm>
          <a:prstGeom prst="ellipse">
            <a:avLst/>
          </a:prstGeom>
          <a:solidFill>
            <a:schemeClr val="accent4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none" lIns="3887" tIns="0" rIns="3887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1900" b="1" baseline="0">
                <a:solidFill>
                  <a:schemeClr val="bg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632" dirty="0">
                <a:solidFill>
                  <a:srgbClr val="FFFFFF"/>
                </a:solidFill>
              </a:rPr>
              <a:t>3</a:t>
            </a:r>
          </a:p>
        </p:txBody>
      </p:sp>
      <p:pic>
        <p:nvPicPr>
          <p:cNvPr id="276549" name="Picture 69" descr="http://www.bushpharm.com/home/%20bushph/public_html/wp-content/uploads/2010/01/2010/01/HoodiaField-300.jpg"/>
          <p:cNvPicPr>
            <a:picLocks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5186" y="2473812"/>
            <a:ext cx="706977" cy="665633"/>
          </a:xfrm>
          <a:prstGeom prst="round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19"/>
          <p:cNvSpPr txBox="1"/>
          <p:nvPr>
            <p:custDataLst>
              <p:tags r:id="rId6"/>
            </p:custDataLst>
          </p:nvPr>
        </p:nvSpPr>
        <p:spPr bwMode="gray">
          <a:xfrm>
            <a:off x="50336" y="2635468"/>
            <a:ext cx="330581" cy="330581"/>
          </a:xfrm>
          <a:prstGeom prst="ellipse">
            <a:avLst/>
          </a:prstGeom>
          <a:solidFill>
            <a:schemeClr val="accent4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none" lIns="3887" tIns="0" rIns="3887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1900" b="1" baseline="0">
                <a:solidFill>
                  <a:schemeClr val="bg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632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28" name="Rectangle 286"/>
          <p:cNvSpPr txBox="1">
            <a:spLocks noChangeArrowheads="1"/>
          </p:cNvSpPr>
          <p:nvPr/>
        </p:nvSpPr>
        <p:spPr bwMode="gray">
          <a:xfrm>
            <a:off x="980391" y="2473812"/>
            <a:ext cx="3521626" cy="1025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620" lvl="1" indent="0">
              <a:spcBef>
                <a:spcPts val="612"/>
              </a:spcBef>
              <a:buClr>
                <a:srgbClr val="0B4623"/>
              </a:buClr>
              <a:buFont typeface="Arial" charset="0"/>
              <a:buNone/>
            </a:pPr>
            <a:r>
              <a:rPr lang="en-US" sz="1632" dirty="0">
                <a:solidFill>
                  <a:srgbClr val="000000"/>
                </a:solidFill>
              </a:rPr>
              <a:t>Define management plans to ensure sustainable wild harvesting of 7 high value plant species to safeguard long term supply </a:t>
            </a:r>
          </a:p>
        </p:txBody>
      </p:sp>
      <p:pic>
        <p:nvPicPr>
          <p:cNvPr id="29" name="Picture 28"/>
          <p:cNvPicPr>
            <a:picLocks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225186" y="5175777"/>
            <a:ext cx="706977" cy="665633"/>
          </a:xfrm>
          <a:prstGeom prst="roundRect">
            <a:avLst/>
          </a:prstGeom>
          <a:ln>
            <a:solidFill>
              <a:schemeClr val="bg2">
                <a:lumMod val="95000"/>
              </a:schemeClr>
            </a:solidFill>
          </a:ln>
        </p:spPr>
      </p:pic>
      <p:sp>
        <p:nvSpPr>
          <p:cNvPr id="3" name="Rectangle 2"/>
          <p:cNvSpPr/>
          <p:nvPr/>
        </p:nvSpPr>
        <p:spPr>
          <a:xfrm>
            <a:off x="1012736" y="4176101"/>
            <a:ext cx="8081351" cy="1025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en-US" sz="1632" dirty="0">
                <a:solidFill>
                  <a:srgbClr val="000000"/>
                </a:solidFill>
              </a:rPr>
              <a:t>Fast tracking amendments of Chapter 6 of National Environmental Management Biodiversity Act (NEM:BA) to ease compliance while ensuring protection of the rights and benefits of traditional knowledge (TK) holders and alignment with Nagoya Protocol on Access and Benefit Sharing</a:t>
            </a:r>
            <a:endParaRPr lang="en-ZA" sz="1632" dirty="0">
              <a:solidFill>
                <a:srgbClr val="000000"/>
              </a:solidFill>
            </a:endParaRPr>
          </a:p>
        </p:txBody>
      </p:sp>
      <p:sp>
        <p:nvSpPr>
          <p:cNvPr id="31" name="TextBox 30"/>
          <p:cNvSpPr txBox="1"/>
          <p:nvPr>
            <p:custDataLst>
              <p:tags r:id="rId7"/>
            </p:custDataLst>
          </p:nvPr>
        </p:nvSpPr>
        <p:spPr bwMode="gray">
          <a:xfrm>
            <a:off x="50336" y="5343303"/>
            <a:ext cx="330581" cy="330581"/>
          </a:xfrm>
          <a:prstGeom prst="ellipse">
            <a:avLst/>
          </a:prstGeom>
          <a:solidFill>
            <a:schemeClr val="accent4"/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none" lIns="3887" tIns="0" rIns="3887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1900" b="1" baseline="0">
                <a:solidFill>
                  <a:schemeClr val="bg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4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4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accent4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</a:pPr>
            <a:r>
              <a:rPr lang="en-US" sz="1632" dirty="0">
                <a:solidFill>
                  <a:srgbClr val="FFFFFF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892659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509953"/>
            <a:ext cx="8546123" cy="772582"/>
          </a:xfrm>
        </p:spPr>
        <p:txBody>
          <a:bodyPr>
            <a:normAutofit/>
          </a:bodyPr>
          <a:lstStyle/>
          <a:p>
            <a:r>
              <a:rPr lang="en-ZA" sz="2400" b="1" dirty="0" smtClean="0">
                <a:latin typeface="Lucida Sans Unicode" panose="020B0602030504020204" pitchFamily="34" charset="0"/>
                <a:cs typeface="Lucida Sans Unicode" panose="020B0602030504020204" pitchFamily="34" charset="0"/>
              </a:rPr>
              <a:t>Government intervention </a:t>
            </a:r>
            <a:endParaRPr lang="en-ZA" sz="2400" b="1" dirty="0"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40677" y="1282535"/>
            <a:ext cx="8862646" cy="5575465"/>
          </a:xfrm>
        </p:spPr>
        <p:txBody>
          <a:bodyPr>
            <a:normAutofit fontScale="92500" lnSpcReduction="20000"/>
          </a:bodyPr>
          <a:lstStyle/>
          <a:p>
            <a:r>
              <a:rPr lang="en-GB" sz="2800" dirty="0" smtClean="0">
                <a:solidFill>
                  <a:prstClr val="black"/>
                </a:solidFill>
                <a:latin typeface="Arial Narrow" pitchFamily="34" charset="0"/>
              </a:rPr>
              <a:t>Nemba Bill amendment </a:t>
            </a:r>
          </a:p>
          <a:p>
            <a:r>
              <a:rPr lang="en-GB" sz="2800" dirty="0" smtClean="0">
                <a:solidFill>
                  <a:prstClr val="black"/>
                </a:solidFill>
                <a:latin typeface="Arial Narrow" pitchFamily="34" charset="0"/>
              </a:rPr>
              <a:t>Phakisa initiatives (Biodiversity, Ocean, Waste Phakisa  </a:t>
            </a:r>
            <a:r>
              <a:rPr lang="en-GB" sz="2800" dirty="0" err="1" smtClean="0">
                <a:solidFill>
                  <a:prstClr val="black"/>
                </a:solidFill>
                <a:latin typeface="Arial Narrow" pitchFamily="34" charset="0"/>
              </a:rPr>
              <a:t>etc</a:t>
            </a:r>
            <a:r>
              <a:rPr lang="en-GB" sz="2800" dirty="0" smtClean="0">
                <a:solidFill>
                  <a:prstClr val="black"/>
                </a:solidFill>
                <a:latin typeface="Arial Narrow" pitchFamily="34" charset="0"/>
              </a:rPr>
              <a:t>)</a:t>
            </a:r>
          </a:p>
          <a:p>
            <a:r>
              <a:rPr lang="en-GB" sz="2800" dirty="0" smtClean="0">
                <a:solidFill>
                  <a:prstClr val="black"/>
                </a:solidFill>
                <a:latin typeface="Arial Narrow" pitchFamily="34" charset="0"/>
              </a:rPr>
              <a:t>The Biodiversity Economy Strategy</a:t>
            </a:r>
          </a:p>
          <a:p>
            <a:r>
              <a:rPr lang="en-GB" sz="2800" dirty="0" smtClean="0">
                <a:solidFill>
                  <a:prstClr val="black"/>
                </a:solidFill>
                <a:latin typeface="Arial Narrow" pitchFamily="34" charset="0"/>
              </a:rPr>
              <a:t>Biodiversity Economy Indaba to create a marketing platform for biodiversity and genetic resources </a:t>
            </a:r>
          </a:p>
          <a:p>
            <a:r>
              <a:rPr lang="en-GB" sz="2800" dirty="0" smtClean="0">
                <a:solidFill>
                  <a:prstClr val="black"/>
                </a:solidFill>
                <a:latin typeface="Arial Narrow" pitchFamily="34" charset="0"/>
              </a:rPr>
              <a:t>Biodiversity Transformation Charter Council</a:t>
            </a:r>
          </a:p>
          <a:p>
            <a:r>
              <a:rPr lang="en-GB" sz="2800" dirty="0" smtClean="0">
                <a:solidFill>
                  <a:prstClr val="black"/>
                </a:solidFill>
                <a:latin typeface="Arial Narrow" pitchFamily="34" charset="0"/>
              </a:rPr>
              <a:t>Game donation to PDIs and communities</a:t>
            </a:r>
          </a:p>
          <a:p>
            <a:r>
              <a:rPr lang="en-GB" sz="2800" dirty="0" smtClean="0">
                <a:solidFill>
                  <a:prstClr val="black"/>
                </a:solidFill>
                <a:latin typeface="Arial Narrow" pitchFamily="34" charset="0"/>
              </a:rPr>
              <a:t>Infrastructure support </a:t>
            </a:r>
          </a:p>
          <a:p>
            <a:r>
              <a:rPr lang="en-GB" sz="2800" dirty="0" smtClean="0">
                <a:solidFill>
                  <a:prstClr val="black"/>
                </a:solidFill>
                <a:latin typeface="Arial Narrow" pitchFamily="34" charset="0"/>
              </a:rPr>
              <a:t>Transaction advisors to support emerging entrepreneurs </a:t>
            </a:r>
          </a:p>
          <a:p>
            <a:r>
              <a:rPr lang="en-GB" sz="2800" dirty="0" smtClean="0">
                <a:solidFill>
                  <a:prstClr val="black"/>
                </a:solidFill>
                <a:latin typeface="Arial Narrow" pitchFamily="34" charset="0"/>
              </a:rPr>
              <a:t>Biopanza to create a network of bioprospecting and biotrading institutions to coordinate their activities to avoid duplications of efforts and close sectoral gaps for efficiency.  </a:t>
            </a:r>
          </a:p>
          <a:p>
            <a:r>
              <a:rPr lang="en-GB" sz="2800" dirty="0">
                <a:solidFill>
                  <a:prstClr val="black"/>
                </a:solidFill>
                <a:latin typeface="Arial Narrow" pitchFamily="34" charset="0"/>
              </a:rPr>
              <a:t>Address issues of food security, job creation and economic prosperity through  game meat processing, skin and hides industry </a:t>
            </a:r>
            <a:r>
              <a:rPr lang="en-GB" sz="2800" dirty="0" err="1">
                <a:solidFill>
                  <a:prstClr val="black"/>
                </a:solidFill>
                <a:latin typeface="Arial Narrow" pitchFamily="34" charset="0"/>
              </a:rPr>
              <a:t>etc</a:t>
            </a:r>
            <a:endParaRPr lang="en-GB" sz="2800" dirty="0">
              <a:solidFill>
                <a:prstClr val="black"/>
              </a:solidFill>
              <a:latin typeface="Arial Narrow" pitchFamily="34" charset="0"/>
            </a:endParaRPr>
          </a:p>
          <a:p>
            <a:endParaRPr lang="en-GB" sz="2800" dirty="0">
              <a:solidFill>
                <a:prstClr val="black"/>
              </a:solidFill>
              <a:latin typeface="Arial Narrow" pitchFamily="34" charset="0"/>
            </a:endParaRPr>
          </a:p>
          <a:p>
            <a:pPr marL="0" lvl="0" indent="0">
              <a:buNone/>
            </a:pPr>
            <a:endParaRPr lang="en-GB" sz="2200" dirty="0">
              <a:solidFill>
                <a:prstClr val="black"/>
              </a:solidFill>
              <a:latin typeface="Arial Narrow" pitchFamily="34" charset="0"/>
            </a:endParaRPr>
          </a:p>
          <a:p>
            <a:pPr marL="0" lvl="0" indent="0">
              <a:buNone/>
            </a:pPr>
            <a:endParaRPr lang="en-GB" sz="2200" dirty="0">
              <a:solidFill>
                <a:prstClr val="black"/>
              </a:solidFill>
              <a:latin typeface="Arial Narrow" pitchFamily="34" charset="0"/>
            </a:endParaRPr>
          </a:p>
          <a:p>
            <a:pPr marL="0" lvl="0" indent="0">
              <a:buNone/>
            </a:pPr>
            <a:endParaRPr lang="en-GB" sz="2200" dirty="0">
              <a:solidFill>
                <a:prstClr val="black"/>
              </a:solidFill>
              <a:latin typeface="Arial Narrow" pitchFamily="34" charset="0"/>
            </a:endParaRPr>
          </a:p>
          <a:p>
            <a:pPr algn="just"/>
            <a:endParaRPr lang="en-ZA" sz="2700" dirty="0" smtClean="0"/>
          </a:p>
        </p:txBody>
      </p:sp>
    </p:spTree>
    <p:extLst>
      <p:ext uri="{BB962C8B-B14F-4D97-AF65-F5344CB8AC3E}">
        <p14:creationId xmlns:p14="http://schemas.microsoft.com/office/powerpoint/2010/main" val="3945734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509953"/>
            <a:ext cx="8546123" cy="772582"/>
          </a:xfrm>
        </p:spPr>
        <p:txBody>
          <a:bodyPr>
            <a:normAutofit/>
          </a:bodyPr>
          <a:lstStyle/>
          <a:p>
            <a:r>
              <a:rPr lang="en-ZA" sz="2400" b="1" dirty="0" smtClean="0">
                <a:latin typeface="Lucida Sans Unicode" panose="020B0602030504020204" pitchFamily="34" charset="0"/>
                <a:cs typeface="Lucida Sans Unicode" panose="020B0602030504020204" pitchFamily="34" charset="0"/>
              </a:rPr>
              <a:t>Industry role </a:t>
            </a:r>
            <a:endParaRPr lang="en-ZA" sz="2400" b="1" dirty="0"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40677" y="1282535"/>
            <a:ext cx="8862646" cy="5575465"/>
          </a:xfrm>
        </p:spPr>
        <p:txBody>
          <a:bodyPr>
            <a:normAutofit/>
          </a:bodyPr>
          <a:lstStyle/>
          <a:p>
            <a:r>
              <a:rPr lang="en-GB" sz="2800" dirty="0">
                <a:solidFill>
                  <a:prstClr val="black"/>
                </a:solidFill>
                <a:latin typeface="Arial Narrow" pitchFamily="34" charset="0"/>
              </a:rPr>
              <a:t>The Industry must transform</a:t>
            </a:r>
          </a:p>
          <a:p>
            <a:r>
              <a:rPr lang="en-GB" sz="2800" dirty="0" smtClean="0">
                <a:solidFill>
                  <a:prstClr val="black"/>
                </a:solidFill>
                <a:latin typeface="Arial Narrow" pitchFamily="34" charset="0"/>
              </a:rPr>
              <a:t>Must invest in the African majority </a:t>
            </a:r>
          </a:p>
          <a:p>
            <a:r>
              <a:rPr lang="en-GB" sz="2800" dirty="0" smtClean="0">
                <a:solidFill>
                  <a:prstClr val="black"/>
                </a:solidFill>
                <a:latin typeface="Arial Narrow" pitchFamily="34" charset="0"/>
              </a:rPr>
              <a:t>Localise the industry where genetic resources naturally occur </a:t>
            </a:r>
            <a:endParaRPr lang="en-GB" sz="2800" dirty="0" smtClean="0">
              <a:solidFill>
                <a:prstClr val="black"/>
              </a:solidFill>
              <a:latin typeface="Arial Narrow" pitchFamily="34" charset="0"/>
            </a:endParaRPr>
          </a:p>
          <a:p>
            <a:r>
              <a:rPr lang="en-GB" sz="2800" dirty="0" smtClean="0">
                <a:solidFill>
                  <a:prstClr val="black"/>
                </a:solidFill>
                <a:latin typeface="Arial Narrow" pitchFamily="34" charset="0"/>
              </a:rPr>
              <a:t>Must skill the emerging farmers </a:t>
            </a:r>
          </a:p>
          <a:p>
            <a:r>
              <a:rPr lang="en-GB" sz="2800" dirty="0" smtClean="0">
                <a:solidFill>
                  <a:prstClr val="black"/>
                </a:solidFill>
                <a:latin typeface="Arial Narrow" pitchFamily="34" charset="0"/>
              </a:rPr>
              <a:t>Give new entrants access to market </a:t>
            </a:r>
          </a:p>
          <a:p>
            <a:r>
              <a:rPr lang="en-GB" sz="2800" dirty="0" smtClean="0">
                <a:solidFill>
                  <a:prstClr val="black"/>
                </a:solidFill>
                <a:latin typeface="Arial Narrow" pitchFamily="34" charset="0"/>
              </a:rPr>
              <a:t>Handhold the new enterprise </a:t>
            </a:r>
            <a:endParaRPr lang="en-GB" sz="2800" dirty="0" smtClean="0">
              <a:solidFill>
                <a:prstClr val="black"/>
              </a:solidFill>
              <a:latin typeface="Arial Narrow" pitchFamily="34" charset="0"/>
            </a:endParaRPr>
          </a:p>
          <a:p>
            <a:r>
              <a:rPr lang="en-GB" sz="2800" dirty="0" smtClean="0">
                <a:solidFill>
                  <a:prstClr val="black"/>
                </a:solidFill>
                <a:latin typeface="Arial Narrow" pitchFamily="34" charset="0"/>
              </a:rPr>
              <a:t>Must embrace the Transformation initiatives </a:t>
            </a:r>
          </a:p>
          <a:p>
            <a:r>
              <a:rPr lang="en-GB" sz="2800" dirty="0" smtClean="0">
                <a:solidFill>
                  <a:prstClr val="black"/>
                </a:solidFill>
                <a:latin typeface="Arial Narrow" pitchFamily="34" charset="0"/>
              </a:rPr>
              <a:t>Must donate game to new and emerging farmers </a:t>
            </a:r>
          </a:p>
          <a:p>
            <a:r>
              <a:rPr lang="en-GB" sz="2800" dirty="0" smtClean="0">
                <a:solidFill>
                  <a:prstClr val="black"/>
                </a:solidFill>
                <a:latin typeface="Arial Narrow" pitchFamily="34" charset="0"/>
              </a:rPr>
              <a:t>“Adopt an emerging farmer” approach. </a:t>
            </a:r>
            <a:endParaRPr lang="en-GB" sz="2800" dirty="0">
              <a:solidFill>
                <a:prstClr val="black"/>
              </a:solidFill>
              <a:latin typeface="Arial Narrow" pitchFamily="34" charset="0"/>
            </a:endParaRPr>
          </a:p>
          <a:p>
            <a:r>
              <a:rPr lang="en-GB" sz="2800" dirty="0" smtClean="0">
                <a:solidFill>
                  <a:prstClr val="black"/>
                </a:solidFill>
                <a:latin typeface="Arial Narrow" pitchFamily="34" charset="0"/>
              </a:rPr>
              <a:t>“</a:t>
            </a:r>
            <a:r>
              <a:rPr lang="en-GB" sz="2800" dirty="0" smtClean="0">
                <a:solidFill>
                  <a:prstClr val="black"/>
                </a:solidFill>
                <a:latin typeface="Arial Narrow" pitchFamily="34" charset="0"/>
              </a:rPr>
              <a:t>Prosperity for all attitude” </a:t>
            </a:r>
            <a:endParaRPr lang="en-GB" sz="2800" dirty="0">
              <a:solidFill>
                <a:prstClr val="black"/>
              </a:solidFill>
              <a:latin typeface="Arial Narrow" pitchFamily="34" charset="0"/>
            </a:endParaRPr>
          </a:p>
          <a:p>
            <a:pPr marL="0" lvl="0" indent="0">
              <a:buNone/>
            </a:pPr>
            <a:endParaRPr lang="en-GB" sz="2200" dirty="0">
              <a:solidFill>
                <a:prstClr val="black"/>
              </a:solidFill>
              <a:latin typeface="Arial Narrow" pitchFamily="34" charset="0"/>
            </a:endParaRPr>
          </a:p>
          <a:p>
            <a:pPr marL="0" lvl="0" indent="0">
              <a:buNone/>
            </a:pPr>
            <a:endParaRPr lang="en-GB" sz="2200" dirty="0">
              <a:solidFill>
                <a:prstClr val="black"/>
              </a:solidFill>
              <a:latin typeface="Arial Narrow" pitchFamily="34" charset="0"/>
            </a:endParaRPr>
          </a:p>
          <a:p>
            <a:pPr marL="0" lvl="0" indent="0">
              <a:buNone/>
            </a:pPr>
            <a:endParaRPr lang="en-GB" sz="2200" dirty="0">
              <a:solidFill>
                <a:prstClr val="black"/>
              </a:solidFill>
              <a:latin typeface="Arial Narrow" pitchFamily="34" charset="0"/>
            </a:endParaRPr>
          </a:p>
          <a:p>
            <a:pPr algn="just"/>
            <a:endParaRPr lang="en-ZA" sz="2700" dirty="0" smtClean="0"/>
          </a:p>
        </p:txBody>
      </p:sp>
    </p:spTree>
    <p:extLst>
      <p:ext uri="{BB962C8B-B14F-4D97-AF65-F5344CB8AC3E}">
        <p14:creationId xmlns:p14="http://schemas.microsoft.com/office/powerpoint/2010/main" val="81731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509953"/>
            <a:ext cx="8546123" cy="772582"/>
          </a:xfrm>
        </p:spPr>
        <p:txBody>
          <a:bodyPr>
            <a:normAutofit/>
          </a:bodyPr>
          <a:lstStyle/>
          <a:p>
            <a:r>
              <a:rPr lang="en-ZA" sz="2400" b="1" dirty="0" smtClean="0">
                <a:latin typeface="Lucida Sans Unicode" panose="020B0602030504020204" pitchFamily="34" charset="0"/>
                <a:cs typeface="Lucida Sans Unicode" panose="020B0602030504020204" pitchFamily="34" charset="0"/>
              </a:rPr>
              <a:t>Local Communities  </a:t>
            </a:r>
            <a:endParaRPr lang="en-ZA" sz="2400" b="1" dirty="0"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40677" y="1282535"/>
            <a:ext cx="8862646" cy="5575465"/>
          </a:xfrm>
        </p:spPr>
        <p:txBody>
          <a:bodyPr>
            <a:normAutofit/>
          </a:bodyPr>
          <a:lstStyle/>
          <a:p>
            <a:r>
              <a:rPr lang="en-GB" dirty="0" smtClean="0">
                <a:solidFill>
                  <a:prstClr val="black"/>
                </a:solidFill>
                <a:latin typeface="Arial Narrow" pitchFamily="34" charset="0"/>
              </a:rPr>
              <a:t>CPAs and Traditional Councils should stop fighting but instead ensure optimal production of the land</a:t>
            </a:r>
          </a:p>
          <a:p>
            <a:r>
              <a:rPr lang="en-GB" dirty="0" smtClean="0">
                <a:solidFill>
                  <a:prstClr val="black"/>
                </a:solidFill>
                <a:latin typeface="Arial Narrow" pitchFamily="34" charset="0"/>
              </a:rPr>
              <a:t>CPAs and Traditional Councils to focus on governance issues and allow entrepreneurs amongst themselves to do business</a:t>
            </a:r>
          </a:p>
          <a:p>
            <a:r>
              <a:rPr lang="en-GB" dirty="0" smtClean="0">
                <a:solidFill>
                  <a:prstClr val="black"/>
                </a:solidFill>
                <a:latin typeface="Arial Narrow" pitchFamily="34" charset="0"/>
              </a:rPr>
              <a:t>Diversify their land for a whole range of business opportunities (game breeding, wildlife estates, lodges, game viewing etc.)</a:t>
            </a:r>
          </a:p>
          <a:p>
            <a:r>
              <a:rPr lang="en-GB" dirty="0" smtClean="0">
                <a:solidFill>
                  <a:prstClr val="black"/>
                </a:solidFill>
                <a:latin typeface="Arial Narrow" pitchFamily="34" charset="0"/>
              </a:rPr>
              <a:t>Dedicate their children for business skills training.</a:t>
            </a:r>
          </a:p>
          <a:p>
            <a:pPr marL="0" indent="0">
              <a:buNone/>
            </a:pPr>
            <a:endParaRPr lang="en-GB" sz="2800" dirty="0" smtClean="0">
              <a:solidFill>
                <a:prstClr val="black"/>
              </a:solidFill>
              <a:latin typeface="Arial Narrow" pitchFamily="34" charset="0"/>
            </a:endParaRPr>
          </a:p>
          <a:p>
            <a:pPr marL="0" lvl="0" indent="0">
              <a:buNone/>
            </a:pPr>
            <a:endParaRPr lang="en-GB" sz="2200" dirty="0">
              <a:solidFill>
                <a:prstClr val="black"/>
              </a:solidFill>
              <a:latin typeface="Arial Narrow" pitchFamily="34" charset="0"/>
            </a:endParaRPr>
          </a:p>
          <a:p>
            <a:pPr marL="0" lvl="0" indent="0">
              <a:buNone/>
            </a:pPr>
            <a:endParaRPr lang="en-GB" sz="2200" dirty="0">
              <a:solidFill>
                <a:prstClr val="black"/>
              </a:solidFill>
              <a:latin typeface="Arial Narrow" pitchFamily="34" charset="0"/>
            </a:endParaRPr>
          </a:p>
          <a:p>
            <a:pPr marL="0" lvl="0" indent="0">
              <a:buNone/>
            </a:pPr>
            <a:endParaRPr lang="en-GB" sz="2200" dirty="0">
              <a:solidFill>
                <a:prstClr val="black"/>
              </a:solidFill>
              <a:latin typeface="Arial Narrow" pitchFamily="34" charset="0"/>
            </a:endParaRPr>
          </a:p>
          <a:p>
            <a:pPr algn="just"/>
            <a:endParaRPr lang="en-ZA" sz="2700" dirty="0" smtClean="0"/>
          </a:p>
        </p:txBody>
      </p:sp>
    </p:spTree>
    <p:extLst>
      <p:ext uri="{BB962C8B-B14F-4D97-AF65-F5344CB8AC3E}">
        <p14:creationId xmlns:p14="http://schemas.microsoft.com/office/powerpoint/2010/main" val="920117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677" y="509953"/>
            <a:ext cx="8546123" cy="772582"/>
          </a:xfrm>
        </p:spPr>
        <p:txBody>
          <a:bodyPr>
            <a:normAutofit/>
          </a:bodyPr>
          <a:lstStyle/>
          <a:p>
            <a:r>
              <a:rPr lang="en-ZA" sz="2400" b="1" dirty="0" smtClean="0">
                <a:latin typeface="Lucida Sans Unicode" panose="020B0602030504020204" pitchFamily="34" charset="0"/>
                <a:cs typeface="Lucida Sans Unicode" panose="020B0602030504020204" pitchFamily="34" charset="0"/>
              </a:rPr>
              <a:t>BIODIVERSITY ECONOMY INDABA (BEI) </a:t>
            </a:r>
            <a:endParaRPr lang="en-ZA" sz="2400" b="1" dirty="0"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40677" y="1282535"/>
            <a:ext cx="8862646" cy="5575465"/>
          </a:xfrm>
        </p:spPr>
        <p:txBody>
          <a:bodyPr>
            <a:normAutofit fontScale="47500" lnSpcReduction="20000"/>
          </a:bodyPr>
          <a:lstStyle/>
          <a:p>
            <a:pPr>
              <a:buFont typeface="Courier New" panose="02070309020205020404" pitchFamily="49" charset="0"/>
              <a:buChar char="o"/>
            </a:pPr>
            <a:r>
              <a:rPr lang="en-US" altLang="en-US" sz="3600" dirty="0"/>
              <a:t>To pitch the BEI as a Premier African Biodiversity Economy Trade and Investment  platform</a:t>
            </a:r>
            <a:r>
              <a:rPr lang="en-US" altLang="en-US" sz="3600" dirty="0" smtClean="0"/>
              <a:t>,</a:t>
            </a:r>
          </a:p>
          <a:p>
            <a:pPr marL="0" indent="0">
              <a:buNone/>
            </a:pPr>
            <a:endParaRPr lang="en-ZA" altLang="en-US" sz="3600" dirty="0"/>
          </a:p>
          <a:p>
            <a:pPr>
              <a:buFont typeface="Courier New" panose="02070309020205020404" pitchFamily="49" charset="0"/>
              <a:buChar char="o"/>
            </a:pPr>
            <a:r>
              <a:rPr lang="en-US" altLang="en-US" sz="3600" dirty="0"/>
              <a:t>To stage the BEI as a unique platform to match the lucrative international wildlife and bioprospecting/biotrade markets with owners, custodians and stock holders of wildlife and genetic resources  in South Africa and Africa-(bringing the market to Africa</a:t>
            </a:r>
            <a:r>
              <a:rPr lang="en-US" altLang="en-US" sz="3600" dirty="0" smtClean="0"/>
              <a:t>!)</a:t>
            </a:r>
          </a:p>
          <a:p>
            <a:pPr marL="0" indent="0">
              <a:buNone/>
            </a:pPr>
            <a:endParaRPr lang="en-US" altLang="en-US" sz="3600" dirty="0"/>
          </a:p>
          <a:p>
            <a:pPr>
              <a:buFont typeface="Courier New" panose="02070309020205020404" pitchFamily="49" charset="0"/>
              <a:buChar char="o"/>
            </a:pPr>
            <a:r>
              <a:rPr lang="en-US" altLang="en-US" sz="3600" dirty="0"/>
              <a:t>To optimize the BEI as a platform to accelerate inclusive growth, transformation and sustainable development within the wildlife and bioprospecting/trade </a:t>
            </a:r>
            <a:r>
              <a:rPr lang="en-US" altLang="en-US" sz="3600" dirty="0" smtClean="0"/>
              <a:t>sector</a:t>
            </a:r>
          </a:p>
          <a:p>
            <a:pPr marL="0" indent="0">
              <a:buNone/>
            </a:pPr>
            <a:endParaRPr lang="en-US" altLang="en-US" sz="3600" dirty="0" smtClean="0"/>
          </a:p>
          <a:p>
            <a:pPr>
              <a:buFont typeface="Courier New" panose="02070309020205020404" pitchFamily="49" charset="0"/>
              <a:buChar char="o"/>
            </a:pPr>
            <a:r>
              <a:rPr lang="en-US" altLang="en-US" sz="3600" dirty="0" smtClean="0"/>
              <a:t>Catalyst for accelerating the economy </a:t>
            </a:r>
            <a:r>
              <a:rPr lang="en-US" altLang="en-US" sz="3600" dirty="0"/>
              <a:t>of the town/city </a:t>
            </a:r>
            <a:r>
              <a:rPr lang="en-US" altLang="en-US" sz="3600" dirty="0" smtClean="0"/>
              <a:t>area </a:t>
            </a:r>
            <a:r>
              <a:rPr lang="en-US" altLang="en-US" sz="3600" dirty="0"/>
              <a:t>where it is hosted.  </a:t>
            </a:r>
            <a:endParaRPr lang="en-US" altLang="en-US" sz="3600" dirty="0" smtClean="0"/>
          </a:p>
          <a:p>
            <a:pPr marL="0" indent="0">
              <a:buNone/>
            </a:pPr>
            <a:endParaRPr lang="en-ZA" altLang="en-US" sz="3600" dirty="0"/>
          </a:p>
          <a:p>
            <a:pPr>
              <a:buFont typeface="Courier New" panose="02070309020205020404" pitchFamily="49" charset="0"/>
              <a:buChar char="o"/>
            </a:pPr>
            <a:r>
              <a:rPr lang="en-US" altLang="en-US" sz="3600" dirty="0"/>
              <a:t>To utilise BEI as  a platform for regional dialogue/negotiations and cooperation on biodiversity economy and management issues and crafting the regional position on such issues </a:t>
            </a:r>
            <a:endParaRPr lang="en-US" altLang="en-US" sz="3600" dirty="0" smtClean="0"/>
          </a:p>
          <a:p>
            <a:pPr marL="0" indent="0">
              <a:buNone/>
            </a:pPr>
            <a:endParaRPr lang="en-ZA" altLang="en-US" sz="3600" dirty="0"/>
          </a:p>
          <a:p>
            <a:pPr>
              <a:buFont typeface="Courier New" panose="02070309020205020404" pitchFamily="49" charset="0"/>
              <a:buChar char="o"/>
            </a:pPr>
            <a:r>
              <a:rPr lang="en-US" altLang="en-US" sz="3600" dirty="0"/>
              <a:t>To create awareness of wildlife and bioprospecting/trade beneficiation through conservation and localization of </a:t>
            </a:r>
            <a:r>
              <a:rPr lang="en-US" altLang="en-US" sz="3600" dirty="0" smtClean="0"/>
              <a:t>industries</a:t>
            </a:r>
          </a:p>
          <a:p>
            <a:pPr marL="0" indent="0">
              <a:buNone/>
            </a:pPr>
            <a:endParaRPr lang="en-US" altLang="en-US" sz="3600" dirty="0"/>
          </a:p>
          <a:p>
            <a:pPr>
              <a:buFont typeface="Courier New" panose="02070309020205020404" pitchFamily="49" charset="0"/>
              <a:buChar char="o"/>
            </a:pPr>
            <a:r>
              <a:rPr lang="en-US" altLang="en-US" sz="3600" dirty="0"/>
              <a:t> To host the BEI as an annual event, incorporating aspects exhibitions, dialogue/conference, trade and investment and launching pad for new initiatives within the biodiversity economy sector </a:t>
            </a:r>
            <a:endParaRPr lang="en-US" altLang="en-US" sz="3600" dirty="0" smtClean="0"/>
          </a:p>
          <a:p>
            <a:pPr marL="0" indent="0">
              <a:buNone/>
            </a:pPr>
            <a:endParaRPr lang="en-US" altLang="en-US" sz="3600" dirty="0" smtClean="0"/>
          </a:p>
          <a:p>
            <a:pPr>
              <a:buFont typeface="Courier New" panose="02070309020205020404" pitchFamily="49" charset="0"/>
              <a:buChar char="o"/>
            </a:pPr>
            <a:r>
              <a:rPr lang="en-US" altLang="en-US" sz="3600" dirty="0" smtClean="0"/>
              <a:t>Possibility of finding a permeant home for the BEI, pull resources for it and brand it </a:t>
            </a:r>
            <a:endParaRPr lang="en-US" altLang="en-US" sz="3600" dirty="0"/>
          </a:p>
          <a:p>
            <a:pPr marL="0" indent="0">
              <a:buNone/>
            </a:pPr>
            <a:endParaRPr lang="en-GB" sz="2800" dirty="0">
              <a:solidFill>
                <a:prstClr val="black"/>
              </a:solidFill>
              <a:latin typeface="Arial Narrow" pitchFamily="34" charset="0"/>
            </a:endParaRPr>
          </a:p>
          <a:p>
            <a:pPr marL="0" lvl="0" indent="0">
              <a:buNone/>
            </a:pPr>
            <a:endParaRPr lang="en-GB" sz="2200" dirty="0">
              <a:solidFill>
                <a:prstClr val="black"/>
              </a:solidFill>
              <a:latin typeface="Arial Narrow" pitchFamily="34" charset="0"/>
            </a:endParaRPr>
          </a:p>
          <a:p>
            <a:pPr marL="0" lvl="0" indent="0">
              <a:buNone/>
            </a:pPr>
            <a:endParaRPr lang="en-GB" sz="2200" dirty="0">
              <a:solidFill>
                <a:prstClr val="black"/>
              </a:solidFill>
              <a:latin typeface="Arial Narrow" pitchFamily="34" charset="0"/>
            </a:endParaRPr>
          </a:p>
          <a:p>
            <a:pPr marL="0" lvl="0" indent="0">
              <a:buNone/>
            </a:pPr>
            <a:endParaRPr lang="en-GB" sz="2200" dirty="0">
              <a:solidFill>
                <a:prstClr val="black"/>
              </a:solidFill>
              <a:latin typeface="Arial Narrow" pitchFamily="34" charset="0"/>
            </a:endParaRPr>
          </a:p>
          <a:p>
            <a:pPr algn="just"/>
            <a:endParaRPr lang="en-ZA" sz="2700" dirty="0" smtClean="0"/>
          </a:p>
        </p:txBody>
      </p:sp>
    </p:spTree>
    <p:extLst>
      <p:ext uri="{BB962C8B-B14F-4D97-AF65-F5344CB8AC3E}">
        <p14:creationId xmlns:p14="http://schemas.microsoft.com/office/powerpoint/2010/main" val="2759066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9026"/>
            <a:ext cx="8229600" cy="530087"/>
          </a:xfrm>
          <a:solidFill>
            <a:srgbClr val="006600"/>
          </a:solidFill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en-US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</a:rPr>
              <a:t>POLICY OBJECTIVES FOR NEMBA CHAPTER 6 AMENDMENT</a:t>
            </a:r>
            <a:endParaRPr lang="en-US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/>
          </p:nvPr>
        </p:nvGraphicFramePr>
        <p:xfrm>
          <a:off x="457200" y="689114"/>
          <a:ext cx="8229600" cy="54598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779441" y="6541984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012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136" y="2777224"/>
            <a:ext cx="8487462" cy="1169623"/>
          </a:xfrm>
        </p:spPr>
        <p:txBody>
          <a:bodyPr/>
          <a:lstStyle/>
          <a:p>
            <a:pPr algn="ctr"/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551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ww.thegamechanger.co.za</a:t>
            </a:r>
            <a:endParaRPr lang="en-US" sz="5510" dirty="0"/>
          </a:p>
        </p:txBody>
      </p:sp>
    </p:spTree>
    <p:extLst>
      <p:ext uri="{BB962C8B-B14F-4D97-AF65-F5344CB8AC3E}">
        <p14:creationId xmlns:p14="http://schemas.microsoft.com/office/powerpoint/2010/main" val="1977164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593F1-E076-4B2E-B9A1-6FDDCBBEF42F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9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4" name="Picture 3" descr="C:\Users\XMkefe\AppData\Local\Temp\Biodiversity Econom#160F1E1[1]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" y="1"/>
            <a:ext cx="9143461" cy="6858000"/>
          </a:xfrm>
          <a:prstGeom prst="rect">
            <a:avLst/>
          </a:prstGeom>
          <a:noFill/>
          <a:extLst/>
        </p:spPr>
      </p:pic>
    </p:spTree>
    <p:extLst>
      <p:ext uri="{BB962C8B-B14F-4D97-AF65-F5344CB8AC3E}">
        <p14:creationId xmlns:p14="http://schemas.microsoft.com/office/powerpoint/2010/main" val="690996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09954"/>
            <a:ext cx="8229600" cy="685800"/>
          </a:xfrm>
        </p:spPr>
        <p:txBody>
          <a:bodyPr>
            <a:normAutofit/>
          </a:bodyPr>
          <a:lstStyle/>
          <a:p>
            <a:r>
              <a:rPr lang="en-ZA" sz="3600" b="1" dirty="0" smtClean="0">
                <a:latin typeface="Lucida Sans Unicode" panose="020B0602030504020204" pitchFamily="34" charset="0"/>
                <a:cs typeface="Lucida Sans Unicode" panose="020B0602030504020204" pitchFamily="34" charset="0"/>
              </a:rPr>
              <a:t>Mandate</a:t>
            </a:r>
            <a:endParaRPr lang="en-ZA" sz="3600" b="1" dirty="0"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40677" y="1282535"/>
            <a:ext cx="8862646" cy="5363925"/>
          </a:xfrm>
        </p:spPr>
        <p:txBody>
          <a:bodyPr>
            <a:noAutofit/>
          </a:bodyPr>
          <a:lstStyle/>
          <a:p>
            <a:pPr marL="0" indent="0">
              <a:buNone/>
              <a:defRPr/>
            </a:pPr>
            <a:r>
              <a:rPr lang="en-US" dirty="0" smtClean="0"/>
              <a:t>The Department of Environmental Affairs </a:t>
            </a:r>
            <a:r>
              <a:rPr lang="en-US" dirty="0"/>
              <a:t>draws its Mandate from Section 24 of the South African Constitution which </a:t>
            </a:r>
            <a:r>
              <a:rPr lang="en-US" b="1" dirty="0"/>
              <a:t>protects the environment for the present and future generations through measures that conserve, protect and advance the sustainable utilization of South Africa’s Terrestrial and Marine Biodiversity; regulation of environmental impacts on soil, water &amp; air; and the promotion and encouragement of sustainable Development through various mechanisms including advocacy. </a:t>
            </a:r>
          </a:p>
        </p:txBody>
      </p:sp>
    </p:spTree>
    <p:extLst>
      <p:ext uri="{BB962C8B-B14F-4D97-AF65-F5344CB8AC3E}">
        <p14:creationId xmlns:p14="http://schemas.microsoft.com/office/powerpoint/2010/main" val="3692671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2" name="Picture 2" descr="F6B1AC5C-3287-4AA5-96FF-4B83C5D6C77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" y="203"/>
            <a:ext cx="9143461" cy="6863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04268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624" y="3930554"/>
            <a:ext cx="7322737" cy="1934031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b="1" dirty="0" smtClean="0"/>
              <a:t>Mr Khorommbi Matibe </a:t>
            </a:r>
          </a:p>
          <a:p>
            <a:pPr marL="0" indent="0">
              <a:buNone/>
            </a:pPr>
            <a:r>
              <a:rPr lang="en-US" sz="2400" b="1" dirty="0" smtClean="0"/>
              <a:t>Chief Director: Biodiversity Economy &amp; Sustainable Use </a:t>
            </a:r>
          </a:p>
          <a:p>
            <a:pPr marL="0" indent="0">
              <a:buNone/>
            </a:pPr>
            <a:r>
              <a:rPr lang="en-US" sz="2400" dirty="0" smtClean="0"/>
              <a:t>Department of Environmental Affairs</a:t>
            </a:r>
          </a:p>
          <a:p>
            <a:pPr marL="0" indent="0">
              <a:buNone/>
            </a:pPr>
            <a:r>
              <a:rPr lang="en-US" sz="2400" dirty="0" smtClean="0"/>
              <a:t>012 399 8621/082 566 4257</a:t>
            </a:r>
          </a:p>
          <a:p>
            <a:pPr marL="0" indent="0">
              <a:buNone/>
            </a:pPr>
            <a:r>
              <a:rPr lang="en-US" sz="2400" dirty="0" smtClean="0"/>
              <a:t>kmatibe@environment.gov.za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4032904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09954"/>
            <a:ext cx="8229600" cy="685800"/>
          </a:xfrm>
        </p:spPr>
        <p:txBody>
          <a:bodyPr>
            <a:normAutofit/>
          </a:bodyPr>
          <a:lstStyle/>
          <a:p>
            <a:r>
              <a:rPr lang="en-ZA" sz="3600" b="1" dirty="0" smtClean="0">
                <a:latin typeface="Lucida Sans Unicode" panose="020B0602030504020204" pitchFamily="34" charset="0"/>
                <a:cs typeface="Lucida Sans Unicode" panose="020B0602030504020204" pitchFamily="34" charset="0"/>
              </a:rPr>
              <a:t>Vision </a:t>
            </a:r>
            <a:endParaRPr lang="en-ZA" sz="3600" b="1" dirty="0"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40677" y="1282535"/>
            <a:ext cx="8862646" cy="4996029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2400" dirty="0" smtClean="0"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marL="0" indent="0" algn="ctr">
              <a:buNone/>
              <a:defRPr/>
            </a:pPr>
            <a:endParaRPr lang="en-US" dirty="0" smtClean="0"/>
          </a:p>
          <a:p>
            <a:pPr marL="0" indent="0" algn="ctr">
              <a:buNone/>
              <a:defRPr/>
            </a:pPr>
            <a:endParaRPr lang="en-US" dirty="0"/>
          </a:p>
          <a:p>
            <a:pPr marL="0" indent="0" algn="ctr">
              <a:buNone/>
              <a:defRPr/>
            </a:pPr>
            <a:r>
              <a:rPr lang="en-US" b="1" dirty="0" smtClean="0"/>
              <a:t>A prosperous </a:t>
            </a:r>
            <a:r>
              <a:rPr lang="en-US" b="1" dirty="0"/>
              <a:t>and equitable society living in harmony with its natural resources. </a:t>
            </a:r>
            <a:r>
              <a:rPr lang="en-US" b="1" dirty="0" smtClean="0"/>
              <a:t>   </a:t>
            </a:r>
            <a:endParaRPr lang="en-ZA" b="1" dirty="0"/>
          </a:p>
        </p:txBody>
      </p:sp>
    </p:spTree>
    <p:extLst>
      <p:ext uri="{BB962C8B-B14F-4D97-AF65-F5344CB8AC3E}">
        <p14:creationId xmlns:p14="http://schemas.microsoft.com/office/powerpoint/2010/main" val="1135916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09954"/>
            <a:ext cx="8229600" cy="685800"/>
          </a:xfrm>
        </p:spPr>
        <p:txBody>
          <a:bodyPr>
            <a:normAutofit/>
          </a:bodyPr>
          <a:lstStyle/>
          <a:p>
            <a:r>
              <a:rPr lang="en-ZA" sz="3600" b="1" dirty="0" smtClean="0">
                <a:latin typeface="Lucida Sans Unicode" panose="020B0602030504020204" pitchFamily="34" charset="0"/>
                <a:cs typeface="Lucida Sans Unicode" panose="020B0602030504020204" pitchFamily="34" charset="0"/>
              </a:rPr>
              <a:t>Mission </a:t>
            </a:r>
            <a:endParaRPr lang="en-ZA" sz="3600" b="1" dirty="0"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40677" y="1282535"/>
            <a:ext cx="8862646" cy="4996029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endParaRPr lang="en-US" sz="2400" dirty="0" smtClean="0"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marL="0" indent="0" algn="just">
              <a:buNone/>
              <a:defRPr/>
            </a:pPr>
            <a:r>
              <a:rPr lang="en-US" dirty="0"/>
              <a:t>Inspired by its conviction to transform the environmental sector within the context of a developmental state – which focuses on </a:t>
            </a:r>
            <a:r>
              <a:rPr lang="en-GB" dirty="0"/>
              <a:t>facilitating and supporting the planning and sustainable growth of economic activity in green sectors,  </a:t>
            </a:r>
            <a:endParaRPr lang="en-US" dirty="0"/>
          </a:p>
          <a:p>
            <a:pPr marL="0" indent="0" algn="just">
              <a:buNone/>
              <a:defRPr/>
            </a:pPr>
            <a:r>
              <a:rPr lang="en-US" b="1" dirty="0" smtClean="0"/>
              <a:t>DEA’s mission is to </a:t>
            </a:r>
            <a:r>
              <a:rPr lang="en-US" b="1" dirty="0"/>
              <a:t>provide leadership in environmental management, conservation and protection towards sustainability for the benefit of </a:t>
            </a:r>
            <a:r>
              <a:rPr lang="en-US" b="1" dirty="0" smtClean="0"/>
              <a:t>South </a:t>
            </a:r>
            <a:r>
              <a:rPr lang="en-US" b="1" dirty="0"/>
              <a:t>Africans and the global </a:t>
            </a:r>
            <a:r>
              <a:rPr lang="en-US" b="1" dirty="0" smtClean="0"/>
              <a:t>community   </a:t>
            </a:r>
            <a:endParaRPr lang="en-ZA" b="1" dirty="0"/>
          </a:p>
        </p:txBody>
      </p:sp>
    </p:spTree>
    <p:extLst>
      <p:ext uri="{BB962C8B-B14F-4D97-AF65-F5344CB8AC3E}">
        <p14:creationId xmlns:p14="http://schemas.microsoft.com/office/powerpoint/2010/main" val="2471360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9" name="think-cell Slide" r:id="rId180" imgW="347" imgH="346" progId="TCLayout.ActiveDocument.1">
                  <p:embed/>
                </p:oleObj>
              </mc:Choice>
              <mc:Fallback>
                <p:oleObj name="think-cell Slide" r:id="rId180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1"/>
                      <a:stretch>
                        <a:fillRect/>
                      </a:stretch>
                    </p:blipFill>
                    <p:spPr>
                      <a:xfrm>
                        <a:off x="1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0" name="Title 1"/>
          <p:cNvSpPr txBox="1">
            <a:spLocks/>
          </p:cNvSpPr>
          <p:nvPr/>
        </p:nvSpPr>
        <p:spPr bwMode="auto">
          <a:xfrm>
            <a:off x="271" y="1"/>
            <a:ext cx="9143460" cy="647904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</a:ex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895255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46" algn="l"/>
              </a:tabLst>
              <a:defRPr sz="1900" b="1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457151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914303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1371454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1828607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ZA" sz="2245" kern="0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70" y="641420"/>
            <a:ext cx="9143461" cy="560755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22225" algn="ctr">
            <a:solidFill>
              <a:srgbClr val="D0CBBE"/>
            </a:solidFill>
            <a:miter lim="800000"/>
            <a:headEnd/>
            <a:tailEnd/>
          </a:ln>
          <a:effectLst/>
        </p:spPr>
        <p:txBody>
          <a:bodyPr vert="horz" wrap="square" lIns="93297" tIns="46649" rIns="93297" bIns="46649" numCol="1" rtlCol="0" anchor="t" anchorCtr="0" compatLnSpc="1">
            <a:prstTxWarp prst="textNoShape">
              <a:avLst/>
            </a:prstTxWarp>
          </a:bodyPr>
          <a:lstStyle/>
          <a:p>
            <a:pPr algn="ctr" defTabSz="932962"/>
            <a:endParaRPr lang="en-US" sz="1837" kern="0" dirty="0">
              <a:solidFill>
                <a:srgbClr val="4D4D4D"/>
              </a:solidFill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 rot="5400000">
            <a:off x="-265602" y="907293"/>
            <a:ext cx="5607559" cy="5075818"/>
          </a:xfrm>
          <a:custGeom>
            <a:avLst/>
            <a:gdLst>
              <a:gd name="connsiteX0" fmla="*/ 0 w 5495925"/>
              <a:gd name="connsiteY0" fmla="*/ 0 h 6962775"/>
              <a:gd name="connsiteX1" fmla="*/ 5495925 w 5495925"/>
              <a:gd name="connsiteY1" fmla="*/ 0 h 6962775"/>
              <a:gd name="connsiteX2" fmla="*/ 5495925 w 5495925"/>
              <a:gd name="connsiteY2" fmla="*/ 6962775 h 6962775"/>
              <a:gd name="connsiteX3" fmla="*/ 0 w 5495925"/>
              <a:gd name="connsiteY3" fmla="*/ 6962775 h 6962775"/>
              <a:gd name="connsiteX4" fmla="*/ 0 w 5495925"/>
              <a:gd name="connsiteY4" fmla="*/ 0 h 6962775"/>
              <a:gd name="connsiteX0" fmla="*/ 0 w 5495925"/>
              <a:gd name="connsiteY0" fmla="*/ 0 h 6962775"/>
              <a:gd name="connsiteX1" fmla="*/ 5495925 w 5495925"/>
              <a:gd name="connsiteY1" fmla="*/ 0 h 6962775"/>
              <a:gd name="connsiteX2" fmla="*/ 5486400 w 5495925"/>
              <a:gd name="connsiteY2" fmla="*/ 1543050 h 6962775"/>
              <a:gd name="connsiteX3" fmla="*/ 5495925 w 5495925"/>
              <a:gd name="connsiteY3" fmla="*/ 6962775 h 6962775"/>
              <a:gd name="connsiteX4" fmla="*/ 0 w 5495925"/>
              <a:gd name="connsiteY4" fmla="*/ 6962775 h 6962775"/>
              <a:gd name="connsiteX5" fmla="*/ 0 w 5495925"/>
              <a:gd name="connsiteY5" fmla="*/ 0 h 6962775"/>
              <a:gd name="connsiteX0" fmla="*/ 0 w 5495925"/>
              <a:gd name="connsiteY0" fmla="*/ 0 h 6962775"/>
              <a:gd name="connsiteX1" fmla="*/ 5486400 w 5495925"/>
              <a:gd name="connsiteY1" fmla="*/ 1543050 h 6962775"/>
              <a:gd name="connsiteX2" fmla="*/ 5495925 w 5495925"/>
              <a:gd name="connsiteY2" fmla="*/ 6962775 h 6962775"/>
              <a:gd name="connsiteX3" fmla="*/ 0 w 5495925"/>
              <a:gd name="connsiteY3" fmla="*/ 6962775 h 6962775"/>
              <a:gd name="connsiteX4" fmla="*/ 0 w 5495925"/>
              <a:gd name="connsiteY4" fmla="*/ 0 h 6962775"/>
              <a:gd name="connsiteX0" fmla="*/ 0 w 5495928"/>
              <a:gd name="connsiteY0" fmla="*/ 0 h 6962775"/>
              <a:gd name="connsiteX1" fmla="*/ 5495928 w 5495928"/>
              <a:gd name="connsiteY1" fmla="*/ 1543049 h 6962775"/>
              <a:gd name="connsiteX2" fmla="*/ 5495925 w 5495928"/>
              <a:gd name="connsiteY2" fmla="*/ 6962775 h 6962775"/>
              <a:gd name="connsiteX3" fmla="*/ 0 w 5495928"/>
              <a:gd name="connsiteY3" fmla="*/ 6962775 h 6962775"/>
              <a:gd name="connsiteX4" fmla="*/ 0 w 5495928"/>
              <a:gd name="connsiteY4" fmla="*/ 0 h 6962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95928" h="6962775">
                <a:moveTo>
                  <a:pt x="0" y="0"/>
                </a:moveTo>
                <a:lnTo>
                  <a:pt x="5495928" y="1543049"/>
                </a:lnTo>
                <a:cubicBezTo>
                  <a:pt x="5495927" y="3349624"/>
                  <a:pt x="5495926" y="5156200"/>
                  <a:pt x="5495925" y="6962775"/>
                </a:cubicBezTo>
                <a:lnTo>
                  <a:pt x="0" y="69627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</a:ln>
          <a:effectLst>
            <a:outerShdw blurRad="304800" dist="38100" sx="98000" sy="980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outh Africa is the 3rd most biodiverse country in the world</a:t>
            </a:r>
            <a:endParaRPr lang="en-ZA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693859" y="4828927"/>
            <a:ext cx="2926153" cy="1025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 algn="ctr"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  <a:buFont typeface="Arial" charset="0"/>
              <a:buNone/>
            </a:pPr>
            <a:r>
              <a:rPr lang="en-US" sz="3673" b="1" dirty="0">
                <a:solidFill>
                  <a:srgbClr val="0B4623"/>
                </a:solidFill>
              </a:rPr>
              <a:t>2% </a:t>
            </a:r>
            <a:r>
              <a:rPr lang="en-US" sz="2857" dirty="0">
                <a:solidFill>
                  <a:srgbClr val="0B4623"/>
                </a:solidFill>
              </a:rPr>
              <a:t>of the </a:t>
            </a:r>
            <a:br>
              <a:rPr lang="en-US" sz="2857" dirty="0">
                <a:solidFill>
                  <a:srgbClr val="0B4623"/>
                </a:solidFill>
              </a:rPr>
            </a:br>
            <a:r>
              <a:rPr lang="en-US" sz="2857" dirty="0">
                <a:solidFill>
                  <a:srgbClr val="0B4623"/>
                </a:solidFill>
              </a:rPr>
              <a:t>world’s land area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613231" y="3082589"/>
            <a:ext cx="1984265" cy="961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 algn="ctr"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  <a:buFont typeface="Arial" charset="0"/>
              <a:buNone/>
            </a:pPr>
            <a:r>
              <a:rPr lang="en-ZA" sz="3673" b="1" dirty="0">
                <a:solidFill>
                  <a:srgbClr val="0B4623"/>
                </a:solidFill>
              </a:rPr>
              <a:t>10% </a:t>
            </a:r>
            <a:r>
              <a:rPr lang="en-ZA" sz="2449" dirty="0">
                <a:solidFill>
                  <a:srgbClr val="0B4623"/>
                </a:solidFill>
              </a:rPr>
              <a:t>of the </a:t>
            </a:r>
            <a:br>
              <a:rPr lang="en-ZA" sz="2449" dirty="0">
                <a:solidFill>
                  <a:srgbClr val="0B4623"/>
                </a:solidFill>
              </a:rPr>
            </a:br>
            <a:r>
              <a:rPr lang="en-ZA" sz="2449" dirty="0">
                <a:solidFill>
                  <a:srgbClr val="0B4623"/>
                </a:solidFill>
              </a:rPr>
              <a:t>world’s plants</a:t>
            </a:r>
            <a:endParaRPr lang="en-US" sz="2857" dirty="0">
              <a:solidFill>
                <a:srgbClr val="0B4623"/>
              </a:solidFill>
            </a:endParaRPr>
          </a:p>
        </p:txBody>
      </p:sp>
      <p:grpSp>
        <p:nvGrpSpPr>
          <p:cNvPr id="5" name="Group 4"/>
          <p:cNvGrpSpPr>
            <a:grpSpLocks noChangeAspect="1"/>
          </p:cNvGrpSpPr>
          <p:nvPr/>
        </p:nvGrpSpPr>
        <p:grpSpPr>
          <a:xfrm>
            <a:off x="207117" y="1170989"/>
            <a:ext cx="3884061" cy="2774714"/>
            <a:chOff x="151209" y="795808"/>
            <a:chExt cx="5341971" cy="3816224"/>
          </a:xfrm>
        </p:grpSpPr>
        <p:sp>
          <p:nvSpPr>
            <p:cNvPr id="30" name="Freeform 930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939023" y="2823940"/>
              <a:ext cx="158680" cy="234053"/>
            </a:xfrm>
            <a:custGeom>
              <a:avLst/>
              <a:gdLst>
                <a:gd name="T0" fmla="*/ 140 w 160"/>
                <a:gd name="T1" fmla="*/ 182 h 236"/>
                <a:gd name="T2" fmla="*/ 137 w 160"/>
                <a:gd name="T3" fmla="*/ 164 h 236"/>
                <a:gd name="T4" fmla="*/ 131 w 160"/>
                <a:gd name="T5" fmla="*/ 154 h 236"/>
                <a:gd name="T6" fmla="*/ 137 w 160"/>
                <a:gd name="T7" fmla="*/ 136 h 236"/>
                <a:gd name="T8" fmla="*/ 158 w 160"/>
                <a:gd name="T9" fmla="*/ 106 h 236"/>
                <a:gd name="T10" fmla="*/ 158 w 160"/>
                <a:gd name="T11" fmla="*/ 63 h 236"/>
                <a:gd name="T12" fmla="*/ 143 w 160"/>
                <a:gd name="T13" fmla="*/ 49 h 236"/>
                <a:gd name="T14" fmla="*/ 125 w 160"/>
                <a:gd name="T15" fmla="*/ 39 h 236"/>
                <a:gd name="T16" fmla="*/ 107 w 160"/>
                <a:gd name="T17" fmla="*/ 30 h 236"/>
                <a:gd name="T18" fmla="*/ 92 w 160"/>
                <a:gd name="T19" fmla="*/ 26 h 236"/>
                <a:gd name="T20" fmla="*/ 77 w 160"/>
                <a:gd name="T21" fmla="*/ 8 h 236"/>
                <a:gd name="T22" fmla="*/ 65 w 160"/>
                <a:gd name="T23" fmla="*/ 7 h 236"/>
                <a:gd name="T24" fmla="*/ 50 w 160"/>
                <a:gd name="T25" fmla="*/ 4 h 236"/>
                <a:gd name="T26" fmla="*/ 26 w 160"/>
                <a:gd name="T27" fmla="*/ 2 h 236"/>
                <a:gd name="T28" fmla="*/ 31 w 160"/>
                <a:gd name="T29" fmla="*/ 17 h 236"/>
                <a:gd name="T30" fmla="*/ 40 w 160"/>
                <a:gd name="T31" fmla="*/ 51 h 236"/>
                <a:gd name="T32" fmla="*/ 34 w 160"/>
                <a:gd name="T33" fmla="*/ 93 h 236"/>
                <a:gd name="T34" fmla="*/ 21 w 160"/>
                <a:gd name="T35" fmla="*/ 116 h 236"/>
                <a:gd name="T36" fmla="*/ 5 w 160"/>
                <a:gd name="T37" fmla="*/ 131 h 236"/>
                <a:gd name="T38" fmla="*/ 13 w 160"/>
                <a:gd name="T39" fmla="*/ 158 h 236"/>
                <a:gd name="T40" fmla="*/ 28 w 160"/>
                <a:gd name="T41" fmla="*/ 188 h 236"/>
                <a:gd name="T42" fmla="*/ 29 w 160"/>
                <a:gd name="T43" fmla="*/ 197 h 236"/>
                <a:gd name="T44" fmla="*/ 14 w 160"/>
                <a:gd name="T45" fmla="*/ 205 h 236"/>
                <a:gd name="T46" fmla="*/ 26 w 160"/>
                <a:gd name="T47" fmla="*/ 217 h 236"/>
                <a:gd name="T48" fmla="*/ 43 w 160"/>
                <a:gd name="T49" fmla="*/ 232 h 236"/>
                <a:gd name="T50" fmla="*/ 67 w 160"/>
                <a:gd name="T51" fmla="*/ 235 h 236"/>
                <a:gd name="T52" fmla="*/ 83 w 160"/>
                <a:gd name="T53" fmla="*/ 228 h 236"/>
                <a:gd name="T54" fmla="*/ 98 w 160"/>
                <a:gd name="T55" fmla="*/ 214 h 236"/>
                <a:gd name="T56" fmla="*/ 115 w 160"/>
                <a:gd name="T57" fmla="*/ 205 h 236"/>
                <a:gd name="T58" fmla="*/ 121 w 160"/>
                <a:gd name="T59" fmla="*/ 197 h 236"/>
                <a:gd name="T60" fmla="*/ 142 w 160"/>
                <a:gd name="T61" fmla="*/ 185 h 236"/>
                <a:gd name="T62" fmla="*/ 140 w 160"/>
                <a:gd name="T63" fmla="*/ 182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36">
                  <a:moveTo>
                    <a:pt x="140" y="182"/>
                  </a:moveTo>
                  <a:cubicBezTo>
                    <a:pt x="140" y="178"/>
                    <a:pt x="138" y="169"/>
                    <a:pt x="137" y="164"/>
                  </a:cubicBezTo>
                  <a:cubicBezTo>
                    <a:pt x="136" y="159"/>
                    <a:pt x="131" y="159"/>
                    <a:pt x="131" y="154"/>
                  </a:cubicBezTo>
                  <a:cubicBezTo>
                    <a:pt x="133" y="149"/>
                    <a:pt x="137" y="136"/>
                    <a:pt x="137" y="136"/>
                  </a:cubicBezTo>
                  <a:cubicBezTo>
                    <a:pt x="145" y="123"/>
                    <a:pt x="140" y="110"/>
                    <a:pt x="158" y="106"/>
                  </a:cubicBezTo>
                  <a:cubicBezTo>
                    <a:pt x="160" y="93"/>
                    <a:pt x="160" y="72"/>
                    <a:pt x="158" y="63"/>
                  </a:cubicBezTo>
                  <a:cubicBezTo>
                    <a:pt x="156" y="54"/>
                    <a:pt x="148" y="53"/>
                    <a:pt x="143" y="49"/>
                  </a:cubicBezTo>
                  <a:cubicBezTo>
                    <a:pt x="138" y="42"/>
                    <a:pt x="133" y="40"/>
                    <a:pt x="125" y="39"/>
                  </a:cubicBezTo>
                  <a:cubicBezTo>
                    <a:pt x="118" y="36"/>
                    <a:pt x="114" y="31"/>
                    <a:pt x="107" y="30"/>
                  </a:cubicBezTo>
                  <a:cubicBezTo>
                    <a:pt x="103" y="28"/>
                    <a:pt x="99" y="30"/>
                    <a:pt x="92" y="26"/>
                  </a:cubicBezTo>
                  <a:cubicBezTo>
                    <a:pt x="87" y="22"/>
                    <a:pt x="81" y="11"/>
                    <a:pt x="77" y="8"/>
                  </a:cubicBezTo>
                  <a:cubicBezTo>
                    <a:pt x="73" y="5"/>
                    <a:pt x="69" y="8"/>
                    <a:pt x="65" y="7"/>
                  </a:cubicBezTo>
                  <a:cubicBezTo>
                    <a:pt x="60" y="5"/>
                    <a:pt x="54" y="7"/>
                    <a:pt x="50" y="4"/>
                  </a:cubicBezTo>
                  <a:cubicBezTo>
                    <a:pt x="41" y="4"/>
                    <a:pt x="34" y="0"/>
                    <a:pt x="26" y="2"/>
                  </a:cubicBezTo>
                  <a:cubicBezTo>
                    <a:pt x="22" y="3"/>
                    <a:pt x="25" y="16"/>
                    <a:pt x="31" y="17"/>
                  </a:cubicBezTo>
                  <a:cubicBezTo>
                    <a:pt x="37" y="27"/>
                    <a:pt x="36" y="40"/>
                    <a:pt x="40" y="51"/>
                  </a:cubicBezTo>
                  <a:cubicBezTo>
                    <a:pt x="43" y="69"/>
                    <a:pt x="45" y="79"/>
                    <a:pt x="34" y="93"/>
                  </a:cubicBezTo>
                  <a:cubicBezTo>
                    <a:pt x="31" y="104"/>
                    <a:pt x="26" y="110"/>
                    <a:pt x="21" y="116"/>
                  </a:cubicBezTo>
                  <a:cubicBezTo>
                    <a:pt x="16" y="122"/>
                    <a:pt x="6" y="124"/>
                    <a:pt x="5" y="131"/>
                  </a:cubicBezTo>
                  <a:cubicBezTo>
                    <a:pt x="3" y="142"/>
                    <a:pt x="0" y="156"/>
                    <a:pt x="13" y="158"/>
                  </a:cubicBezTo>
                  <a:cubicBezTo>
                    <a:pt x="14" y="170"/>
                    <a:pt x="21" y="179"/>
                    <a:pt x="28" y="188"/>
                  </a:cubicBezTo>
                  <a:cubicBezTo>
                    <a:pt x="29" y="195"/>
                    <a:pt x="38" y="195"/>
                    <a:pt x="29" y="197"/>
                  </a:cubicBezTo>
                  <a:cubicBezTo>
                    <a:pt x="23" y="200"/>
                    <a:pt x="18" y="199"/>
                    <a:pt x="14" y="205"/>
                  </a:cubicBezTo>
                  <a:cubicBezTo>
                    <a:pt x="16" y="210"/>
                    <a:pt x="21" y="213"/>
                    <a:pt x="26" y="217"/>
                  </a:cubicBezTo>
                  <a:cubicBezTo>
                    <a:pt x="32" y="226"/>
                    <a:pt x="32" y="231"/>
                    <a:pt x="43" y="232"/>
                  </a:cubicBezTo>
                  <a:cubicBezTo>
                    <a:pt x="50" y="235"/>
                    <a:pt x="60" y="236"/>
                    <a:pt x="67" y="235"/>
                  </a:cubicBezTo>
                  <a:cubicBezTo>
                    <a:pt x="74" y="234"/>
                    <a:pt x="78" y="232"/>
                    <a:pt x="83" y="228"/>
                  </a:cubicBezTo>
                  <a:cubicBezTo>
                    <a:pt x="86" y="219"/>
                    <a:pt x="91" y="219"/>
                    <a:pt x="98" y="214"/>
                  </a:cubicBezTo>
                  <a:cubicBezTo>
                    <a:pt x="102" y="207"/>
                    <a:pt x="107" y="206"/>
                    <a:pt x="115" y="205"/>
                  </a:cubicBezTo>
                  <a:cubicBezTo>
                    <a:pt x="125" y="197"/>
                    <a:pt x="113" y="207"/>
                    <a:pt x="121" y="197"/>
                  </a:cubicBezTo>
                  <a:cubicBezTo>
                    <a:pt x="125" y="192"/>
                    <a:pt x="138" y="187"/>
                    <a:pt x="142" y="185"/>
                  </a:cubicBezTo>
                  <a:cubicBezTo>
                    <a:pt x="143" y="184"/>
                    <a:pt x="141" y="183"/>
                    <a:pt x="140" y="18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32" name="Freeform 931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3232581" y="2951876"/>
              <a:ext cx="214218" cy="162647"/>
            </a:xfrm>
            <a:custGeom>
              <a:avLst/>
              <a:gdLst>
                <a:gd name="T0" fmla="*/ 46 w 216"/>
                <a:gd name="T1" fmla="*/ 5 h 164"/>
                <a:gd name="T2" fmla="*/ 68 w 216"/>
                <a:gd name="T3" fmla="*/ 6 h 164"/>
                <a:gd name="T4" fmla="*/ 87 w 216"/>
                <a:gd name="T5" fmla="*/ 6 h 164"/>
                <a:gd name="T6" fmla="*/ 113 w 216"/>
                <a:gd name="T7" fmla="*/ 6 h 164"/>
                <a:gd name="T8" fmla="*/ 124 w 216"/>
                <a:gd name="T9" fmla="*/ 9 h 164"/>
                <a:gd name="T10" fmla="*/ 129 w 216"/>
                <a:gd name="T11" fmla="*/ 24 h 164"/>
                <a:gd name="T12" fmla="*/ 122 w 216"/>
                <a:gd name="T13" fmla="*/ 27 h 164"/>
                <a:gd name="T14" fmla="*/ 124 w 216"/>
                <a:gd name="T15" fmla="*/ 39 h 164"/>
                <a:gd name="T16" fmla="*/ 153 w 216"/>
                <a:gd name="T17" fmla="*/ 64 h 164"/>
                <a:gd name="T18" fmla="*/ 170 w 216"/>
                <a:gd name="T19" fmla="*/ 82 h 164"/>
                <a:gd name="T20" fmla="*/ 182 w 216"/>
                <a:gd name="T21" fmla="*/ 85 h 164"/>
                <a:gd name="T22" fmla="*/ 200 w 216"/>
                <a:gd name="T23" fmla="*/ 94 h 164"/>
                <a:gd name="T24" fmla="*/ 215 w 216"/>
                <a:gd name="T25" fmla="*/ 103 h 164"/>
                <a:gd name="T26" fmla="*/ 198 w 216"/>
                <a:gd name="T27" fmla="*/ 120 h 164"/>
                <a:gd name="T28" fmla="*/ 186 w 216"/>
                <a:gd name="T29" fmla="*/ 133 h 164"/>
                <a:gd name="T30" fmla="*/ 168 w 216"/>
                <a:gd name="T31" fmla="*/ 143 h 164"/>
                <a:gd name="T32" fmla="*/ 132 w 216"/>
                <a:gd name="T33" fmla="*/ 146 h 164"/>
                <a:gd name="T34" fmla="*/ 107 w 216"/>
                <a:gd name="T35" fmla="*/ 161 h 164"/>
                <a:gd name="T36" fmla="*/ 87 w 216"/>
                <a:gd name="T37" fmla="*/ 162 h 164"/>
                <a:gd name="T38" fmla="*/ 65 w 216"/>
                <a:gd name="T39" fmla="*/ 162 h 164"/>
                <a:gd name="T40" fmla="*/ 48 w 216"/>
                <a:gd name="T41" fmla="*/ 148 h 164"/>
                <a:gd name="T42" fmla="*/ 42 w 216"/>
                <a:gd name="T43" fmla="*/ 144 h 164"/>
                <a:gd name="T44" fmla="*/ 24 w 216"/>
                <a:gd name="T45" fmla="*/ 127 h 164"/>
                <a:gd name="T46" fmla="*/ 18 w 216"/>
                <a:gd name="T47" fmla="*/ 113 h 164"/>
                <a:gd name="T48" fmla="*/ 2 w 216"/>
                <a:gd name="T49" fmla="*/ 99 h 164"/>
                <a:gd name="T50" fmla="*/ 4 w 216"/>
                <a:gd name="T51" fmla="*/ 92 h 164"/>
                <a:gd name="T52" fmla="*/ 14 w 216"/>
                <a:gd name="T53" fmla="*/ 83 h 164"/>
                <a:gd name="T54" fmla="*/ 16 w 216"/>
                <a:gd name="T55" fmla="*/ 60 h 164"/>
                <a:gd name="T56" fmla="*/ 28 w 216"/>
                <a:gd name="T57" fmla="*/ 42 h 164"/>
                <a:gd name="T58" fmla="*/ 41 w 216"/>
                <a:gd name="T59" fmla="*/ 31 h 164"/>
                <a:gd name="T60" fmla="*/ 46 w 216"/>
                <a:gd name="T61" fmla="*/ 5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16" h="164">
                  <a:moveTo>
                    <a:pt x="46" y="5"/>
                  </a:moveTo>
                  <a:cubicBezTo>
                    <a:pt x="50" y="0"/>
                    <a:pt x="61" y="6"/>
                    <a:pt x="68" y="6"/>
                  </a:cubicBezTo>
                  <a:cubicBezTo>
                    <a:pt x="75" y="6"/>
                    <a:pt x="80" y="6"/>
                    <a:pt x="87" y="6"/>
                  </a:cubicBezTo>
                  <a:cubicBezTo>
                    <a:pt x="94" y="6"/>
                    <a:pt x="107" y="6"/>
                    <a:pt x="113" y="6"/>
                  </a:cubicBezTo>
                  <a:cubicBezTo>
                    <a:pt x="117" y="8"/>
                    <a:pt x="121" y="5"/>
                    <a:pt x="124" y="9"/>
                  </a:cubicBezTo>
                  <a:cubicBezTo>
                    <a:pt x="126" y="11"/>
                    <a:pt x="130" y="21"/>
                    <a:pt x="129" y="24"/>
                  </a:cubicBezTo>
                  <a:cubicBezTo>
                    <a:pt x="129" y="27"/>
                    <a:pt x="123" y="25"/>
                    <a:pt x="122" y="27"/>
                  </a:cubicBezTo>
                  <a:cubicBezTo>
                    <a:pt x="121" y="28"/>
                    <a:pt x="119" y="33"/>
                    <a:pt x="124" y="39"/>
                  </a:cubicBezTo>
                  <a:cubicBezTo>
                    <a:pt x="129" y="45"/>
                    <a:pt x="145" y="57"/>
                    <a:pt x="153" y="64"/>
                  </a:cubicBezTo>
                  <a:cubicBezTo>
                    <a:pt x="156" y="69"/>
                    <a:pt x="164" y="78"/>
                    <a:pt x="170" y="82"/>
                  </a:cubicBezTo>
                  <a:cubicBezTo>
                    <a:pt x="174" y="83"/>
                    <a:pt x="182" y="85"/>
                    <a:pt x="182" y="85"/>
                  </a:cubicBezTo>
                  <a:cubicBezTo>
                    <a:pt x="186" y="88"/>
                    <a:pt x="196" y="91"/>
                    <a:pt x="200" y="94"/>
                  </a:cubicBezTo>
                  <a:cubicBezTo>
                    <a:pt x="205" y="97"/>
                    <a:pt x="215" y="99"/>
                    <a:pt x="215" y="103"/>
                  </a:cubicBezTo>
                  <a:cubicBezTo>
                    <a:pt x="216" y="108"/>
                    <a:pt x="203" y="115"/>
                    <a:pt x="198" y="120"/>
                  </a:cubicBezTo>
                  <a:cubicBezTo>
                    <a:pt x="193" y="125"/>
                    <a:pt x="191" y="129"/>
                    <a:pt x="186" y="133"/>
                  </a:cubicBezTo>
                  <a:cubicBezTo>
                    <a:pt x="178" y="138"/>
                    <a:pt x="177" y="141"/>
                    <a:pt x="168" y="143"/>
                  </a:cubicBezTo>
                  <a:cubicBezTo>
                    <a:pt x="159" y="145"/>
                    <a:pt x="142" y="143"/>
                    <a:pt x="132" y="146"/>
                  </a:cubicBezTo>
                  <a:cubicBezTo>
                    <a:pt x="122" y="156"/>
                    <a:pt x="123" y="159"/>
                    <a:pt x="107" y="161"/>
                  </a:cubicBezTo>
                  <a:cubicBezTo>
                    <a:pt x="100" y="164"/>
                    <a:pt x="94" y="162"/>
                    <a:pt x="87" y="162"/>
                  </a:cubicBezTo>
                  <a:cubicBezTo>
                    <a:pt x="80" y="162"/>
                    <a:pt x="71" y="164"/>
                    <a:pt x="65" y="162"/>
                  </a:cubicBezTo>
                  <a:cubicBezTo>
                    <a:pt x="54" y="158"/>
                    <a:pt x="62" y="157"/>
                    <a:pt x="48" y="148"/>
                  </a:cubicBezTo>
                  <a:cubicBezTo>
                    <a:pt x="46" y="147"/>
                    <a:pt x="42" y="144"/>
                    <a:pt x="42" y="144"/>
                  </a:cubicBezTo>
                  <a:cubicBezTo>
                    <a:pt x="38" y="141"/>
                    <a:pt x="29" y="133"/>
                    <a:pt x="24" y="127"/>
                  </a:cubicBezTo>
                  <a:cubicBezTo>
                    <a:pt x="20" y="122"/>
                    <a:pt x="22" y="118"/>
                    <a:pt x="18" y="113"/>
                  </a:cubicBezTo>
                  <a:cubicBezTo>
                    <a:pt x="15" y="109"/>
                    <a:pt x="2" y="99"/>
                    <a:pt x="2" y="99"/>
                  </a:cubicBezTo>
                  <a:cubicBezTo>
                    <a:pt x="0" y="95"/>
                    <a:pt x="2" y="95"/>
                    <a:pt x="4" y="92"/>
                  </a:cubicBezTo>
                  <a:cubicBezTo>
                    <a:pt x="6" y="89"/>
                    <a:pt x="12" y="88"/>
                    <a:pt x="14" y="83"/>
                  </a:cubicBezTo>
                  <a:cubicBezTo>
                    <a:pt x="17" y="76"/>
                    <a:pt x="11" y="67"/>
                    <a:pt x="16" y="60"/>
                  </a:cubicBezTo>
                  <a:cubicBezTo>
                    <a:pt x="18" y="56"/>
                    <a:pt x="25" y="45"/>
                    <a:pt x="28" y="42"/>
                  </a:cubicBezTo>
                  <a:cubicBezTo>
                    <a:pt x="31" y="39"/>
                    <a:pt x="41" y="31"/>
                    <a:pt x="41" y="31"/>
                  </a:cubicBezTo>
                  <a:cubicBezTo>
                    <a:pt x="44" y="24"/>
                    <a:pt x="50" y="13"/>
                    <a:pt x="46" y="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34" name="Freeform 932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2959850" y="3004439"/>
              <a:ext cx="186449" cy="118019"/>
            </a:xfrm>
            <a:custGeom>
              <a:avLst/>
              <a:gdLst>
                <a:gd name="T0" fmla="*/ 11 w 188"/>
                <a:gd name="T1" fmla="*/ 49 h 119"/>
                <a:gd name="T2" fmla="*/ 47 w 188"/>
                <a:gd name="T3" fmla="*/ 52 h 119"/>
                <a:gd name="T4" fmla="*/ 65 w 188"/>
                <a:gd name="T5" fmla="*/ 40 h 119"/>
                <a:gd name="T6" fmla="*/ 97 w 188"/>
                <a:gd name="T7" fmla="*/ 17 h 119"/>
                <a:gd name="T8" fmla="*/ 121 w 188"/>
                <a:gd name="T9" fmla="*/ 0 h 119"/>
                <a:gd name="T10" fmla="*/ 130 w 188"/>
                <a:gd name="T11" fmla="*/ 14 h 119"/>
                <a:gd name="T12" fmla="*/ 136 w 188"/>
                <a:gd name="T13" fmla="*/ 29 h 119"/>
                <a:gd name="T14" fmla="*/ 144 w 188"/>
                <a:gd name="T15" fmla="*/ 41 h 119"/>
                <a:gd name="T16" fmla="*/ 156 w 188"/>
                <a:gd name="T17" fmla="*/ 48 h 119"/>
                <a:gd name="T18" fmla="*/ 164 w 188"/>
                <a:gd name="T19" fmla="*/ 59 h 119"/>
                <a:gd name="T20" fmla="*/ 180 w 188"/>
                <a:gd name="T21" fmla="*/ 77 h 119"/>
                <a:gd name="T22" fmla="*/ 188 w 188"/>
                <a:gd name="T23" fmla="*/ 87 h 119"/>
                <a:gd name="T24" fmla="*/ 169 w 188"/>
                <a:gd name="T25" fmla="*/ 88 h 119"/>
                <a:gd name="T26" fmla="*/ 152 w 188"/>
                <a:gd name="T27" fmla="*/ 93 h 119"/>
                <a:gd name="T28" fmla="*/ 136 w 188"/>
                <a:gd name="T29" fmla="*/ 91 h 119"/>
                <a:gd name="T30" fmla="*/ 106 w 188"/>
                <a:gd name="T31" fmla="*/ 102 h 119"/>
                <a:gd name="T32" fmla="*/ 86 w 188"/>
                <a:gd name="T33" fmla="*/ 96 h 119"/>
                <a:gd name="T34" fmla="*/ 68 w 188"/>
                <a:gd name="T35" fmla="*/ 91 h 119"/>
                <a:gd name="T36" fmla="*/ 55 w 188"/>
                <a:gd name="T37" fmla="*/ 110 h 119"/>
                <a:gd name="T38" fmla="*/ 34 w 188"/>
                <a:gd name="T39" fmla="*/ 110 h 119"/>
                <a:gd name="T40" fmla="*/ 19 w 188"/>
                <a:gd name="T41" fmla="*/ 116 h 119"/>
                <a:gd name="T42" fmla="*/ 7 w 188"/>
                <a:gd name="T43" fmla="*/ 91 h 119"/>
                <a:gd name="T44" fmla="*/ 10 w 188"/>
                <a:gd name="T45" fmla="*/ 58 h 119"/>
                <a:gd name="T46" fmla="*/ 11 w 188"/>
                <a:gd name="T47" fmla="*/ 4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8" h="119">
                  <a:moveTo>
                    <a:pt x="11" y="49"/>
                  </a:moveTo>
                  <a:cubicBezTo>
                    <a:pt x="16" y="48"/>
                    <a:pt x="38" y="53"/>
                    <a:pt x="47" y="52"/>
                  </a:cubicBezTo>
                  <a:cubicBezTo>
                    <a:pt x="56" y="51"/>
                    <a:pt x="62" y="43"/>
                    <a:pt x="65" y="40"/>
                  </a:cubicBezTo>
                  <a:cubicBezTo>
                    <a:pt x="73" y="34"/>
                    <a:pt x="88" y="23"/>
                    <a:pt x="97" y="17"/>
                  </a:cubicBezTo>
                  <a:cubicBezTo>
                    <a:pt x="98" y="10"/>
                    <a:pt x="114" y="3"/>
                    <a:pt x="121" y="0"/>
                  </a:cubicBezTo>
                  <a:cubicBezTo>
                    <a:pt x="124" y="5"/>
                    <a:pt x="127" y="9"/>
                    <a:pt x="130" y="14"/>
                  </a:cubicBezTo>
                  <a:cubicBezTo>
                    <a:pt x="133" y="19"/>
                    <a:pt x="132" y="24"/>
                    <a:pt x="136" y="29"/>
                  </a:cubicBezTo>
                  <a:cubicBezTo>
                    <a:pt x="138" y="33"/>
                    <a:pt x="141" y="38"/>
                    <a:pt x="144" y="41"/>
                  </a:cubicBezTo>
                  <a:cubicBezTo>
                    <a:pt x="147" y="45"/>
                    <a:pt x="153" y="45"/>
                    <a:pt x="156" y="48"/>
                  </a:cubicBezTo>
                  <a:cubicBezTo>
                    <a:pt x="159" y="51"/>
                    <a:pt x="160" y="54"/>
                    <a:pt x="164" y="59"/>
                  </a:cubicBezTo>
                  <a:cubicBezTo>
                    <a:pt x="170" y="65"/>
                    <a:pt x="171" y="75"/>
                    <a:pt x="180" y="77"/>
                  </a:cubicBezTo>
                  <a:cubicBezTo>
                    <a:pt x="181" y="83"/>
                    <a:pt x="187" y="81"/>
                    <a:pt x="188" y="87"/>
                  </a:cubicBezTo>
                  <a:cubicBezTo>
                    <a:pt x="187" y="90"/>
                    <a:pt x="175" y="87"/>
                    <a:pt x="169" y="88"/>
                  </a:cubicBezTo>
                  <a:cubicBezTo>
                    <a:pt x="163" y="89"/>
                    <a:pt x="157" y="93"/>
                    <a:pt x="152" y="93"/>
                  </a:cubicBezTo>
                  <a:cubicBezTo>
                    <a:pt x="143" y="95"/>
                    <a:pt x="143" y="89"/>
                    <a:pt x="136" y="91"/>
                  </a:cubicBezTo>
                  <a:cubicBezTo>
                    <a:pt x="128" y="93"/>
                    <a:pt x="114" y="101"/>
                    <a:pt x="106" y="102"/>
                  </a:cubicBezTo>
                  <a:cubicBezTo>
                    <a:pt x="96" y="109"/>
                    <a:pt x="96" y="98"/>
                    <a:pt x="86" y="96"/>
                  </a:cubicBezTo>
                  <a:cubicBezTo>
                    <a:pt x="79" y="91"/>
                    <a:pt x="78" y="90"/>
                    <a:pt x="68" y="91"/>
                  </a:cubicBezTo>
                  <a:cubicBezTo>
                    <a:pt x="63" y="92"/>
                    <a:pt x="63" y="106"/>
                    <a:pt x="55" y="110"/>
                  </a:cubicBezTo>
                  <a:cubicBezTo>
                    <a:pt x="49" y="113"/>
                    <a:pt x="40" y="109"/>
                    <a:pt x="34" y="110"/>
                  </a:cubicBezTo>
                  <a:cubicBezTo>
                    <a:pt x="28" y="111"/>
                    <a:pt x="23" y="119"/>
                    <a:pt x="19" y="116"/>
                  </a:cubicBezTo>
                  <a:cubicBezTo>
                    <a:pt x="0" y="113"/>
                    <a:pt x="16" y="103"/>
                    <a:pt x="7" y="91"/>
                  </a:cubicBezTo>
                  <a:cubicBezTo>
                    <a:pt x="4" y="76"/>
                    <a:pt x="1" y="69"/>
                    <a:pt x="10" y="58"/>
                  </a:cubicBezTo>
                  <a:cubicBezTo>
                    <a:pt x="11" y="50"/>
                    <a:pt x="11" y="53"/>
                    <a:pt x="11" y="4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35" name="Freeform 934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3071917" y="2837825"/>
              <a:ext cx="232070" cy="201326"/>
            </a:xfrm>
            <a:custGeom>
              <a:avLst/>
              <a:gdLst>
                <a:gd name="T0" fmla="*/ 12 w 234"/>
                <a:gd name="T1" fmla="*/ 101 h 203"/>
                <a:gd name="T2" fmla="*/ 24 w 234"/>
                <a:gd name="T3" fmla="*/ 87 h 203"/>
                <a:gd name="T4" fmla="*/ 26 w 234"/>
                <a:gd name="T5" fmla="*/ 36 h 203"/>
                <a:gd name="T6" fmla="*/ 41 w 234"/>
                <a:gd name="T7" fmla="*/ 37 h 203"/>
                <a:gd name="T8" fmla="*/ 40 w 234"/>
                <a:gd name="T9" fmla="*/ 7 h 203"/>
                <a:gd name="T10" fmla="*/ 152 w 234"/>
                <a:gd name="T11" fmla="*/ 7 h 203"/>
                <a:gd name="T12" fmla="*/ 181 w 234"/>
                <a:gd name="T13" fmla="*/ 8 h 203"/>
                <a:gd name="T14" fmla="*/ 209 w 234"/>
                <a:gd name="T15" fmla="*/ 0 h 203"/>
                <a:gd name="T16" fmla="*/ 216 w 234"/>
                <a:gd name="T17" fmla="*/ 8 h 203"/>
                <a:gd name="T18" fmla="*/ 218 w 234"/>
                <a:gd name="T19" fmla="*/ 13 h 203"/>
                <a:gd name="T20" fmla="*/ 220 w 234"/>
                <a:gd name="T21" fmla="*/ 22 h 203"/>
                <a:gd name="T22" fmla="*/ 221 w 234"/>
                <a:gd name="T23" fmla="*/ 36 h 203"/>
                <a:gd name="T24" fmla="*/ 234 w 234"/>
                <a:gd name="T25" fmla="*/ 60 h 203"/>
                <a:gd name="T26" fmla="*/ 224 w 234"/>
                <a:gd name="T27" fmla="*/ 78 h 203"/>
                <a:gd name="T28" fmla="*/ 213 w 234"/>
                <a:gd name="T29" fmla="*/ 93 h 203"/>
                <a:gd name="T30" fmla="*/ 211 w 234"/>
                <a:gd name="T31" fmla="*/ 106 h 203"/>
                <a:gd name="T32" fmla="*/ 209 w 234"/>
                <a:gd name="T33" fmla="*/ 112 h 203"/>
                <a:gd name="T34" fmla="*/ 207 w 234"/>
                <a:gd name="T35" fmla="*/ 136 h 203"/>
                <a:gd name="T36" fmla="*/ 199 w 234"/>
                <a:gd name="T37" fmla="*/ 146 h 203"/>
                <a:gd name="T38" fmla="*/ 192 w 234"/>
                <a:gd name="T39" fmla="*/ 157 h 203"/>
                <a:gd name="T40" fmla="*/ 189 w 234"/>
                <a:gd name="T41" fmla="*/ 160 h 203"/>
                <a:gd name="T42" fmla="*/ 181 w 234"/>
                <a:gd name="T43" fmla="*/ 174 h 203"/>
                <a:gd name="T44" fmla="*/ 176 w 234"/>
                <a:gd name="T45" fmla="*/ 190 h 203"/>
                <a:gd name="T46" fmla="*/ 173 w 234"/>
                <a:gd name="T47" fmla="*/ 187 h 203"/>
                <a:gd name="T48" fmla="*/ 162 w 234"/>
                <a:gd name="T49" fmla="*/ 163 h 203"/>
                <a:gd name="T50" fmla="*/ 156 w 234"/>
                <a:gd name="T51" fmla="*/ 156 h 203"/>
                <a:gd name="T52" fmla="*/ 152 w 234"/>
                <a:gd name="T53" fmla="*/ 160 h 203"/>
                <a:gd name="T54" fmla="*/ 145 w 234"/>
                <a:gd name="T55" fmla="*/ 177 h 203"/>
                <a:gd name="T56" fmla="*/ 129 w 234"/>
                <a:gd name="T57" fmla="*/ 189 h 203"/>
                <a:gd name="T58" fmla="*/ 116 w 234"/>
                <a:gd name="T59" fmla="*/ 179 h 203"/>
                <a:gd name="T60" fmla="*/ 106 w 234"/>
                <a:gd name="T61" fmla="*/ 187 h 203"/>
                <a:gd name="T62" fmla="*/ 93 w 234"/>
                <a:gd name="T63" fmla="*/ 193 h 203"/>
                <a:gd name="T64" fmla="*/ 86 w 234"/>
                <a:gd name="T65" fmla="*/ 194 h 203"/>
                <a:gd name="T66" fmla="*/ 63 w 234"/>
                <a:gd name="T67" fmla="*/ 191 h 203"/>
                <a:gd name="T68" fmla="*/ 53 w 234"/>
                <a:gd name="T69" fmla="*/ 179 h 203"/>
                <a:gd name="T70" fmla="*/ 39 w 234"/>
                <a:gd name="T71" fmla="*/ 183 h 203"/>
                <a:gd name="T72" fmla="*/ 36 w 234"/>
                <a:gd name="T73" fmla="*/ 194 h 203"/>
                <a:gd name="T74" fmla="*/ 29 w 234"/>
                <a:gd name="T75" fmla="*/ 203 h 203"/>
                <a:gd name="T76" fmla="*/ 21 w 234"/>
                <a:gd name="T77" fmla="*/ 193 h 203"/>
                <a:gd name="T78" fmla="*/ 13 w 234"/>
                <a:gd name="T79" fmla="*/ 177 h 203"/>
                <a:gd name="T80" fmla="*/ 4 w 234"/>
                <a:gd name="T81" fmla="*/ 159 h 203"/>
                <a:gd name="T82" fmla="*/ 0 w 234"/>
                <a:gd name="T83" fmla="*/ 140 h 203"/>
                <a:gd name="T84" fmla="*/ 4 w 234"/>
                <a:gd name="T85" fmla="*/ 125 h 203"/>
                <a:gd name="T86" fmla="*/ 10 w 234"/>
                <a:gd name="T87" fmla="*/ 115 h 203"/>
                <a:gd name="T88" fmla="*/ 9 w 234"/>
                <a:gd name="T89" fmla="*/ 111 h 203"/>
                <a:gd name="T90" fmla="*/ 12 w 234"/>
                <a:gd name="T91" fmla="*/ 101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34" h="203">
                  <a:moveTo>
                    <a:pt x="12" y="101"/>
                  </a:moveTo>
                  <a:lnTo>
                    <a:pt x="24" y="87"/>
                  </a:lnTo>
                  <a:lnTo>
                    <a:pt x="26" y="36"/>
                  </a:lnTo>
                  <a:lnTo>
                    <a:pt x="41" y="37"/>
                  </a:lnTo>
                  <a:lnTo>
                    <a:pt x="40" y="7"/>
                  </a:lnTo>
                  <a:lnTo>
                    <a:pt x="152" y="7"/>
                  </a:lnTo>
                  <a:lnTo>
                    <a:pt x="181" y="8"/>
                  </a:lnTo>
                  <a:lnTo>
                    <a:pt x="209" y="0"/>
                  </a:lnTo>
                  <a:cubicBezTo>
                    <a:pt x="213" y="2"/>
                    <a:pt x="214" y="6"/>
                    <a:pt x="216" y="8"/>
                  </a:cubicBezTo>
                  <a:cubicBezTo>
                    <a:pt x="217" y="10"/>
                    <a:pt x="217" y="12"/>
                    <a:pt x="218" y="13"/>
                  </a:cubicBezTo>
                  <a:cubicBezTo>
                    <a:pt x="218" y="16"/>
                    <a:pt x="219" y="19"/>
                    <a:pt x="220" y="22"/>
                  </a:cubicBezTo>
                  <a:cubicBezTo>
                    <a:pt x="221" y="26"/>
                    <a:pt x="219" y="30"/>
                    <a:pt x="221" y="36"/>
                  </a:cubicBezTo>
                  <a:cubicBezTo>
                    <a:pt x="224" y="43"/>
                    <a:pt x="233" y="53"/>
                    <a:pt x="234" y="60"/>
                  </a:cubicBezTo>
                  <a:cubicBezTo>
                    <a:pt x="234" y="67"/>
                    <a:pt x="227" y="74"/>
                    <a:pt x="224" y="78"/>
                  </a:cubicBezTo>
                  <a:cubicBezTo>
                    <a:pt x="221" y="83"/>
                    <a:pt x="215" y="89"/>
                    <a:pt x="213" y="93"/>
                  </a:cubicBezTo>
                  <a:cubicBezTo>
                    <a:pt x="211" y="97"/>
                    <a:pt x="214" y="101"/>
                    <a:pt x="211" y="106"/>
                  </a:cubicBezTo>
                  <a:cubicBezTo>
                    <a:pt x="210" y="108"/>
                    <a:pt x="210" y="110"/>
                    <a:pt x="209" y="112"/>
                  </a:cubicBezTo>
                  <a:cubicBezTo>
                    <a:pt x="211" y="117"/>
                    <a:pt x="213" y="132"/>
                    <a:pt x="207" y="136"/>
                  </a:cubicBezTo>
                  <a:cubicBezTo>
                    <a:pt x="204" y="143"/>
                    <a:pt x="209" y="145"/>
                    <a:pt x="199" y="146"/>
                  </a:cubicBezTo>
                  <a:cubicBezTo>
                    <a:pt x="197" y="149"/>
                    <a:pt x="194" y="155"/>
                    <a:pt x="192" y="157"/>
                  </a:cubicBezTo>
                  <a:cubicBezTo>
                    <a:pt x="191" y="158"/>
                    <a:pt x="189" y="160"/>
                    <a:pt x="189" y="160"/>
                  </a:cubicBezTo>
                  <a:cubicBezTo>
                    <a:pt x="187" y="163"/>
                    <a:pt x="183" y="171"/>
                    <a:pt x="181" y="174"/>
                  </a:cubicBezTo>
                  <a:cubicBezTo>
                    <a:pt x="179" y="179"/>
                    <a:pt x="177" y="188"/>
                    <a:pt x="176" y="190"/>
                  </a:cubicBezTo>
                  <a:cubicBezTo>
                    <a:pt x="175" y="191"/>
                    <a:pt x="174" y="189"/>
                    <a:pt x="173" y="187"/>
                  </a:cubicBezTo>
                  <a:cubicBezTo>
                    <a:pt x="171" y="183"/>
                    <a:pt x="165" y="168"/>
                    <a:pt x="162" y="163"/>
                  </a:cubicBezTo>
                  <a:cubicBezTo>
                    <a:pt x="160" y="160"/>
                    <a:pt x="158" y="157"/>
                    <a:pt x="156" y="156"/>
                  </a:cubicBezTo>
                  <a:cubicBezTo>
                    <a:pt x="155" y="157"/>
                    <a:pt x="154" y="157"/>
                    <a:pt x="152" y="160"/>
                  </a:cubicBezTo>
                  <a:lnTo>
                    <a:pt x="145" y="177"/>
                  </a:lnTo>
                  <a:lnTo>
                    <a:pt x="129" y="189"/>
                  </a:lnTo>
                  <a:lnTo>
                    <a:pt x="116" y="179"/>
                  </a:lnTo>
                  <a:cubicBezTo>
                    <a:pt x="112" y="179"/>
                    <a:pt x="109" y="185"/>
                    <a:pt x="106" y="187"/>
                  </a:cubicBezTo>
                  <a:cubicBezTo>
                    <a:pt x="102" y="189"/>
                    <a:pt x="96" y="192"/>
                    <a:pt x="93" y="193"/>
                  </a:cubicBezTo>
                  <a:cubicBezTo>
                    <a:pt x="91" y="194"/>
                    <a:pt x="89" y="194"/>
                    <a:pt x="86" y="194"/>
                  </a:cubicBezTo>
                  <a:cubicBezTo>
                    <a:pt x="83" y="186"/>
                    <a:pt x="69" y="191"/>
                    <a:pt x="63" y="191"/>
                  </a:cubicBezTo>
                  <a:cubicBezTo>
                    <a:pt x="61" y="187"/>
                    <a:pt x="57" y="181"/>
                    <a:pt x="53" y="179"/>
                  </a:cubicBezTo>
                  <a:cubicBezTo>
                    <a:pt x="36" y="179"/>
                    <a:pt x="46" y="178"/>
                    <a:pt x="39" y="183"/>
                  </a:cubicBezTo>
                  <a:cubicBezTo>
                    <a:pt x="37" y="187"/>
                    <a:pt x="37" y="190"/>
                    <a:pt x="36" y="194"/>
                  </a:cubicBezTo>
                  <a:cubicBezTo>
                    <a:pt x="35" y="197"/>
                    <a:pt x="32" y="201"/>
                    <a:pt x="29" y="203"/>
                  </a:cubicBezTo>
                  <a:cubicBezTo>
                    <a:pt x="27" y="203"/>
                    <a:pt x="23" y="196"/>
                    <a:pt x="21" y="193"/>
                  </a:cubicBezTo>
                  <a:cubicBezTo>
                    <a:pt x="18" y="189"/>
                    <a:pt x="16" y="183"/>
                    <a:pt x="13" y="177"/>
                  </a:cubicBezTo>
                  <a:cubicBezTo>
                    <a:pt x="10" y="173"/>
                    <a:pt x="6" y="165"/>
                    <a:pt x="4" y="159"/>
                  </a:cubicBezTo>
                  <a:cubicBezTo>
                    <a:pt x="3" y="155"/>
                    <a:pt x="0" y="146"/>
                    <a:pt x="0" y="140"/>
                  </a:cubicBezTo>
                  <a:cubicBezTo>
                    <a:pt x="0" y="134"/>
                    <a:pt x="2" y="129"/>
                    <a:pt x="4" y="125"/>
                  </a:cubicBezTo>
                  <a:cubicBezTo>
                    <a:pt x="0" y="120"/>
                    <a:pt x="5" y="116"/>
                    <a:pt x="10" y="115"/>
                  </a:cubicBezTo>
                  <a:cubicBezTo>
                    <a:pt x="9" y="114"/>
                    <a:pt x="7" y="113"/>
                    <a:pt x="9" y="111"/>
                  </a:cubicBezTo>
                  <a:cubicBezTo>
                    <a:pt x="10" y="106"/>
                    <a:pt x="9" y="113"/>
                    <a:pt x="12" y="10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36" name="Freeform 439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2613728" y="2484761"/>
              <a:ext cx="48596" cy="107109"/>
            </a:xfrm>
            <a:custGeom>
              <a:avLst/>
              <a:gdLst>
                <a:gd name="T0" fmla="*/ 9 w 50"/>
                <a:gd name="T1" fmla="*/ 0 h 111"/>
                <a:gd name="T2" fmla="*/ 25 w 50"/>
                <a:gd name="T3" fmla="*/ 17 h 111"/>
                <a:gd name="T4" fmla="*/ 46 w 50"/>
                <a:gd name="T5" fmla="*/ 20 h 111"/>
                <a:gd name="T6" fmla="*/ 46 w 50"/>
                <a:gd name="T7" fmla="*/ 33 h 111"/>
                <a:gd name="T8" fmla="*/ 40 w 50"/>
                <a:gd name="T9" fmla="*/ 47 h 111"/>
                <a:gd name="T10" fmla="*/ 28 w 50"/>
                <a:gd name="T11" fmla="*/ 111 h 111"/>
                <a:gd name="T12" fmla="*/ 4 w 50"/>
                <a:gd name="T13" fmla="*/ 86 h 111"/>
                <a:gd name="T14" fmla="*/ 9 w 50"/>
                <a:gd name="T15" fmla="*/ 63 h 111"/>
                <a:gd name="T16" fmla="*/ 7 w 50"/>
                <a:gd name="T17" fmla="*/ 12 h 111"/>
                <a:gd name="T18" fmla="*/ 9 w 50"/>
                <a:gd name="T1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111">
                  <a:moveTo>
                    <a:pt x="9" y="0"/>
                  </a:moveTo>
                  <a:cubicBezTo>
                    <a:pt x="12" y="1"/>
                    <a:pt x="19" y="14"/>
                    <a:pt x="25" y="17"/>
                  </a:cubicBezTo>
                  <a:cubicBezTo>
                    <a:pt x="31" y="20"/>
                    <a:pt x="42" y="17"/>
                    <a:pt x="46" y="20"/>
                  </a:cubicBezTo>
                  <a:cubicBezTo>
                    <a:pt x="50" y="25"/>
                    <a:pt x="49" y="27"/>
                    <a:pt x="46" y="33"/>
                  </a:cubicBezTo>
                  <a:cubicBezTo>
                    <a:pt x="45" y="39"/>
                    <a:pt x="43" y="42"/>
                    <a:pt x="40" y="47"/>
                  </a:cubicBezTo>
                  <a:cubicBezTo>
                    <a:pt x="38" y="68"/>
                    <a:pt x="41" y="93"/>
                    <a:pt x="28" y="111"/>
                  </a:cubicBezTo>
                  <a:cubicBezTo>
                    <a:pt x="3" y="109"/>
                    <a:pt x="16" y="103"/>
                    <a:pt x="4" y="86"/>
                  </a:cubicBezTo>
                  <a:cubicBezTo>
                    <a:pt x="2" y="77"/>
                    <a:pt x="0" y="68"/>
                    <a:pt x="9" y="63"/>
                  </a:cubicBezTo>
                  <a:cubicBezTo>
                    <a:pt x="10" y="41"/>
                    <a:pt x="15" y="31"/>
                    <a:pt x="7" y="12"/>
                  </a:cubicBezTo>
                  <a:cubicBezTo>
                    <a:pt x="8" y="8"/>
                    <a:pt x="9" y="0"/>
                    <a:pt x="9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40" name="Freeform 444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2622654" y="2587903"/>
              <a:ext cx="302485" cy="298518"/>
            </a:xfrm>
            <a:custGeom>
              <a:avLst/>
              <a:gdLst>
                <a:gd name="T0" fmla="*/ 192 w 313"/>
                <a:gd name="T1" fmla="*/ 306 h 309"/>
                <a:gd name="T2" fmla="*/ 171 w 313"/>
                <a:gd name="T3" fmla="*/ 294 h 309"/>
                <a:gd name="T4" fmla="*/ 131 w 313"/>
                <a:gd name="T5" fmla="*/ 264 h 309"/>
                <a:gd name="T6" fmla="*/ 102 w 313"/>
                <a:gd name="T7" fmla="*/ 246 h 309"/>
                <a:gd name="T8" fmla="*/ 86 w 313"/>
                <a:gd name="T9" fmla="*/ 231 h 309"/>
                <a:gd name="T10" fmla="*/ 45 w 313"/>
                <a:gd name="T11" fmla="*/ 205 h 309"/>
                <a:gd name="T12" fmla="*/ 17 w 313"/>
                <a:gd name="T13" fmla="*/ 187 h 309"/>
                <a:gd name="T14" fmla="*/ 15 w 313"/>
                <a:gd name="T15" fmla="*/ 180 h 309"/>
                <a:gd name="T16" fmla="*/ 0 w 313"/>
                <a:gd name="T17" fmla="*/ 165 h 309"/>
                <a:gd name="T18" fmla="*/ 14 w 313"/>
                <a:gd name="T19" fmla="*/ 147 h 309"/>
                <a:gd name="T20" fmla="*/ 24 w 313"/>
                <a:gd name="T21" fmla="*/ 139 h 309"/>
                <a:gd name="T22" fmla="*/ 38 w 313"/>
                <a:gd name="T23" fmla="*/ 138 h 309"/>
                <a:gd name="T24" fmla="*/ 53 w 313"/>
                <a:gd name="T25" fmla="*/ 129 h 309"/>
                <a:gd name="T26" fmla="*/ 62 w 313"/>
                <a:gd name="T27" fmla="*/ 120 h 309"/>
                <a:gd name="T28" fmla="*/ 77 w 313"/>
                <a:gd name="T29" fmla="*/ 114 h 309"/>
                <a:gd name="T30" fmla="*/ 89 w 313"/>
                <a:gd name="T31" fmla="*/ 102 h 309"/>
                <a:gd name="T32" fmla="*/ 92 w 313"/>
                <a:gd name="T33" fmla="*/ 91 h 309"/>
                <a:gd name="T34" fmla="*/ 108 w 313"/>
                <a:gd name="T35" fmla="*/ 90 h 309"/>
                <a:gd name="T36" fmla="*/ 110 w 313"/>
                <a:gd name="T37" fmla="*/ 73 h 309"/>
                <a:gd name="T38" fmla="*/ 110 w 313"/>
                <a:gd name="T39" fmla="*/ 44 h 309"/>
                <a:gd name="T40" fmla="*/ 116 w 313"/>
                <a:gd name="T41" fmla="*/ 33 h 309"/>
                <a:gd name="T42" fmla="*/ 131 w 313"/>
                <a:gd name="T43" fmla="*/ 28 h 309"/>
                <a:gd name="T44" fmla="*/ 149 w 313"/>
                <a:gd name="T45" fmla="*/ 18 h 309"/>
                <a:gd name="T46" fmla="*/ 188 w 313"/>
                <a:gd name="T47" fmla="*/ 12 h 309"/>
                <a:gd name="T48" fmla="*/ 228 w 313"/>
                <a:gd name="T49" fmla="*/ 19 h 309"/>
                <a:gd name="T50" fmla="*/ 222 w 313"/>
                <a:gd name="T51" fmla="*/ 9 h 309"/>
                <a:gd name="T52" fmla="*/ 258 w 313"/>
                <a:gd name="T53" fmla="*/ 18 h 309"/>
                <a:gd name="T54" fmla="*/ 251 w 313"/>
                <a:gd name="T55" fmla="*/ 52 h 309"/>
                <a:gd name="T56" fmla="*/ 254 w 313"/>
                <a:gd name="T57" fmla="*/ 84 h 309"/>
                <a:gd name="T58" fmla="*/ 255 w 313"/>
                <a:gd name="T59" fmla="*/ 90 h 309"/>
                <a:gd name="T60" fmla="*/ 260 w 313"/>
                <a:gd name="T61" fmla="*/ 91 h 309"/>
                <a:gd name="T62" fmla="*/ 270 w 313"/>
                <a:gd name="T63" fmla="*/ 102 h 309"/>
                <a:gd name="T64" fmla="*/ 281 w 313"/>
                <a:gd name="T65" fmla="*/ 111 h 309"/>
                <a:gd name="T66" fmla="*/ 279 w 313"/>
                <a:gd name="T67" fmla="*/ 142 h 309"/>
                <a:gd name="T68" fmla="*/ 279 w 313"/>
                <a:gd name="T69" fmla="*/ 154 h 309"/>
                <a:gd name="T70" fmla="*/ 288 w 313"/>
                <a:gd name="T71" fmla="*/ 181 h 309"/>
                <a:gd name="T72" fmla="*/ 272 w 313"/>
                <a:gd name="T73" fmla="*/ 198 h 309"/>
                <a:gd name="T74" fmla="*/ 281 w 313"/>
                <a:gd name="T75" fmla="*/ 211 h 309"/>
                <a:gd name="T76" fmla="*/ 296 w 313"/>
                <a:gd name="T77" fmla="*/ 226 h 309"/>
                <a:gd name="T78" fmla="*/ 305 w 313"/>
                <a:gd name="T79" fmla="*/ 232 h 309"/>
                <a:gd name="T80" fmla="*/ 290 w 313"/>
                <a:gd name="T81" fmla="*/ 250 h 309"/>
                <a:gd name="T82" fmla="*/ 273 w 313"/>
                <a:gd name="T83" fmla="*/ 256 h 309"/>
                <a:gd name="T84" fmla="*/ 258 w 313"/>
                <a:gd name="T85" fmla="*/ 265 h 309"/>
                <a:gd name="T86" fmla="*/ 246 w 313"/>
                <a:gd name="T87" fmla="*/ 280 h 309"/>
                <a:gd name="T88" fmla="*/ 237 w 313"/>
                <a:gd name="T89" fmla="*/ 286 h 309"/>
                <a:gd name="T90" fmla="*/ 218 w 313"/>
                <a:gd name="T91" fmla="*/ 304 h 309"/>
                <a:gd name="T92" fmla="*/ 192 w 313"/>
                <a:gd name="T93" fmla="*/ 306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13" h="309">
                  <a:moveTo>
                    <a:pt x="192" y="306"/>
                  </a:moveTo>
                  <a:cubicBezTo>
                    <a:pt x="176" y="303"/>
                    <a:pt x="184" y="296"/>
                    <a:pt x="171" y="294"/>
                  </a:cubicBezTo>
                  <a:cubicBezTo>
                    <a:pt x="161" y="287"/>
                    <a:pt x="142" y="272"/>
                    <a:pt x="131" y="264"/>
                  </a:cubicBezTo>
                  <a:cubicBezTo>
                    <a:pt x="123" y="257"/>
                    <a:pt x="109" y="251"/>
                    <a:pt x="102" y="246"/>
                  </a:cubicBezTo>
                  <a:cubicBezTo>
                    <a:pt x="100" y="245"/>
                    <a:pt x="89" y="233"/>
                    <a:pt x="86" y="231"/>
                  </a:cubicBezTo>
                  <a:cubicBezTo>
                    <a:pt x="72" y="222"/>
                    <a:pt x="58" y="215"/>
                    <a:pt x="45" y="205"/>
                  </a:cubicBezTo>
                  <a:cubicBezTo>
                    <a:pt x="37" y="199"/>
                    <a:pt x="28" y="189"/>
                    <a:pt x="17" y="187"/>
                  </a:cubicBezTo>
                  <a:cubicBezTo>
                    <a:pt x="11" y="182"/>
                    <a:pt x="18" y="184"/>
                    <a:pt x="15" y="180"/>
                  </a:cubicBezTo>
                  <a:cubicBezTo>
                    <a:pt x="12" y="176"/>
                    <a:pt x="0" y="170"/>
                    <a:pt x="0" y="165"/>
                  </a:cubicBezTo>
                  <a:cubicBezTo>
                    <a:pt x="0" y="160"/>
                    <a:pt x="10" y="151"/>
                    <a:pt x="14" y="147"/>
                  </a:cubicBezTo>
                  <a:cubicBezTo>
                    <a:pt x="17" y="141"/>
                    <a:pt x="20" y="140"/>
                    <a:pt x="24" y="139"/>
                  </a:cubicBezTo>
                  <a:cubicBezTo>
                    <a:pt x="28" y="138"/>
                    <a:pt x="33" y="140"/>
                    <a:pt x="38" y="138"/>
                  </a:cubicBezTo>
                  <a:cubicBezTo>
                    <a:pt x="45" y="135"/>
                    <a:pt x="49" y="132"/>
                    <a:pt x="53" y="129"/>
                  </a:cubicBezTo>
                  <a:cubicBezTo>
                    <a:pt x="57" y="126"/>
                    <a:pt x="58" y="123"/>
                    <a:pt x="62" y="120"/>
                  </a:cubicBezTo>
                  <a:cubicBezTo>
                    <a:pt x="64" y="117"/>
                    <a:pt x="75" y="117"/>
                    <a:pt x="77" y="114"/>
                  </a:cubicBezTo>
                  <a:cubicBezTo>
                    <a:pt x="81" y="111"/>
                    <a:pt x="87" y="106"/>
                    <a:pt x="89" y="102"/>
                  </a:cubicBezTo>
                  <a:cubicBezTo>
                    <a:pt x="91" y="98"/>
                    <a:pt x="89" y="93"/>
                    <a:pt x="92" y="91"/>
                  </a:cubicBezTo>
                  <a:cubicBezTo>
                    <a:pt x="97" y="89"/>
                    <a:pt x="101" y="91"/>
                    <a:pt x="108" y="90"/>
                  </a:cubicBezTo>
                  <a:cubicBezTo>
                    <a:pt x="110" y="81"/>
                    <a:pt x="112" y="82"/>
                    <a:pt x="110" y="73"/>
                  </a:cubicBezTo>
                  <a:cubicBezTo>
                    <a:pt x="110" y="65"/>
                    <a:pt x="109" y="51"/>
                    <a:pt x="110" y="44"/>
                  </a:cubicBezTo>
                  <a:cubicBezTo>
                    <a:pt x="111" y="37"/>
                    <a:pt x="112" y="36"/>
                    <a:pt x="116" y="33"/>
                  </a:cubicBezTo>
                  <a:cubicBezTo>
                    <a:pt x="118" y="22"/>
                    <a:pt x="123" y="26"/>
                    <a:pt x="131" y="28"/>
                  </a:cubicBezTo>
                  <a:cubicBezTo>
                    <a:pt x="136" y="21"/>
                    <a:pt x="141" y="20"/>
                    <a:pt x="149" y="18"/>
                  </a:cubicBezTo>
                  <a:cubicBezTo>
                    <a:pt x="161" y="9"/>
                    <a:pt x="169" y="13"/>
                    <a:pt x="188" y="12"/>
                  </a:cubicBezTo>
                  <a:cubicBezTo>
                    <a:pt x="200" y="3"/>
                    <a:pt x="215" y="17"/>
                    <a:pt x="228" y="19"/>
                  </a:cubicBezTo>
                  <a:cubicBezTo>
                    <a:pt x="239" y="23"/>
                    <a:pt x="227" y="15"/>
                    <a:pt x="222" y="9"/>
                  </a:cubicBezTo>
                  <a:cubicBezTo>
                    <a:pt x="237" y="0"/>
                    <a:pt x="282" y="4"/>
                    <a:pt x="258" y="18"/>
                  </a:cubicBezTo>
                  <a:cubicBezTo>
                    <a:pt x="251" y="27"/>
                    <a:pt x="263" y="43"/>
                    <a:pt x="251" y="52"/>
                  </a:cubicBezTo>
                  <a:cubicBezTo>
                    <a:pt x="248" y="64"/>
                    <a:pt x="245" y="75"/>
                    <a:pt x="254" y="84"/>
                  </a:cubicBezTo>
                  <a:cubicBezTo>
                    <a:pt x="254" y="86"/>
                    <a:pt x="254" y="88"/>
                    <a:pt x="255" y="90"/>
                  </a:cubicBezTo>
                  <a:cubicBezTo>
                    <a:pt x="256" y="91"/>
                    <a:pt x="259" y="90"/>
                    <a:pt x="260" y="91"/>
                  </a:cubicBezTo>
                  <a:cubicBezTo>
                    <a:pt x="262" y="93"/>
                    <a:pt x="269" y="99"/>
                    <a:pt x="270" y="102"/>
                  </a:cubicBezTo>
                  <a:cubicBezTo>
                    <a:pt x="271" y="108"/>
                    <a:pt x="278" y="105"/>
                    <a:pt x="281" y="111"/>
                  </a:cubicBezTo>
                  <a:cubicBezTo>
                    <a:pt x="282" y="117"/>
                    <a:pt x="279" y="135"/>
                    <a:pt x="279" y="142"/>
                  </a:cubicBezTo>
                  <a:cubicBezTo>
                    <a:pt x="279" y="149"/>
                    <a:pt x="278" y="148"/>
                    <a:pt x="279" y="154"/>
                  </a:cubicBezTo>
                  <a:cubicBezTo>
                    <a:pt x="280" y="160"/>
                    <a:pt x="289" y="174"/>
                    <a:pt x="288" y="181"/>
                  </a:cubicBezTo>
                  <a:cubicBezTo>
                    <a:pt x="287" y="188"/>
                    <a:pt x="273" y="193"/>
                    <a:pt x="272" y="198"/>
                  </a:cubicBezTo>
                  <a:cubicBezTo>
                    <a:pt x="275" y="202"/>
                    <a:pt x="278" y="207"/>
                    <a:pt x="281" y="211"/>
                  </a:cubicBezTo>
                  <a:cubicBezTo>
                    <a:pt x="283" y="220"/>
                    <a:pt x="288" y="225"/>
                    <a:pt x="296" y="226"/>
                  </a:cubicBezTo>
                  <a:cubicBezTo>
                    <a:pt x="303" y="230"/>
                    <a:pt x="296" y="228"/>
                    <a:pt x="305" y="232"/>
                  </a:cubicBezTo>
                  <a:cubicBezTo>
                    <a:pt x="313" y="242"/>
                    <a:pt x="295" y="250"/>
                    <a:pt x="290" y="250"/>
                  </a:cubicBezTo>
                  <a:cubicBezTo>
                    <a:pt x="283" y="253"/>
                    <a:pt x="280" y="253"/>
                    <a:pt x="273" y="256"/>
                  </a:cubicBezTo>
                  <a:cubicBezTo>
                    <a:pt x="268" y="263"/>
                    <a:pt x="267" y="263"/>
                    <a:pt x="258" y="265"/>
                  </a:cubicBezTo>
                  <a:cubicBezTo>
                    <a:pt x="254" y="268"/>
                    <a:pt x="250" y="277"/>
                    <a:pt x="246" y="280"/>
                  </a:cubicBezTo>
                  <a:cubicBezTo>
                    <a:pt x="243" y="286"/>
                    <a:pt x="244" y="285"/>
                    <a:pt x="237" y="286"/>
                  </a:cubicBezTo>
                  <a:cubicBezTo>
                    <a:pt x="231" y="290"/>
                    <a:pt x="225" y="303"/>
                    <a:pt x="218" y="304"/>
                  </a:cubicBezTo>
                  <a:cubicBezTo>
                    <a:pt x="211" y="309"/>
                    <a:pt x="200" y="306"/>
                    <a:pt x="192" y="30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42" name="Freeform 445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2885468" y="2663276"/>
              <a:ext cx="228103" cy="216202"/>
            </a:xfrm>
            <a:custGeom>
              <a:avLst/>
              <a:gdLst>
                <a:gd name="T0" fmla="*/ 6 w 236"/>
                <a:gd name="T1" fmla="*/ 43 h 224"/>
                <a:gd name="T2" fmla="*/ 16 w 236"/>
                <a:gd name="T3" fmla="*/ 22 h 224"/>
                <a:gd name="T4" fmla="*/ 28 w 236"/>
                <a:gd name="T5" fmla="*/ 15 h 224"/>
                <a:gd name="T6" fmla="*/ 48 w 236"/>
                <a:gd name="T7" fmla="*/ 0 h 224"/>
                <a:gd name="T8" fmla="*/ 85 w 236"/>
                <a:gd name="T9" fmla="*/ 6 h 224"/>
                <a:gd name="T10" fmla="*/ 118 w 236"/>
                <a:gd name="T11" fmla="*/ 30 h 224"/>
                <a:gd name="T12" fmla="*/ 142 w 236"/>
                <a:gd name="T13" fmla="*/ 40 h 224"/>
                <a:gd name="T14" fmla="*/ 150 w 236"/>
                <a:gd name="T15" fmla="*/ 43 h 224"/>
                <a:gd name="T16" fmla="*/ 160 w 236"/>
                <a:gd name="T17" fmla="*/ 30 h 224"/>
                <a:gd name="T18" fmla="*/ 156 w 236"/>
                <a:gd name="T19" fmla="*/ 13 h 224"/>
                <a:gd name="T20" fmla="*/ 174 w 236"/>
                <a:gd name="T21" fmla="*/ 3 h 224"/>
                <a:gd name="T22" fmla="*/ 213 w 236"/>
                <a:gd name="T23" fmla="*/ 12 h 224"/>
                <a:gd name="T24" fmla="*/ 226 w 236"/>
                <a:gd name="T25" fmla="*/ 21 h 224"/>
                <a:gd name="T26" fmla="*/ 228 w 236"/>
                <a:gd name="T27" fmla="*/ 34 h 224"/>
                <a:gd name="T28" fmla="*/ 229 w 236"/>
                <a:gd name="T29" fmla="*/ 66 h 224"/>
                <a:gd name="T30" fmla="*/ 231 w 236"/>
                <a:gd name="T31" fmla="*/ 183 h 224"/>
                <a:gd name="T32" fmla="*/ 232 w 236"/>
                <a:gd name="T33" fmla="*/ 217 h 224"/>
                <a:gd name="T34" fmla="*/ 208 w 236"/>
                <a:gd name="T35" fmla="*/ 223 h 224"/>
                <a:gd name="T36" fmla="*/ 186 w 236"/>
                <a:gd name="T37" fmla="*/ 208 h 224"/>
                <a:gd name="T38" fmla="*/ 168 w 236"/>
                <a:gd name="T39" fmla="*/ 198 h 224"/>
                <a:gd name="T40" fmla="*/ 153 w 236"/>
                <a:gd name="T41" fmla="*/ 195 h 224"/>
                <a:gd name="T42" fmla="*/ 145 w 236"/>
                <a:gd name="T43" fmla="*/ 187 h 224"/>
                <a:gd name="T44" fmla="*/ 129 w 236"/>
                <a:gd name="T45" fmla="*/ 175 h 224"/>
                <a:gd name="T46" fmla="*/ 103 w 236"/>
                <a:gd name="T47" fmla="*/ 168 h 224"/>
                <a:gd name="T48" fmla="*/ 78 w 236"/>
                <a:gd name="T49" fmla="*/ 171 h 224"/>
                <a:gd name="T50" fmla="*/ 58 w 236"/>
                <a:gd name="T51" fmla="*/ 163 h 224"/>
                <a:gd name="T52" fmla="*/ 39 w 236"/>
                <a:gd name="T53" fmla="*/ 160 h 224"/>
                <a:gd name="T54" fmla="*/ 12 w 236"/>
                <a:gd name="T55" fmla="*/ 139 h 224"/>
                <a:gd name="T56" fmla="*/ 1 w 236"/>
                <a:gd name="T57" fmla="*/ 127 h 224"/>
                <a:gd name="T58" fmla="*/ 15 w 236"/>
                <a:gd name="T59" fmla="*/ 106 h 224"/>
                <a:gd name="T60" fmla="*/ 7 w 236"/>
                <a:gd name="T61" fmla="*/ 73 h 224"/>
                <a:gd name="T62" fmla="*/ 6 w 236"/>
                <a:gd name="T63" fmla="*/ 43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6" h="224">
                  <a:moveTo>
                    <a:pt x="6" y="43"/>
                  </a:moveTo>
                  <a:cubicBezTo>
                    <a:pt x="8" y="35"/>
                    <a:pt x="12" y="27"/>
                    <a:pt x="16" y="22"/>
                  </a:cubicBezTo>
                  <a:cubicBezTo>
                    <a:pt x="20" y="17"/>
                    <a:pt x="23" y="19"/>
                    <a:pt x="28" y="15"/>
                  </a:cubicBezTo>
                  <a:cubicBezTo>
                    <a:pt x="34" y="5"/>
                    <a:pt x="37" y="2"/>
                    <a:pt x="48" y="0"/>
                  </a:cubicBezTo>
                  <a:cubicBezTo>
                    <a:pt x="73" y="1"/>
                    <a:pt x="67" y="2"/>
                    <a:pt x="85" y="6"/>
                  </a:cubicBezTo>
                  <a:cubicBezTo>
                    <a:pt x="103" y="30"/>
                    <a:pt x="74" y="26"/>
                    <a:pt x="118" y="30"/>
                  </a:cubicBezTo>
                  <a:cubicBezTo>
                    <a:pt x="127" y="32"/>
                    <a:pt x="133" y="38"/>
                    <a:pt x="142" y="40"/>
                  </a:cubicBezTo>
                  <a:cubicBezTo>
                    <a:pt x="144" y="44"/>
                    <a:pt x="145" y="48"/>
                    <a:pt x="150" y="43"/>
                  </a:cubicBezTo>
                  <a:cubicBezTo>
                    <a:pt x="154" y="39"/>
                    <a:pt x="160" y="30"/>
                    <a:pt x="160" y="30"/>
                  </a:cubicBezTo>
                  <a:cubicBezTo>
                    <a:pt x="159" y="23"/>
                    <a:pt x="157" y="19"/>
                    <a:pt x="156" y="13"/>
                  </a:cubicBezTo>
                  <a:cubicBezTo>
                    <a:pt x="161" y="9"/>
                    <a:pt x="168" y="7"/>
                    <a:pt x="174" y="3"/>
                  </a:cubicBezTo>
                  <a:cubicBezTo>
                    <a:pt x="197" y="4"/>
                    <a:pt x="194" y="8"/>
                    <a:pt x="213" y="12"/>
                  </a:cubicBezTo>
                  <a:cubicBezTo>
                    <a:pt x="217" y="15"/>
                    <a:pt x="222" y="18"/>
                    <a:pt x="226" y="21"/>
                  </a:cubicBezTo>
                  <a:cubicBezTo>
                    <a:pt x="229" y="27"/>
                    <a:pt x="229" y="28"/>
                    <a:pt x="228" y="34"/>
                  </a:cubicBezTo>
                  <a:cubicBezTo>
                    <a:pt x="230" y="44"/>
                    <a:pt x="227" y="56"/>
                    <a:pt x="229" y="66"/>
                  </a:cubicBezTo>
                  <a:cubicBezTo>
                    <a:pt x="232" y="90"/>
                    <a:pt x="234" y="157"/>
                    <a:pt x="231" y="183"/>
                  </a:cubicBezTo>
                  <a:cubicBezTo>
                    <a:pt x="231" y="208"/>
                    <a:pt x="236" y="210"/>
                    <a:pt x="232" y="217"/>
                  </a:cubicBezTo>
                  <a:cubicBezTo>
                    <a:pt x="228" y="224"/>
                    <a:pt x="216" y="224"/>
                    <a:pt x="208" y="223"/>
                  </a:cubicBezTo>
                  <a:cubicBezTo>
                    <a:pt x="201" y="222"/>
                    <a:pt x="193" y="212"/>
                    <a:pt x="186" y="208"/>
                  </a:cubicBezTo>
                  <a:cubicBezTo>
                    <a:pt x="179" y="204"/>
                    <a:pt x="173" y="200"/>
                    <a:pt x="168" y="198"/>
                  </a:cubicBezTo>
                  <a:cubicBezTo>
                    <a:pt x="163" y="194"/>
                    <a:pt x="155" y="197"/>
                    <a:pt x="153" y="195"/>
                  </a:cubicBezTo>
                  <a:cubicBezTo>
                    <a:pt x="149" y="193"/>
                    <a:pt x="149" y="190"/>
                    <a:pt x="145" y="187"/>
                  </a:cubicBezTo>
                  <a:cubicBezTo>
                    <a:pt x="139" y="183"/>
                    <a:pt x="136" y="178"/>
                    <a:pt x="129" y="175"/>
                  </a:cubicBezTo>
                  <a:cubicBezTo>
                    <a:pt x="122" y="172"/>
                    <a:pt x="111" y="169"/>
                    <a:pt x="103" y="168"/>
                  </a:cubicBezTo>
                  <a:cubicBezTo>
                    <a:pt x="75" y="169"/>
                    <a:pt x="94" y="162"/>
                    <a:pt x="78" y="171"/>
                  </a:cubicBezTo>
                  <a:cubicBezTo>
                    <a:pt x="74" y="170"/>
                    <a:pt x="62" y="164"/>
                    <a:pt x="58" y="163"/>
                  </a:cubicBezTo>
                  <a:cubicBezTo>
                    <a:pt x="52" y="161"/>
                    <a:pt x="39" y="160"/>
                    <a:pt x="39" y="160"/>
                  </a:cubicBezTo>
                  <a:cubicBezTo>
                    <a:pt x="30" y="154"/>
                    <a:pt x="20" y="147"/>
                    <a:pt x="12" y="139"/>
                  </a:cubicBezTo>
                  <a:cubicBezTo>
                    <a:pt x="7" y="134"/>
                    <a:pt x="7" y="131"/>
                    <a:pt x="1" y="127"/>
                  </a:cubicBezTo>
                  <a:cubicBezTo>
                    <a:pt x="0" y="119"/>
                    <a:pt x="10" y="112"/>
                    <a:pt x="15" y="106"/>
                  </a:cubicBezTo>
                  <a:cubicBezTo>
                    <a:pt x="17" y="94"/>
                    <a:pt x="11" y="84"/>
                    <a:pt x="7" y="73"/>
                  </a:cubicBezTo>
                  <a:cubicBezTo>
                    <a:pt x="6" y="61"/>
                    <a:pt x="6" y="54"/>
                    <a:pt x="6" y="4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43" name="Freeform 446"/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3066959" y="2284427"/>
              <a:ext cx="276699" cy="171573"/>
            </a:xfrm>
            <a:custGeom>
              <a:avLst/>
              <a:gdLst>
                <a:gd name="T0" fmla="*/ 107 w 287"/>
                <a:gd name="T1" fmla="*/ 158 h 178"/>
                <a:gd name="T2" fmla="*/ 131 w 287"/>
                <a:gd name="T3" fmla="*/ 137 h 178"/>
                <a:gd name="T4" fmla="*/ 151 w 287"/>
                <a:gd name="T5" fmla="*/ 132 h 178"/>
                <a:gd name="T6" fmla="*/ 152 w 287"/>
                <a:gd name="T7" fmla="*/ 149 h 178"/>
                <a:gd name="T8" fmla="*/ 163 w 287"/>
                <a:gd name="T9" fmla="*/ 156 h 178"/>
                <a:gd name="T10" fmla="*/ 176 w 287"/>
                <a:gd name="T11" fmla="*/ 176 h 178"/>
                <a:gd name="T12" fmla="*/ 211 w 287"/>
                <a:gd name="T13" fmla="*/ 164 h 178"/>
                <a:gd name="T14" fmla="*/ 194 w 287"/>
                <a:gd name="T15" fmla="*/ 149 h 178"/>
                <a:gd name="T16" fmla="*/ 185 w 287"/>
                <a:gd name="T17" fmla="*/ 143 h 178"/>
                <a:gd name="T18" fmla="*/ 199 w 287"/>
                <a:gd name="T19" fmla="*/ 134 h 178"/>
                <a:gd name="T20" fmla="*/ 217 w 287"/>
                <a:gd name="T21" fmla="*/ 125 h 178"/>
                <a:gd name="T22" fmla="*/ 251 w 287"/>
                <a:gd name="T23" fmla="*/ 114 h 178"/>
                <a:gd name="T24" fmla="*/ 263 w 287"/>
                <a:gd name="T25" fmla="*/ 104 h 178"/>
                <a:gd name="T26" fmla="*/ 263 w 287"/>
                <a:gd name="T27" fmla="*/ 63 h 178"/>
                <a:gd name="T28" fmla="*/ 225 w 287"/>
                <a:gd name="T29" fmla="*/ 52 h 178"/>
                <a:gd name="T30" fmla="*/ 214 w 287"/>
                <a:gd name="T31" fmla="*/ 45 h 178"/>
                <a:gd name="T32" fmla="*/ 187 w 287"/>
                <a:gd name="T33" fmla="*/ 29 h 178"/>
                <a:gd name="T34" fmla="*/ 179 w 287"/>
                <a:gd name="T35" fmla="*/ 11 h 178"/>
                <a:gd name="T36" fmla="*/ 142 w 287"/>
                <a:gd name="T37" fmla="*/ 8 h 178"/>
                <a:gd name="T38" fmla="*/ 122 w 287"/>
                <a:gd name="T39" fmla="*/ 12 h 178"/>
                <a:gd name="T40" fmla="*/ 109 w 287"/>
                <a:gd name="T41" fmla="*/ 18 h 178"/>
                <a:gd name="T42" fmla="*/ 92 w 287"/>
                <a:gd name="T43" fmla="*/ 17 h 178"/>
                <a:gd name="T44" fmla="*/ 31 w 287"/>
                <a:gd name="T45" fmla="*/ 15 h 178"/>
                <a:gd name="T46" fmla="*/ 28 w 287"/>
                <a:gd name="T47" fmla="*/ 32 h 178"/>
                <a:gd name="T48" fmla="*/ 14 w 287"/>
                <a:gd name="T49" fmla="*/ 53 h 178"/>
                <a:gd name="T50" fmla="*/ 5 w 287"/>
                <a:gd name="T51" fmla="*/ 63 h 178"/>
                <a:gd name="T52" fmla="*/ 7 w 287"/>
                <a:gd name="T53" fmla="*/ 72 h 178"/>
                <a:gd name="T54" fmla="*/ 5 w 287"/>
                <a:gd name="T55" fmla="*/ 84 h 178"/>
                <a:gd name="T56" fmla="*/ 7 w 287"/>
                <a:gd name="T57" fmla="*/ 96 h 178"/>
                <a:gd name="T58" fmla="*/ 47 w 287"/>
                <a:gd name="T59" fmla="*/ 98 h 178"/>
                <a:gd name="T60" fmla="*/ 65 w 287"/>
                <a:gd name="T61" fmla="*/ 95 h 178"/>
                <a:gd name="T62" fmla="*/ 73 w 287"/>
                <a:gd name="T63" fmla="*/ 89 h 178"/>
                <a:gd name="T64" fmla="*/ 91 w 287"/>
                <a:gd name="T65" fmla="*/ 90 h 178"/>
                <a:gd name="T66" fmla="*/ 103 w 287"/>
                <a:gd name="T67" fmla="*/ 99 h 178"/>
                <a:gd name="T68" fmla="*/ 109 w 287"/>
                <a:gd name="T69" fmla="*/ 117 h 178"/>
                <a:gd name="T70" fmla="*/ 110 w 287"/>
                <a:gd name="T71" fmla="*/ 132 h 178"/>
                <a:gd name="T72" fmla="*/ 104 w 287"/>
                <a:gd name="T73" fmla="*/ 144 h 178"/>
                <a:gd name="T74" fmla="*/ 98 w 287"/>
                <a:gd name="T75" fmla="*/ 150 h 178"/>
                <a:gd name="T76" fmla="*/ 107 w 287"/>
                <a:gd name="T77" fmla="*/ 15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7" h="178">
                  <a:moveTo>
                    <a:pt x="107" y="158"/>
                  </a:moveTo>
                  <a:cubicBezTo>
                    <a:pt x="117" y="154"/>
                    <a:pt x="123" y="143"/>
                    <a:pt x="131" y="137"/>
                  </a:cubicBezTo>
                  <a:cubicBezTo>
                    <a:pt x="135" y="126"/>
                    <a:pt x="141" y="130"/>
                    <a:pt x="151" y="132"/>
                  </a:cubicBezTo>
                  <a:cubicBezTo>
                    <a:pt x="155" y="139"/>
                    <a:pt x="156" y="142"/>
                    <a:pt x="152" y="149"/>
                  </a:cubicBezTo>
                  <a:cubicBezTo>
                    <a:pt x="155" y="155"/>
                    <a:pt x="157" y="155"/>
                    <a:pt x="163" y="156"/>
                  </a:cubicBezTo>
                  <a:cubicBezTo>
                    <a:pt x="170" y="168"/>
                    <a:pt x="159" y="178"/>
                    <a:pt x="176" y="176"/>
                  </a:cubicBezTo>
                  <a:cubicBezTo>
                    <a:pt x="190" y="162"/>
                    <a:pt x="186" y="165"/>
                    <a:pt x="211" y="164"/>
                  </a:cubicBezTo>
                  <a:cubicBezTo>
                    <a:pt x="217" y="154"/>
                    <a:pt x="202" y="150"/>
                    <a:pt x="194" y="149"/>
                  </a:cubicBezTo>
                  <a:cubicBezTo>
                    <a:pt x="191" y="147"/>
                    <a:pt x="185" y="147"/>
                    <a:pt x="185" y="143"/>
                  </a:cubicBezTo>
                  <a:cubicBezTo>
                    <a:pt x="185" y="138"/>
                    <a:pt x="196" y="135"/>
                    <a:pt x="199" y="134"/>
                  </a:cubicBezTo>
                  <a:cubicBezTo>
                    <a:pt x="205" y="131"/>
                    <a:pt x="211" y="129"/>
                    <a:pt x="217" y="125"/>
                  </a:cubicBezTo>
                  <a:cubicBezTo>
                    <a:pt x="223" y="115"/>
                    <a:pt x="240" y="116"/>
                    <a:pt x="251" y="114"/>
                  </a:cubicBezTo>
                  <a:cubicBezTo>
                    <a:pt x="256" y="111"/>
                    <a:pt x="259" y="109"/>
                    <a:pt x="263" y="104"/>
                  </a:cubicBezTo>
                  <a:cubicBezTo>
                    <a:pt x="266" y="84"/>
                    <a:pt x="287" y="67"/>
                    <a:pt x="263" y="63"/>
                  </a:cubicBezTo>
                  <a:cubicBezTo>
                    <a:pt x="257" y="54"/>
                    <a:pt x="234" y="54"/>
                    <a:pt x="225" y="52"/>
                  </a:cubicBezTo>
                  <a:cubicBezTo>
                    <a:pt x="217" y="49"/>
                    <a:pt x="220" y="49"/>
                    <a:pt x="214" y="45"/>
                  </a:cubicBezTo>
                  <a:cubicBezTo>
                    <a:pt x="209" y="38"/>
                    <a:pt x="195" y="34"/>
                    <a:pt x="187" y="29"/>
                  </a:cubicBezTo>
                  <a:cubicBezTo>
                    <a:pt x="183" y="24"/>
                    <a:pt x="183" y="16"/>
                    <a:pt x="179" y="11"/>
                  </a:cubicBezTo>
                  <a:cubicBezTo>
                    <a:pt x="177" y="0"/>
                    <a:pt x="151" y="9"/>
                    <a:pt x="142" y="8"/>
                  </a:cubicBezTo>
                  <a:cubicBezTo>
                    <a:pt x="133" y="9"/>
                    <a:pt x="130" y="10"/>
                    <a:pt x="122" y="12"/>
                  </a:cubicBezTo>
                  <a:cubicBezTo>
                    <a:pt x="117" y="14"/>
                    <a:pt x="114" y="17"/>
                    <a:pt x="109" y="18"/>
                  </a:cubicBezTo>
                  <a:cubicBezTo>
                    <a:pt x="104" y="19"/>
                    <a:pt x="105" y="17"/>
                    <a:pt x="92" y="17"/>
                  </a:cubicBezTo>
                  <a:cubicBezTo>
                    <a:pt x="74" y="8"/>
                    <a:pt x="46" y="15"/>
                    <a:pt x="31" y="15"/>
                  </a:cubicBezTo>
                  <a:cubicBezTo>
                    <a:pt x="21" y="19"/>
                    <a:pt x="23" y="24"/>
                    <a:pt x="28" y="32"/>
                  </a:cubicBezTo>
                  <a:cubicBezTo>
                    <a:pt x="26" y="41"/>
                    <a:pt x="22" y="48"/>
                    <a:pt x="14" y="53"/>
                  </a:cubicBezTo>
                  <a:cubicBezTo>
                    <a:pt x="11" y="58"/>
                    <a:pt x="6" y="60"/>
                    <a:pt x="5" y="63"/>
                  </a:cubicBezTo>
                  <a:cubicBezTo>
                    <a:pt x="4" y="66"/>
                    <a:pt x="7" y="69"/>
                    <a:pt x="7" y="72"/>
                  </a:cubicBezTo>
                  <a:cubicBezTo>
                    <a:pt x="7" y="75"/>
                    <a:pt x="5" y="80"/>
                    <a:pt x="5" y="84"/>
                  </a:cubicBezTo>
                  <a:cubicBezTo>
                    <a:pt x="6" y="88"/>
                    <a:pt x="0" y="94"/>
                    <a:pt x="7" y="96"/>
                  </a:cubicBezTo>
                  <a:cubicBezTo>
                    <a:pt x="14" y="98"/>
                    <a:pt x="37" y="98"/>
                    <a:pt x="47" y="98"/>
                  </a:cubicBezTo>
                  <a:cubicBezTo>
                    <a:pt x="56" y="97"/>
                    <a:pt x="61" y="96"/>
                    <a:pt x="65" y="95"/>
                  </a:cubicBezTo>
                  <a:cubicBezTo>
                    <a:pt x="69" y="94"/>
                    <a:pt x="69" y="90"/>
                    <a:pt x="73" y="89"/>
                  </a:cubicBezTo>
                  <a:cubicBezTo>
                    <a:pt x="79" y="86"/>
                    <a:pt x="84" y="89"/>
                    <a:pt x="91" y="90"/>
                  </a:cubicBezTo>
                  <a:cubicBezTo>
                    <a:pt x="96" y="93"/>
                    <a:pt x="99" y="94"/>
                    <a:pt x="103" y="99"/>
                  </a:cubicBezTo>
                  <a:cubicBezTo>
                    <a:pt x="104" y="107"/>
                    <a:pt x="104" y="111"/>
                    <a:pt x="109" y="117"/>
                  </a:cubicBezTo>
                  <a:cubicBezTo>
                    <a:pt x="111" y="125"/>
                    <a:pt x="114" y="124"/>
                    <a:pt x="110" y="132"/>
                  </a:cubicBezTo>
                  <a:cubicBezTo>
                    <a:pt x="110" y="136"/>
                    <a:pt x="106" y="141"/>
                    <a:pt x="104" y="144"/>
                  </a:cubicBezTo>
                  <a:cubicBezTo>
                    <a:pt x="102" y="147"/>
                    <a:pt x="98" y="148"/>
                    <a:pt x="98" y="150"/>
                  </a:cubicBezTo>
                  <a:cubicBezTo>
                    <a:pt x="96" y="159"/>
                    <a:pt x="99" y="159"/>
                    <a:pt x="107" y="15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44" name="Freeform 447"/>
            <p:cNvSpPr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3551925" y="2437157"/>
              <a:ext cx="235045" cy="157689"/>
            </a:xfrm>
            <a:custGeom>
              <a:avLst/>
              <a:gdLst>
                <a:gd name="T0" fmla="*/ 174 w 244"/>
                <a:gd name="T1" fmla="*/ 93 h 163"/>
                <a:gd name="T2" fmla="*/ 189 w 244"/>
                <a:gd name="T3" fmla="*/ 82 h 163"/>
                <a:gd name="T4" fmla="*/ 219 w 244"/>
                <a:gd name="T5" fmla="*/ 61 h 163"/>
                <a:gd name="T6" fmla="*/ 237 w 244"/>
                <a:gd name="T7" fmla="*/ 73 h 163"/>
                <a:gd name="T8" fmla="*/ 244 w 244"/>
                <a:gd name="T9" fmla="*/ 84 h 163"/>
                <a:gd name="T10" fmla="*/ 196 w 244"/>
                <a:gd name="T11" fmla="*/ 97 h 163"/>
                <a:gd name="T12" fmla="*/ 183 w 244"/>
                <a:gd name="T13" fmla="*/ 106 h 163"/>
                <a:gd name="T14" fmla="*/ 172 w 244"/>
                <a:gd name="T15" fmla="*/ 115 h 163"/>
                <a:gd name="T16" fmla="*/ 177 w 244"/>
                <a:gd name="T17" fmla="*/ 142 h 163"/>
                <a:gd name="T18" fmla="*/ 153 w 244"/>
                <a:gd name="T19" fmla="*/ 157 h 163"/>
                <a:gd name="T20" fmla="*/ 150 w 244"/>
                <a:gd name="T21" fmla="*/ 153 h 163"/>
                <a:gd name="T22" fmla="*/ 148 w 244"/>
                <a:gd name="T23" fmla="*/ 147 h 163"/>
                <a:gd name="T24" fmla="*/ 121 w 244"/>
                <a:gd name="T25" fmla="*/ 129 h 163"/>
                <a:gd name="T26" fmla="*/ 99 w 244"/>
                <a:gd name="T27" fmla="*/ 112 h 163"/>
                <a:gd name="T28" fmla="*/ 91 w 244"/>
                <a:gd name="T29" fmla="*/ 93 h 163"/>
                <a:gd name="T30" fmla="*/ 76 w 244"/>
                <a:gd name="T31" fmla="*/ 78 h 163"/>
                <a:gd name="T32" fmla="*/ 58 w 244"/>
                <a:gd name="T33" fmla="*/ 73 h 163"/>
                <a:gd name="T34" fmla="*/ 49 w 244"/>
                <a:gd name="T35" fmla="*/ 57 h 163"/>
                <a:gd name="T36" fmla="*/ 18 w 244"/>
                <a:gd name="T37" fmla="*/ 72 h 163"/>
                <a:gd name="T38" fmla="*/ 4 w 244"/>
                <a:gd name="T39" fmla="*/ 79 h 163"/>
                <a:gd name="T40" fmla="*/ 4 w 244"/>
                <a:gd name="T41" fmla="*/ 19 h 163"/>
                <a:gd name="T42" fmla="*/ 30 w 244"/>
                <a:gd name="T43" fmla="*/ 9 h 163"/>
                <a:gd name="T44" fmla="*/ 43 w 244"/>
                <a:gd name="T45" fmla="*/ 0 h 163"/>
                <a:gd name="T46" fmla="*/ 51 w 244"/>
                <a:gd name="T47" fmla="*/ 9 h 163"/>
                <a:gd name="T48" fmla="*/ 61 w 244"/>
                <a:gd name="T49" fmla="*/ 12 h 163"/>
                <a:gd name="T50" fmla="*/ 69 w 244"/>
                <a:gd name="T51" fmla="*/ 25 h 163"/>
                <a:gd name="T52" fmla="*/ 90 w 244"/>
                <a:gd name="T53" fmla="*/ 34 h 163"/>
                <a:gd name="T54" fmla="*/ 105 w 244"/>
                <a:gd name="T55" fmla="*/ 46 h 163"/>
                <a:gd name="T56" fmla="*/ 139 w 244"/>
                <a:gd name="T57" fmla="*/ 46 h 163"/>
                <a:gd name="T58" fmla="*/ 150 w 244"/>
                <a:gd name="T59" fmla="*/ 63 h 163"/>
                <a:gd name="T60" fmla="*/ 156 w 244"/>
                <a:gd name="T61" fmla="*/ 75 h 163"/>
                <a:gd name="T62" fmla="*/ 165 w 244"/>
                <a:gd name="T63" fmla="*/ 81 h 163"/>
                <a:gd name="T64" fmla="*/ 174 w 244"/>
                <a:gd name="T65" fmla="*/ 9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4" h="163">
                  <a:moveTo>
                    <a:pt x="174" y="93"/>
                  </a:moveTo>
                  <a:cubicBezTo>
                    <a:pt x="186" y="84"/>
                    <a:pt x="180" y="87"/>
                    <a:pt x="189" y="82"/>
                  </a:cubicBezTo>
                  <a:cubicBezTo>
                    <a:pt x="196" y="73"/>
                    <a:pt x="209" y="65"/>
                    <a:pt x="219" y="61"/>
                  </a:cubicBezTo>
                  <a:cubicBezTo>
                    <a:pt x="227" y="64"/>
                    <a:pt x="229" y="71"/>
                    <a:pt x="237" y="73"/>
                  </a:cubicBezTo>
                  <a:cubicBezTo>
                    <a:pt x="243" y="76"/>
                    <a:pt x="243" y="78"/>
                    <a:pt x="244" y="84"/>
                  </a:cubicBezTo>
                  <a:cubicBezTo>
                    <a:pt x="242" y="101"/>
                    <a:pt x="211" y="95"/>
                    <a:pt x="196" y="97"/>
                  </a:cubicBezTo>
                  <a:cubicBezTo>
                    <a:pt x="192" y="100"/>
                    <a:pt x="187" y="103"/>
                    <a:pt x="183" y="106"/>
                  </a:cubicBezTo>
                  <a:cubicBezTo>
                    <a:pt x="180" y="112"/>
                    <a:pt x="179" y="114"/>
                    <a:pt x="172" y="115"/>
                  </a:cubicBezTo>
                  <a:cubicBezTo>
                    <a:pt x="174" y="124"/>
                    <a:pt x="173" y="134"/>
                    <a:pt x="177" y="142"/>
                  </a:cubicBezTo>
                  <a:cubicBezTo>
                    <a:pt x="174" y="163"/>
                    <a:pt x="175" y="159"/>
                    <a:pt x="153" y="157"/>
                  </a:cubicBezTo>
                  <a:cubicBezTo>
                    <a:pt x="152" y="156"/>
                    <a:pt x="151" y="154"/>
                    <a:pt x="150" y="153"/>
                  </a:cubicBezTo>
                  <a:cubicBezTo>
                    <a:pt x="149" y="151"/>
                    <a:pt x="149" y="149"/>
                    <a:pt x="148" y="147"/>
                  </a:cubicBezTo>
                  <a:cubicBezTo>
                    <a:pt x="143" y="140"/>
                    <a:pt x="128" y="133"/>
                    <a:pt x="121" y="129"/>
                  </a:cubicBezTo>
                  <a:cubicBezTo>
                    <a:pt x="116" y="121"/>
                    <a:pt x="106" y="118"/>
                    <a:pt x="99" y="112"/>
                  </a:cubicBezTo>
                  <a:cubicBezTo>
                    <a:pt x="95" y="106"/>
                    <a:pt x="94" y="99"/>
                    <a:pt x="91" y="93"/>
                  </a:cubicBezTo>
                  <a:cubicBezTo>
                    <a:pt x="90" y="86"/>
                    <a:pt x="83" y="79"/>
                    <a:pt x="76" y="78"/>
                  </a:cubicBezTo>
                  <a:cubicBezTo>
                    <a:pt x="72" y="74"/>
                    <a:pt x="62" y="76"/>
                    <a:pt x="58" y="73"/>
                  </a:cubicBezTo>
                  <a:cubicBezTo>
                    <a:pt x="54" y="70"/>
                    <a:pt x="56" y="57"/>
                    <a:pt x="49" y="57"/>
                  </a:cubicBezTo>
                  <a:cubicBezTo>
                    <a:pt x="31" y="58"/>
                    <a:pt x="24" y="58"/>
                    <a:pt x="18" y="72"/>
                  </a:cubicBezTo>
                  <a:cubicBezTo>
                    <a:pt x="17" y="79"/>
                    <a:pt x="9" y="75"/>
                    <a:pt x="4" y="79"/>
                  </a:cubicBezTo>
                  <a:cubicBezTo>
                    <a:pt x="5" y="72"/>
                    <a:pt x="0" y="30"/>
                    <a:pt x="4" y="19"/>
                  </a:cubicBezTo>
                  <a:cubicBezTo>
                    <a:pt x="8" y="8"/>
                    <a:pt x="24" y="12"/>
                    <a:pt x="30" y="9"/>
                  </a:cubicBezTo>
                  <a:cubicBezTo>
                    <a:pt x="34" y="6"/>
                    <a:pt x="39" y="3"/>
                    <a:pt x="43" y="0"/>
                  </a:cubicBezTo>
                  <a:cubicBezTo>
                    <a:pt x="46" y="0"/>
                    <a:pt x="48" y="7"/>
                    <a:pt x="51" y="9"/>
                  </a:cubicBezTo>
                  <a:cubicBezTo>
                    <a:pt x="54" y="11"/>
                    <a:pt x="58" y="9"/>
                    <a:pt x="61" y="12"/>
                  </a:cubicBezTo>
                  <a:cubicBezTo>
                    <a:pt x="64" y="14"/>
                    <a:pt x="66" y="22"/>
                    <a:pt x="69" y="25"/>
                  </a:cubicBezTo>
                  <a:cubicBezTo>
                    <a:pt x="74" y="29"/>
                    <a:pt x="73" y="31"/>
                    <a:pt x="90" y="34"/>
                  </a:cubicBezTo>
                  <a:cubicBezTo>
                    <a:pt x="95" y="37"/>
                    <a:pt x="97" y="44"/>
                    <a:pt x="105" y="46"/>
                  </a:cubicBezTo>
                  <a:cubicBezTo>
                    <a:pt x="113" y="48"/>
                    <a:pt x="132" y="43"/>
                    <a:pt x="139" y="46"/>
                  </a:cubicBezTo>
                  <a:cubicBezTo>
                    <a:pt x="148" y="51"/>
                    <a:pt x="141" y="56"/>
                    <a:pt x="150" y="63"/>
                  </a:cubicBezTo>
                  <a:cubicBezTo>
                    <a:pt x="152" y="68"/>
                    <a:pt x="154" y="72"/>
                    <a:pt x="156" y="75"/>
                  </a:cubicBezTo>
                  <a:cubicBezTo>
                    <a:pt x="158" y="78"/>
                    <a:pt x="162" y="78"/>
                    <a:pt x="165" y="81"/>
                  </a:cubicBezTo>
                  <a:cubicBezTo>
                    <a:pt x="172" y="76"/>
                    <a:pt x="165" y="87"/>
                    <a:pt x="174" y="9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45" name="Freeform 448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3394237" y="2500629"/>
              <a:ext cx="70415" cy="63472"/>
            </a:xfrm>
            <a:custGeom>
              <a:avLst/>
              <a:gdLst>
                <a:gd name="T0" fmla="*/ 44 w 73"/>
                <a:gd name="T1" fmla="*/ 22 h 66"/>
                <a:gd name="T2" fmla="*/ 31 w 73"/>
                <a:gd name="T3" fmla="*/ 18 h 66"/>
                <a:gd name="T4" fmla="*/ 20 w 73"/>
                <a:gd name="T5" fmla="*/ 0 h 66"/>
                <a:gd name="T6" fmla="*/ 4 w 73"/>
                <a:gd name="T7" fmla="*/ 7 h 66"/>
                <a:gd name="T8" fmla="*/ 7 w 73"/>
                <a:gd name="T9" fmla="*/ 28 h 66"/>
                <a:gd name="T10" fmla="*/ 13 w 73"/>
                <a:gd name="T11" fmla="*/ 36 h 66"/>
                <a:gd name="T12" fmla="*/ 16 w 73"/>
                <a:gd name="T13" fmla="*/ 46 h 66"/>
                <a:gd name="T14" fmla="*/ 28 w 73"/>
                <a:gd name="T15" fmla="*/ 51 h 66"/>
                <a:gd name="T16" fmla="*/ 41 w 73"/>
                <a:gd name="T17" fmla="*/ 48 h 66"/>
                <a:gd name="T18" fmla="*/ 56 w 73"/>
                <a:gd name="T19" fmla="*/ 66 h 66"/>
                <a:gd name="T20" fmla="*/ 62 w 73"/>
                <a:gd name="T21" fmla="*/ 45 h 66"/>
                <a:gd name="T22" fmla="*/ 73 w 73"/>
                <a:gd name="T23" fmla="*/ 31 h 66"/>
                <a:gd name="T24" fmla="*/ 61 w 73"/>
                <a:gd name="T25" fmla="*/ 18 h 66"/>
                <a:gd name="T26" fmla="*/ 49 w 73"/>
                <a:gd name="T27" fmla="*/ 4 h 66"/>
                <a:gd name="T28" fmla="*/ 44 w 73"/>
                <a:gd name="T29" fmla="*/ 2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66">
                  <a:moveTo>
                    <a:pt x="44" y="22"/>
                  </a:moveTo>
                  <a:cubicBezTo>
                    <a:pt x="39" y="21"/>
                    <a:pt x="36" y="19"/>
                    <a:pt x="31" y="18"/>
                  </a:cubicBezTo>
                  <a:cubicBezTo>
                    <a:pt x="24" y="13"/>
                    <a:pt x="28" y="5"/>
                    <a:pt x="20" y="0"/>
                  </a:cubicBezTo>
                  <a:cubicBezTo>
                    <a:pt x="15" y="2"/>
                    <a:pt x="8" y="4"/>
                    <a:pt x="4" y="7"/>
                  </a:cubicBezTo>
                  <a:cubicBezTo>
                    <a:pt x="0" y="16"/>
                    <a:pt x="1" y="20"/>
                    <a:pt x="7" y="28"/>
                  </a:cubicBezTo>
                  <a:cubicBezTo>
                    <a:pt x="10" y="42"/>
                    <a:pt x="5" y="24"/>
                    <a:pt x="13" y="36"/>
                  </a:cubicBezTo>
                  <a:cubicBezTo>
                    <a:pt x="15" y="39"/>
                    <a:pt x="14" y="43"/>
                    <a:pt x="16" y="46"/>
                  </a:cubicBezTo>
                  <a:cubicBezTo>
                    <a:pt x="18" y="54"/>
                    <a:pt x="21" y="52"/>
                    <a:pt x="28" y="51"/>
                  </a:cubicBezTo>
                  <a:cubicBezTo>
                    <a:pt x="32" y="44"/>
                    <a:pt x="35" y="43"/>
                    <a:pt x="41" y="48"/>
                  </a:cubicBezTo>
                  <a:cubicBezTo>
                    <a:pt x="46" y="57"/>
                    <a:pt x="46" y="61"/>
                    <a:pt x="56" y="66"/>
                  </a:cubicBezTo>
                  <a:cubicBezTo>
                    <a:pt x="68" y="62"/>
                    <a:pt x="58" y="55"/>
                    <a:pt x="62" y="45"/>
                  </a:cubicBezTo>
                  <a:cubicBezTo>
                    <a:pt x="63" y="41"/>
                    <a:pt x="71" y="35"/>
                    <a:pt x="73" y="31"/>
                  </a:cubicBezTo>
                  <a:cubicBezTo>
                    <a:pt x="71" y="26"/>
                    <a:pt x="65" y="21"/>
                    <a:pt x="61" y="18"/>
                  </a:cubicBezTo>
                  <a:cubicBezTo>
                    <a:pt x="59" y="12"/>
                    <a:pt x="54" y="7"/>
                    <a:pt x="49" y="4"/>
                  </a:cubicBezTo>
                  <a:cubicBezTo>
                    <a:pt x="47" y="10"/>
                    <a:pt x="47" y="16"/>
                    <a:pt x="44" y="2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46" name="Freeform 449"/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3125472" y="2366742"/>
              <a:ext cx="50580" cy="65456"/>
            </a:xfrm>
            <a:custGeom>
              <a:avLst/>
              <a:gdLst>
                <a:gd name="T0" fmla="*/ 0 w 52"/>
                <a:gd name="T1" fmla="*/ 11 h 68"/>
                <a:gd name="T2" fmla="*/ 25 w 52"/>
                <a:gd name="T3" fmla="*/ 1 h 68"/>
                <a:gd name="T4" fmla="*/ 42 w 52"/>
                <a:gd name="T5" fmla="*/ 11 h 68"/>
                <a:gd name="T6" fmla="*/ 45 w 52"/>
                <a:gd name="T7" fmla="*/ 29 h 68"/>
                <a:gd name="T8" fmla="*/ 52 w 52"/>
                <a:gd name="T9" fmla="*/ 43 h 68"/>
                <a:gd name="T10" fmla="*/ 46 w 52"/>
                <a:gd name="T11" fmla="*/ 55 h 68"/>
                <a:gd name="T12" fmla="*/ 34 w 52"/>
                <a:gd name="T13" fmla="*/ 68 h 68"/>
                <a:gd name="T14" fmla="*/ 18 w 52"/>
                <a:gd name="T15" fmla="*/ 28 h 68"/>
                <a:gd name="T16" fmla="*/ 0 w 52"/>
                <a:gd name="T17" fmla="*/ 1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68">
                  <a:moveTo>
                    <a:pt x="0" y="11"/>
                  </a:moveTo>
                  <a:cubicBezTo>
                    <a:pt x="2" y="1"/>
                    <a:pt x="14" y="0"/>
                    <a:pt x="25" y="1"/>
                  </a:cubicBezTo>
                  <a:cubicBezTo>
                    <a:pt x="34" y="4"/>
                    <a:pt x="31" y="10"/>
                    <a:pt x="42" y="11"/>
                  </a:cubicBezTo>
                  <a:cubicBezTo>
                    <a:pt x="46" y="15"/>
                    <a:pt x="43" y="24"/>
                    <a:pt x="45" y="29"/>
                  </a:cubicBezTo>
                  <a:cubicBezTo>
                    <a:pt x="47" y="34"/>
                    <a:pt x="52" y="39"/>
                    <a:pt x="52" y="43"/>
                  </a:cubicBezTo>
                  <a:cubicBezTo>
                    <a:pt x="48" y="46"/>
                    <a:pt x="50" y="52"/>
                    <a:pt x="46" y="55"/>
                  </a:cubicBezTo>
                  <a:cubicBezTo>
                    <a:pt x="43" y="62"/>
                    <a:pt x="40" y="63"/>
                    <a:pt x="34" y="68"/>
                  </a:cubicBezTo>
                  <a:cubicBezTo>
                    <a:pt x="14" y="66"/>
                    <a:pt x="37" y="42"/>
                    <a:pt x="18" y="28"/>
                  </a:cubicBezTo>
                  <a:cubicBezTo>
                    <a:pt x="16" y="24"/>
                    <a:pt x="2" y="4"/>
                    <a:pt x="0" y="1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47" name="Freeform 450"/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3331756" y="2480794"/>
              <a:ext cx="75373" cy="40662"/>
            </a:xfrm>
            <a:custGeom>
              <a:avLst/>
              <a:gdLst>
                <a:gd name="T0" fmla="*/ 34 w 78"/>
                <a:gd name="T1" fmla="*/ 31 h 42"/>
                <a:gd name="T2" fmla="*/ 12 w 78"/>
                <a:gd name="T3" fmla="*/ 13 h 42"/>
                <a:gd name="T4" fmla="*/ 37 w 78"/>
                <a:gd name="T5" fmla="*/ 7 h 42"/>
                <a:gd name="T6" fmla="*/ 57 w 78"/>
                <a:gd name="T7" fmla="*/ 10 h 42"/>
                <a:gd name="T8" fmla="*/ 78 w 78"/>
                <a:gd name="T9" fmla="*/ 19 h 42"/>
                <a:gd name="T10" fmla="*/ 64 w 78"/>
                <a:gd name="T11" fmla="*/ 36 h 42"/>
                <a:gd name="T12" fmla="*/ 34 w 78"/>
                <a:gd name="T13" fmla="*/ 3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42">
                  <a:moveTo>
                    <a:pt x="34" y="31"/>
                  </a:moveTo>
                  <a:cubicBezTo>
                    <a:pt x="0" y="25"/>
                    <a:pt x="34" y="30"/>
                    <a:pt x="12" y="13"/>
                  </a:cubicBezTo>
                  <a:cubicBezTo>
                    <a:pt x="6" y="0"/>
                    <a:pt x="35" y="7"/>
                    <a:pt x="37" y="7"/>
                  </a:cubicBezTo>
                  <a:cubicBezTo>
                    <a:pt x="51" y="13"/>
                    <a:pt x="27" y="4"/>
                    <a:pt x="57" y="10"/>
                  </a:cubicBezTo>
                  <a:cubicBezTo>
                    <a:pt x="64" y="11"/>
                    <a:pt x="70" y="18"/>
                    <a:pt x="78" y="19"/>
                  </a:cubicBezTo>
                  <a:cubicBezTo>
                    <a:pt x="67" y="23"/>
                    <a:pt x="73" y="32"/>
                    <a:pt x="64" y="36"/>
                  </a:cubicBezTo>
                  <a:cubicBezTo>
                    <a:pt x="35" y="34"/>
                    <a:pt x="41" y="42"/>
                    <a:pt x="34" y="3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48" name="Freeform 451"/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3020346" y="2492695"/>
              <a:ext cx="39670" cy="45621"/>
            </a:xfrm>
            <a:custGeom>
              <a:avLst/>
              <a:gdLst>
                <a:gd name="T0" fmla="*/ 8 w 41"/>
                <a:gd name="T1" fmla="*/ 3 h 47"/>
                <a:gd name="T2" fmla="*/ 23 w 41"/>
                <a:gd name="T3" fmla="*/ 6 h 47"/>
                <a:gd name="T4" fmla="*/ 40 w 41"/>
                <a:gd name="T5" fmla="*/ 32 h 47"/>
                <a:gd name="T6" fmla="*/ 26 w 41"/>
                <a:gd name="T7" fmla="*/ 42 h 47"/>
                <a:gd name="T8" fmla="*/ 10 w 41"/>
                <a:gd name="T9" fmla="*/ 45 h 47"/>
                <a:gd name="T10" fmla="*/ 5 w 41"/>
                <a:gd name="T11" fmla="*/ 18 h 47"/>
                <a:gd name="T12" fmla="*/ 8 w 41"/>
                <a:gd name="T13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47">
                  <a:moveTo>
                    <a:pt x="8" y="3"/>
                  </a:moveTo>
                  <a:cubicBezTo>
                    <a:pt x="15" y="2"/>
                    <a:pt x="20" y="0"/>
                    <a:pt x="23" y="6"/>
                  </a:cubicBezTo>
                  <a:cubicBezTo>
                    <a:pt x="25" y="17"/>
                    <a:pt x="31" y="26"/>
                    <a:pt x="40" y="32"/>
                  </a:cubicBezTo>
                  <a:cubicBezTo>
                    <a:pt x="41" y="39"/>
                    <a:pt x="33" y="41"/>
                    <a:pt x="26" y="42"/>
                  </a:cubicBezTo>
                  <a:cubicBezTo>
                    <a:pt x="20" y="47"/>
                    <a:pt x="18" y="47"/>
                    <a:pt x="10" y="45"/>
                  </a:cubicBezTo>
                  <a:cubicBezTo>
                    <a:pt x="0" y="39"/>
                    <a:pt x="4" y="30"/>
                    <a:pt x="5" y="18"/>
                  </a:cubicBezTo>
                  <a:cubicBezTo>
                    <a:pt x="5" y="14"/>
                    <a:pt x="1" y="3"/>
                    <a:pt x="8" y="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49" name="Freeform 452"/>
            <p:cNvSpPr>
              <a:spLocks/>
            </p:cNvSpPr>
            <p:nvPr>
              <p:custDataLst>
                <p:tags r:id="rId17"/>
              </p:custDataLst>
            </p:nvPr>
          </p:nvSpPr>
          <p:spPr bwMode="gray">
            <a:xfrm>
              <a:off x="3039190" y="2494679"/>
              <a:ext cx="52563" cy="27769"/>
            </a:xfrm>
            <a:custGeom>
              <a:avLst/>
              <a:gdLst>
                <a:gd name="T0" fmla="*/ 4 w 55"/>
                <a:gd name="T1" fmla="*/ 7 h 28"/>
                <a:gd name="T2" fmla="*/ 21 w 55"/>
                <a:gd name="T3" fmla="*/ 0 h 28"/>
                <a:gd name="T4" fmla="*/ 46 w 55"/>
                <a:gd name="T5" fmla="*/ 15 h 28"/>
                <a:gd name="T6" fmla="*/ 31 w 55"/>
                <a:gd name="T7" fmla="*/ 19 h 28"/>
                <a:gd name="T8" fmla="*/ 19 w 55"/>
                <a:gd name="T9" fmla="*/ 28 h 28"/>
                <a:gd name="T10" fmla="*/ 4 w 55"/>
                <a:gd name="T11" fmla="*/ 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28">
                  <a:moveTo>
                    <a:pt x="4" y="7"/>
                  </a:moveTo>
                  <a:cubicBezTo>
                    <a:pt x="17" y="6"/>
                    <a:pt x="10" y="2"/>
                    <a:pt x="21" y="0"/>
                  </a:cubicBezTo>
                  <a:cubicBezTo>
                    <a:pt x="55" y="2"/>
                    <a:pt x="28" y="2"/>
                    <a:pt x="46" y="15"/>
                  </a:cubicBezTo>
                  <a:cubicBezTo>
                    <a:pt x="41" y="16"/>
                    <a:pt x="36" y="18"/>
                    <a:pt x="31" y="19"/>
                  </a:cubicBezTo>
                  <a:cubicBezTo>
                    <a:pt x="26" y="22"/>
                    <a:pt x="22" y="23"/>
                    <a:pt x="19" y="28"/>
                  </a:cubicBezTo>
                  <a:cubicBezTo>
                    <a:pt x="14" y="26"/>
                    <a:pt x="0" y="7"/>
                    <a:pt x="4" y="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50" name="Freeform 453"/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3070926" y="2458976"/>
              <a:ext cx="90250" cy="56530"/>
            </a:xfrm>
            <a:custGeom>
              <a:avLst/>
              <a:gdLst>
                <a:gd name="T0" fmla="*/ 6 w 94"/>
                <a:gd name="T1" fmla="*/ 34 h 58"/>
                <a:gd name="T2" fmla="*/ 7 w 94"/>
                <a:gd name="T3" fmla="*/ 29 h 58"/>
                <a:gd name="T4" fmla="*/ 12 w 94"/>
                <a:gd name="T5" fmla="*/ 25 h 58"/>
                <a:gd name="T6" fmla="*/ 0 w 94"/>
                <a:gd name="T7" fmla="*/ 8 h 58"/>
                <a:gd name="T8" fmla="*/ 36 w 94"/>
                <a:gd name="T9" fmla="*/ 8 h 58"/>
                <a:gd name="T10" fmla="*/ 66 w 94"/>
                <a:gd name="T11" fmla="*/ 1 h 58"/>
                <a:gd name="T12" fmla="*/ 84 w 94"/>
                <a:gd name="T13" fmla="*/ 8 h 58"/>
                <a:gd name="T14" fmla="*/ 63 w 94"/>
                <a:gd name="T15" fmla="*/ 34 h 58"/>
                <a:gd name="T16" fmla="*/ 52 w 94"/>
                <a:gd name="T17" fmla="*/ 52 h 58"/>
                <a:gd name="T18" fmla="*/ 34 w 94"/>
                <a:gd name="T19" fmla="*/ 55 h 58"/>
                <a:gd name="T20" fmla="*/ 12 w 94"/>
                <a:gd name="T21" fmla="*/ 49 h 58"/>
                <a:gd name="T22" fmla="*/ 6 w 94"/>
                <a:gd name="T23" fmla="*/ 3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58">
                  <a:moveTo>
                    <a:pt x="6" y="34"/>
                  </a:moveTo>
                  <a:cubicBezTo>
                    <a:pt x="6" y="32"/>
                    <a:pt x="6" y="30"/>
                    <a:pt x="7" y="29"/>
                  </a:cubicBezTo>
                  <a:cubicBezTo>
                    <a:pt x="8" y="27"/>
                    <a:pt x="11" y="27"/>
                    <a:pt x="12" y="25"/>
                  </a:cubicBezTo>
                  <a:cubicBezTo>
                    <a:pt x="14" y="17"/>
                    <a:pt x="5" y="12"/>
                    <a:pt x="0" y="8"/>
                  </a:cubicBezTo>
                  <a:cubicBezTo>
                    <a:pt x="10" y="0"/>
                    <a:pt x="24" y="6"/>
                    <a:pt x="36" y="8"/>
                  </a:cubicBezTo>
                  <a:cubicBezTo>
                    <a:pt x="49" y="7"/>
                    <a:pt x="54" y="3"/>
                    <a:pt x="66" y="1"/>
                  </a:cubicBezTo>
                  <a:cubicBezTo>
                    <a:pt x="75" y="2"/>
                    <a:pt x="77" y="2"/>
                    <a:pt x="84" y="8"/>
                  </a:cubicBezTo>
                  <a:cubicBezTo>
                    <a:pt x="94" y="25"/>
                    <a:pt x="75" y="32"/>
                    <a:pt x="63" y="34"/>
                  </a:cubicBezTo>
                  <a:cubicBezTo>
                    <a:pt x="60" y="43"/>
                    <a:pt x="62" y="49"/>
                    <a:pt x="52" y="52"/>
                  </a:cubicBezTo>
                  <a:cubicBezTo>
                    <a:pt x="44" y="58"/>
                    <a:pt x="43" y="57"/>
                    <a:pt x="34" y="55"/>
                  </a:cubicBezTo>
                  <a:cubicBezTo>
                    <a:pt x="26" y="49"/>
                    <a:pt x="23" y="50"/>
                    <a:pt x="12" y="49"/>
                  </a:cubicBezTo>
                  <a:cubicBezTo>
                    <a:pt x="8" y="43"/>
                    <a:pt x="6" y="41"/>
                    <a:pt x="6" y="3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51" name="Freeform 454"/>
            <p:cNvSpPr>
              <a:spLocks/>
            </p:cNvSpPr>
            <p:nvPr>
              <p:custDataLst>
                <p:tags r:id="rId19"/>
              </p:custDataLst>
            </p:nvPr>
          </p:nvSpPr>
          <p:spPr bwMode="gray">
            <a:xfrm>
              <a:off x="3047124" y="2369718"/>
              <a:ext cx="128928" cy="105126"/>
            </a:xfrm>
            <a:custGeom>
              <a:avLst/>
              <a:gdLst>
                <a:gd name="T0" fmla="*/ 116 w 134"/>
                <a:gd name="T1" fmla="*/ 109 h 109"/>
                <a:gd name="T2" fmla="*/ 124 w 134"/>
                <a:gd name="T3" fmla="*/ 85 h 109"/>
                <a:gd name="T4" fmla="*/ 134 w 134"/>
                <a:gd name="T5" fmla="*/ 74 h 109"/>
                <a:gd name="T6" fmla="*/ 113 w 134"/>
                <a:gd name="T7" fmla="*/ 67 h 109"/>
                <a:gd name="T8" fmla="*/ 109 w 134"/>
                <a:gd name="T9" fmla="*/ 53 h 109"/>
                <a:gd name="T10" fmla="*/ 101 w 134"/>
                <a:gd name="T11" fmla="*/ 22 h 109"/>
                <a:gd name="T12" fmla="*/ 88 w 134"/>
                <a:gd name="T13" fmla="*/ 8 h 109"/>
                <a:gd name="T14" fmla="*/ 23 w 134"/>
                <a:gd name="T15" fmla="*/ 14 h 109"/>
                <a:gd name="T16" fmla="*/ 5 w 134"/>
                <a:gd name="T17" fmla="*/ 40 h 109"/>
                <a:gd name="T18" fmla="*/ 10 w 134"/>
                <a:gd name="T19" fmla="*/ 70 h 109"/>
                <a:gd name="T20" fmla="*/ 22 w 134"/>
                <a:gd name="T21" fmla="*/ 88 h 109"/>
                <a:gd name="T22" fmla="*/ 28 w 134"/>
                <a:gd name="T23" fmla="*/ 100 h 109"/>
                <a:gd name="T24" fmla="*/ 43 w 134"/>
                <a:gd name="T25" fmla="*/ 97 h 109"/>
                <a:gd name="T26" fmla="*/ 67 w 134"/>
                <a:gd name="T27" fmla="*/ 103 h 109"/>
                <a:gd name="T28" fmla="*/ 85 w 134"/>
                <a:gd name="T29" fmla="*/ 94 h 109"/>
                <a:gd name="T30" fmla="*/ 86 w 134"/>
                <a:gd name="T31" fmla="*/ 107 h 109"/>
                <a:gd name="T32" fmla="*/ 110 w 134"/>
                <a:gd name="T33" fmla="*/ 10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4" h="109">
                  <a:moveTo>
                    <a:pt x="116" y="109"/>
                  </a:moveTo>
                  <a:cubicBezTo>
                    <a:pt x="117" y="99"/>
                    <a:pt x="115" y="90"/>
                    <a:pt x="124" y="85"/>
                  </a:cubicBezTo>
                  <a:cubicBezTo>
                    <a:pt x="128" y="78"/>
                    <a:pt x="132" y="82"/>
                    <a:pt x="134" y="74"/>
                  </a:cubicBezTo>
                  <a:cubicBezTo>
                    <a:pt x="133" y="70"/>
                    <a:pt x="117" y="70"/>
                    <a:pt x="113" y="67"/>
                  </a:cubicBezTo>
                  <a:cubicBezTo>
                    <a:pt x="109" y="64"/>
                    <a:pt x="111" y="60"/>
                    <a:pt x="109" y="53"/>
                  </a:cubicBezTo>
                  <a:cubicBezTo>
                    <a:pt x="107" y="39"/>
                    <a:pt x="109" y="32"/>
                    <a:pt x="101" y="22"/>
                  </a:cubicBezTo>
                  <a:cubicBezTo>
                    <a:pt x="100" y="16"/>
                    <a:pt x="94" y="11"/>
                    <a:pt x="88" y="8"/>
                  </a:cubicBezTo>
                  <a:cubicBezTo>
                    <a:pt x="48" y="9"/>
                    <a:pt x="47" y="0"/>
                    <a:pt x="23" y="14"/>
                  </a:cubicBezTo>
                  <a:cubicBezTo>
                    <a:pt x="22" y="26"/>
                    <a:pt x="16" y="35"/>
                    <a:pt x="5" y="40"/>
                  </a:cubicBezTo>
                  <a:cubicBezTo>
                    <a:pt x="4" y="50"/>
                    <a:pt x="0" y="64"/>
                    <a:pt x="10" y="70"/>
                  </a:cubicBezTo>
                  <a:cubicBezTo>
                    <a:pt x="14" y="76"/>
                    <a:pt x="18" y="82"/>
                    <a:pt x="22" y="88"/>
                  </a:cubicBezTo>
                  <a:cubicBezTo>
                    <a:pt x="25" y="91"/>
                    <a:pt x="21" y="98"/>
                    <a:pt x="28" y="100"/>
                  </a:cubicBezTo>
                  <a:cubicBezTo>
                    <a:pt x="31" y="101"/>
                    <a:pt x="37" y="97"/>
                    <a:pt x="43" y="97"/>
                  </a:cubicBezTo>
                  <a:cubicBezTo>
                    <a:pt x="49" y="97"/>
                    <a:pt x="60" y="103"/>
                    <a:pt x="67" y="103"/>
                  </a:cubicBezTo>
                  <a:cubicBezTo>
                    <a:pt x="74" y="103"/>
                    <a:pt x="82" y="93"/>
                    <a:pt x="85" y="94"/>
                  </a:cubicBezTo>
                  <a:cubicBezTo>
                    <a:pt x="88" y="95"/>
                    <a:pt x="82" y="105"/>
                    <a:pt x="86" y="107"/>
                  </a:cubicBezTo>
                  <a:cubicBezTo>
                    <a:pt x="90" y="109"/>
                    <a:pt x="105" y="106"/>
                    <a:pt x="110" y="106"/>
                  </a:cubicBez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52" name="Freeform 455"/>
            <p:cNvSpPr>
              <a:spLocks/>
            </p:cNvSpPr>
            <p:nvPr>
              <p:custDataLst>
                <p:tags r:id="rId20"/>
              </p:custDataLst>
            </p:nvPr>
          </p:nvSpPr>
          <p:spPr bwMode="gray">
            <a:xfrm>
              <a:off x="3014396" y="2469885"/>
              <a:ext cx="29753" cy="31736"/>
            </a:xfrm>
            <a:custGeom>
              <a:avLst/>
              <a:gdLst>
                <a:gd name="T0" fmla="*/ 13 w 30"/>
                <a:gd name="T1" fmla="*/ 33 h 33"/>
                <a:gd name="T2" fmla="*/ 2 w 30"/>
                <a:gd name="T3" fmla="*/ 15 h 33"/>
                <a:gd name="T4" fmla="*/ 7 w 30"/>
                <a:gd name="T5" fmla="*/ 0 h 33"/>
                <a:gd name="T6" fmla="*/ 28 w 30"/>
                <a:gd name="T7" fmla="*/ 15 h 33"/>
                <a:gd name="T8" fmla="*/ 17 w 30"/>
                <a:gd name="T9" fmla="*/ 27 h 33"/>
                <a:gd name="T10" fmla="*/ 13 w 30"/>
                <a:gd name="T1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3">
                  <a:moveTo>
                    <a:pt x="13" y="33"/>
                  </a:moveTo>
                  <a:cubicBezTo>
                    <a:pt x="9" y="27"/>
                    <a:pt x="6" y="21"/>
                    <a:pt x="2" y="15"/>
                  </a:cubicBezTo>
                  <a:cubicBezTo>
                    <a:pt x="1" y="7"/>
                    <a:pt x="0" y="4"/>
                    <a:pt x="7" y="0"/>
                  </a:cubicBezTo>
                  <a:cubicBezTo>
                    <a:pt x="18" y="3"/>
                    <a:pt x="17" y="13"/>
                    <a:pt x="28" y="15"/>
                  </a:cubicBezTo>
                  <a:cubicBezTo>
                    <a:pt x="30" y="24"/>
                    <a:pt x="25" y="25"/>
                    <a:pt x="17" y="27"/>
                  </a:cubicBezTo>
                  <a:cubicBezTo>
                    <a:pt x="12" y="30"/>
                    <a:pt x="13" y="28"/>
                    <a:pt x="13" y="3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53" name="Freeform 456"/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2976709" y="2436165"/>
              <a:ext cx="51571" cy="47604"/>
            </a:xfrm>
            <a:custGeom>
              <a:avLst/>
              <a:gdLst>
                <a:gd name="T0" fmla="*/ 53 w 53"/>
                <a:gd name="T1" fmla="*/ 40 h 49"/>
                <a:gd name="T2" fmla="*/ 37 w 53"/>
                <a:gd name="T3" fmla="*/ 5 h 49"/>
                <a:gd name="T4" fmla="*/ 2 w 53"/>
                <a:gd name="T5" fmla="*/ 16 h 49"/>
                <a:gd name="T6" fmla="*/ 17 w 53"/>
                <a:gd name="T7" fmla="*/ 25 h 49"/>
                <a:gd name="T8" fmla="*/ 26 w 53"/>
                <a:gd name="T9" fmla="*/ 37 h 49"/>
                <a:gd name="T10" fmla="*/ 35 w 53"/>
                <a:gd name="T11" fmla="*/ 49 h 49"/>
                <a:gd name="T12" fmla="*/ 53 w 53"/>
                <a:gd name="T13" fmla="*/ 4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49">
                  <a:moveTo>
                    <a:pt x="53" y="40"/>
                  </a:moveTo>
                  <a:cubicBezTo>
                    <a:pt x="51" y="23"/>
                    <a:pt x="50" y="15"/>
                    <a:pt x="37" y="5"/>
                  </a:cubicBezTo>
                  <a:cubicBezTo>
                    <a:pt x="3" y="7"/>
                    <a:pt x="12" y="0"/>
                    <a:pt x="2" y="16"/>
                  </a:cubicBezTo>
                  <a:cubicBezTo>
                    <a:pt x="0" y="26"/>
                    <a:pt x="8" y="23"/>
                    <a:pt x="17" y="25"/>
                  </a:cubicBezTo>
                  <a:cubicBezTo>
                    <a:pt x="20" y="30"/>
                    <a:pt x="21" y="33"/>
                    <a:pt x="26" y="37"/>
                  </a:cubicBezTo>
                  <a:cubicBezTo>
                    <a:pt x="28" y="42"/>
                    <a:pt x="32" y="44"/>
                    <a:pt x="35" y="49"/>
                  </a:cubicBezTo>
                  <a:cubicBezTo>
                    <a:pt x="42" y="46"/>
                    <a:pt x="45" y="26"/>
                    <a:pt x="53" y="4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54" name="Freeform 457"/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2943982" y="2411371"/>
              <a:ext cx="77357" cy="81324"/>
            </a:xfrm>
            <a:custGeom>
              <a:avLst/>
              <a:gdLst>
                <a:gd name="T0" fmla="*/ 72 w 80"/>
                <a:gd name="T1" fmla="*/ 15 h 85"/>
                <a:gd name="T2" fmla="*/ 54 w 80"/>
                <a:gd name="T3" fmla="*/ 7 h 85"/>
                <a:gd name="T4" fmla="*/ 39 w 80"/>
                <a:gd name="T5" fmla="*/ 1 h 85"/>
                <a:gd name="T6" fmla="*/ 21 w 80"/>
                <a:gd name="T7" fmla="*/ 15 h 85"/>
                <a:gd name="T8" fmla="*/ 9 w 80"/>
                <a:gd name="T9" fmla="*/ 21 h 85"/>
                <a:gd name="T10" fmla="*/ 8 w 80"/>
                <a:gd name="T11" fmla="*/ 31 h 85"/>
                <a:gd name="T12" fmla="*/ 18 w 80"/>
                <a:gd name="T13" fmla="*/ 49 h 85"/>
                <a:gd name="T14" fmla="*/ 27 w 80"/>
                <a:gd name="T15" fmla="*/ 61 h 85"/>
                <a:gd name="T16" fmla="*/ 44 w 80"/>
                <a:gd name="T17" fmla="*/ 73 h 85"/>
                <a:gd name="T18" fmla="*/ 72 w 80"/>
                <a:gd name="T19" fmla="*/ 85 h 85"/>
                <a:gd name="T20" fmla="*/ 68 w 80"/>
                <a:gd name="T21" fmla="*/ 76 h 85"/>
                <a:gd name="T22" fmla="*/ 56 w 80"/>
                <a:gd name="T23" fmla="*/ 58 h 85"/>
                <a:gd name="T24" fmla="*/ 39 w 80"/>
                <a:gd name="T25" fmla="*/ 48 h 85"/>
                <a:gd name="T26" fmla="*/ 42 w 80"/>
                <a:gd name="T27" fmla="*/ 30 h 85"/>
                <a:gd name="T28" fmla="*/ 80 w 80"/>
                <a:gd name="T29" fmla="*/ 31 h 85"/>
                <a:gd name="T30" fmla="*/ 77 w 80"/>
                <a:gd name="T31" fmla="*/ 1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0" h="85">
                  <a:moveTo>
                    <a:pt x="72" y="15"/>
                  </a:moveTo>
                  <a:cubicBezTo>
                    <a:pt x="66" y="12"/>
                    <a:pt x="60" y="9"/>
                    <a:pt x="54" y="7"/>
                  </a:cubicBezTo>
                  <a:cubicBezTo>
                    <a:pt x="49" y="2"/>
                    <a:pt x="47" y="0"/>
                    <a:pt x="39" y="1"/>
                  </a:cubicBezTo>
                  <a:cubicBezTo>
                    <a:pt x="36" y="7"/>
                    <a:pt x="27" y="11"/>
                    <a:pt x="21" y="15"/>
                  </a:cubicBezTo>
                  <a:cubicBezTo>
                    <a:pt x="20" y="24"/>
                    <a:pt x="17" y="22"/>
                    <a:pt x="9" y="21"/>
                  </a:cubicBezTo>
                  <a:cubicBezTo>
                    <a:pt x="0" y="23"/>
                    <a:pt x="4" y="25"/>
                    <a:pt x="8" y="31"/>
                  </a:cubicBezTo>
                  <a:cubicBezTo>
                    <a:pt x="9" y="45"/>
                    <a:pt x="9" y="42"/>
                    <a:pt x="18" y="49"/>
                  </a:cubicBezTo>
                  <a:cubicBezTo>
                    <a:pt x="20" y="55"/>
                    <a:pt x="22" y="57"/>
                    <a:pt x="27" y="61"/>
                  </a:cubicBezTo>
                  <a:cubicBezTo>
                    <a:pt x="31" y="67"/>
                    <a:pt x="37" y="72"/>
                    <a:pt x="44" y="73"/>
                  </a:cubicBezTo>
                  <a:cubicBezTo>
                    <a:pt x="53" y="80"/>
                    <a:pt x="61" y="84"/>
                    <a:pt x="72" y="85"/>
                  </a:cubicBezTo>
                  <a:cubicBezTo>
                    <a:pt x="76" y="84"/>
                    <a:pt x="71" y="80"/>
                    <a:pt x="68" y="76"/>
                  </a:cubicBezTo>
                  <a:cubicBezTo>
                    <a:pt x="65" y="72"/>
                    <a:pt x="61" y="63"/>
                    <a:pt x="56" y="58"/>
                  </a:cubicBezTo>
                  <a:cubicBezTo>
                    <a:pt x="52" y="52"/>
                    <a:pt x="46" y="49"/>
                    <a:pt x="39" y="48"/>
                  </a:cubicBezTo>
                  <a:cubicBezTo>
                    <a:pt x="35" y="41"/>
                    <a:pt x="35" y="35"/>
                    <a:pt x="42" y="30"/>
                  </a:cubicBezTo>
                  <a:cubicBezTo>
                    <a:pt x="49" y="27"/>
                    <a:pt x="74" y="33"/>
                    <a:pt x="80" y="31"/>
                  </a:cubicBezTo>
                  <a:cubicBezTo>
                    <a:pt x="78" y="20"/>
                    <a:pt x="79" y="24"/>
                    <a:pt x="77" y="18"/>
                  </a:cubicBez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55" name="Freeform 458"/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3018363" y="2414346"/>
              <a:ext cx="64464" cy="87274"/>
            </a:xfrm>
            <a:custGeom>
              <a:avLst/>
              <a:gdLst>
                <a:gd name="T0" fmla="*/ 1 w 66"/>
                <a:gd name="T1" fmla="*/ 13 h 91"/>
                <a:gd name="T2" fmla="*/ 34 w 66"/>
                <a:gd name="T3" fmla="*/ 3 h 91"/>
                <a:gd name="T4" fmla="*/ 33 w 66"/>
                <a:gd name="T5" fmla="*/ 18 h 91"/>
                <a:gd name="T6" fmla="*/ 43 w 66"/>
                <a:gd name="T7" fmla="*/ 31 h 91"/>
                <a:gd name="T8" fmla="*/ 52 w 66"/>
                <a:gd name="T9" fmla="*/ 43 h 91"/>
                <a:gd name="T10" fmla="*/ 66 w 66"/>
                <a:gd name="T11" fmla="*/ 67 h 91"/>
                <a:gd name="T12" fmla="*/ 58 w 66"/>
                <a:gd name="T13" fmla="*/ 81 h 91"/>
                <a:gd name="T14" fmla="*/ 27 w 66"/>
                <a:gd name="T15" fmla="*/ 90 h 91"/>
                <a:gd name="T16" fmla="*/ 21 w 66"/>
                <a:gd name="T17" fmla="*/ 75 h 91"/>
                <a:gd name="T18" fmla="*/ 6 w 66"/>
                <a:gd name="T19" fmla="*/ 58 h 91"/>
                <a:gd name="T20" fmla="*/ 9 w 66"/>
                <a:gd name="T21" fmla="*/ 48 h 91"/>
                <a:gd name="T22" fmla="*/ 6 w 66"/>
                <a:gd name="T23" fmla="*/ 39 h 91"/>
                <a:gd name="T24" fmla="*/ 1 w 66"/>
                <a:gd name="T25" fmla="*/ 33 h 91"/>
                <a:gd name="T26" fmla="*/ 1 w 66"/>
                <a:gd name="T27" fmla="*/ 21 h 91"/>
                <a:gd name="T28" fmla="*/ 1 w 66"/>
                <a:gd name="T29" fmla="*/ 12 h 91"/>
                <a:gd name="T30" fmla="*/ 1 w 66"/>
                <a:gd name="T31" fmla="*/ 1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6" h="91">
                  <a:moveTo>
                    <a:pt x="1" y="13"/>
                  </a:moveTo>
                  <a:cubicBezTo>
                    <a:pt x="8" y="0"/>
                    <a:pt x="14" y="1"/>
                    <a:pt x="34" y="3"/>
                  </a:cubicBezTo>
                  <a:cubicBezTo>
                    <a:pt x="40" y="4"/>
                    <a:pt x="32" y="13"/>
                    <a:pt x="33" y="18"/>
                  </a:cubicBezTo>
                  <a:cubicBezTo>
                    <a:pt x="34" y="23"/>
                    <a:pt x="40" y="27"/>
                    <a:pt x="43" y="31"/>
                  </a:cubicBezTo>
                  <a:cubicBezTo>
                    <a:pt x="46" y="36"/>
                    <a:pt x="47" y="39"/>
                    <a:pt x="52" y="43"/>
                  </a:cubicBezTo>
                  <a:cubicBezTo>
                    <a:pt x="56" y="53"/>
                    <a:pt x="61" y="58"/>
                    <a:pt x="66" y="67"/>
                  </a:cubicBezTo>
                  <a:cubicBezTo>
                    <a:pt x="66" y="73"/>
                    <a:pt x="65" y="77"/>
                    <a:pt x="58" y="81"/>
                  </a:cubicBezTo>
                  <a:cubicBezTo>
                    <a:pt x="51" y="85"/>
                    <a:pt x="33" y="91"/>
                    <a:pt x="27" y="90"/>
                  </a:cubicBezTo>
                  <a:cubicBezTo>
                    <a:pt x="25" y="85"/>
                    <a:pt x="23" y="80"/>
                    <a:pt x="21" y="75"/>
                  </a:cubicBezTo>
                  <a:cubicBezTo>
                    <a:pt x="20" y="68"/>
                    <a:pt x="9" y="64"/>
                    <a:pt x="6" y="58"/>
                  </a:cubicBezTo>
                  <a:cubicBezTo>
                    <a:pt x="3" y="53"/>
                    <a:pt x="9" y="52"/>
                    <a:pt x="9" y="48"/>
                  </a:cubicBezTo>
                  <a:cubicBezTo>
                    <a:pt x="9" y="45"/>
                    <a:pt x="7" y="41"/>
                    <a:pt x="6" y="39"/>
                  </a:cubicBezTo>
                  <a:cubicBezTo>
                    <a:pt x="5" y="37"/>
                    <a:pt x="2" y="36"/>
                    <a:pt x="1" y="33"/>
                  </a:cubicBezTo>
                  <a:cubicBezTo>
                    <a:pt x="0" y="27"/>
                    <a:pt x="1" y="24"/>
                    <a:pt x="1" y="21"/>
                  </a:cubicBezTo>
                  <a:cubicBezTo>
                    <a:pt x="1" y="18"/>
                    <a:pt x="1" y="13"/>
                    <a:pt x="1" y="12"/>
                  </a:cubicBezTo>
                  <a:cubicBezTo>
                    <a:pt x="0" y="5"/>
                    <a:pt x="0" y="5"/>
                    <a:pt x="1" y="1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56" name="Freeform 459"/>
            <p:cNvSpPr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2981668" y="2365751"/>
              <a:ext cx="89258" cy="60497"/>
            </a:xfrm>
            <a:custGeom>
              <a:avLst/>
              <a:gdLst>
                <a:gd name="T0" fmla="*/ 21 w 92"/>
                <a:gd name="T1" fmla="*/ 57 h 63"/>
                <a:gd name="T2" fmla="*/ 12 w 92"/>
                <a:gd name="T3" fmla="*/ 53 h 63"/>
                <a:gd name="T4" fmla="*/ 5 w 92"/>
                <a:gd name="T5" fmla="*/ 44 h 63"/>
                <a:gd name="T6" fmla="*/ 0 w 92"/>
                <a:gd name="T7" fmla="*/ 41 h 63"/>
                <a:gd name="T8" fmla="*/ 11 w 92"/>
                <a:gd name="T9" fmla="*/ 23 h 63"/>
                <a:gd name="T10" fmla="*/ 26 w 92"/>
                <a:gd name="T11" fmla="*/ 11 h 63"/>
                <a:gd name="T12" fmla="*/ 51 w 92"/>
                <a:gd name="T13" fmla="*/ 8 h 63"/>
                <a:gd name="T14" fmla="*/ 66 w 92"/>
                <a:gd name="T15" fmla="*/ 0 h 63"/>
                <a:gd name="T16" fmla="*/ 92 w 92"/>
                <a:gd name="T17" fmla="*/ 5 h 63"/>
                <a:gd name="T18" fmla="*/ 84 w 92"/>
                <a:gd name="T19" fmla="*/ 33 h 63"/>
                <a:gd name="T20" fmla="*/ 72 w 92"/>
                <a:gd name="T21" fmla="*/ 50 h 63"/>
                <a:gd name="T22" fmla="*/ 45 w 92"/>
                <a:gd name="T23" fmla="*/ 54 h 63"/>
                <a:gd name="T24" fmla="*/ 32 w 92"/>
                <a:gd name="T25" fmla="*/ 62 h 63"/>
                <a:gd name="T26" fmla="*/ 21 w 92"/>
                <a:gd name="T27" fmla="*/ 5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63">
                  <a:moveTo>
                    <a:pt x="21" y="57"/>
                  </a:moveTo>
                  <a:cubicBezTo>
                    <a:pt x="18" y="55"/>
                    <a:pt x="15" y="55"/>
                    <a:pt x="12" y="53"/>
                  </a:cubicBezTo>
                  <a:cubicBezTo>
                    <a:pt x="9" y="51"/>
                    <a:pt x="8" y="46"/>
                    <a:pt x="5" y="44"/>
                  </a:cubicBezTo>
                  <a:cubicBezTo>
                    <a:pt x="3" y="43"/>
                    <a:pt x="2" y="42"/>
                    <a:pt x="0" y="41"/>
                  </a:cubicBezTo>
                  <a:cubicBezTo>
                    <a:pt x="2" y="31"/>
                    <a:pt x="1" y="25"/>
                    <a:pt x="11" y="23"/>
                  </a:cubicBezTo>
                  <a:cubicBezTo>
                    <a:pt x="19" y="17"/>
                    <a:pt x="17" y="13"/>
                    <a:pt x="26" y="11"/>
                  </a:cubicBezTo>
                  <a:cubicBezTo>
                    <a:pt x="31" y="2"/>
                    <a:pt x="39" y="6"/>
                    <a:pt x="51" y="8"/>
                  </a:cubicBezTo>
                  <a:cubicBezTo>
                    <a:pt x="60" y="6"/>
                    <a:pt x="59" y="3"/>
                    <a:pt x="66" y="0"/>
                  </a:cubicBezTo>
                  <a:cubicBezTo>
                    <a:pt x="75" y="2"/>
                    <a:pt x="92" y="5"/>
                    <a:pt x="92" y="5"/>
                  </a:cubicBezTo>
                  <a:cubicBezTo>
                    <a:pt x="91" y="16"/>
                    <a:pt x="89" y="24"/>
                    <a:pt x="84" y="33"/>
                  </a:cubicBezTo>
                  <a:cubicBezTo>
                    <a:pt x="80" y="40"/>
                    <a:pt x="78" y="47"/>
                    <a:pt x="72" y="50"/>
                  </a:cubicBezTo>
                  <a:cubicBezTo>
                    <a:pt x="66" y="53"/>
                    <a:pt x="52" y="52"/>
                    <a:pt x="45" y="54"/>
                  </a:cubicBezTo>
                  <a:cubicBezTo>
                    <a:pt x="40" y="60"/>
                    <a:pt x="38" y="59"/>
                    <a:pt x="32" y="62"/>
                  </a:cubicBezTo>
                  <a:cubicBezTo>
                    <a:pt x="22" y="60"/>
                    <a:pt x="25" y="63"/>
                    <a:pt x="21" y="5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57" name="Freeform 460"/>
            <p:cNvSpPr>
              <a:spLocks/>
            </p:cNvSpPr>
            <p:nvPr>
              <p:custDataLst>
                <p:tags r:id="rId25"/>
              </p:custDataLst>
            </p:nvPr>
          </p:nvSpPr>
          <p:spPr bwMode="gray">
            <a:xfrm>
              <a:off x="2986627" y="2336990"/>
              <a:ext cx="88266" cy="45621"/>
            </a:xfrm>
            <a:custGeom>
              <a:avLst/>
              <a:gdLst>
                <a:gd name="T0" fmla="*/ 90 w 91"/>
                <a:gd name="T1" fmla="*/ 35 h 48"/>
                <a:gd name="T2" fmla="*/ 91 w 91"/>
                <a:gd name="T3" fmla="*/ 18 h 48"/>
                <a:gd name="T4" fmla="*/ 51 w 91"/>
                <a:gd name="T5" fmla="*/ 11 h 48"/>
                <a:gd name="T6" fmla="*/ 25 w 91"/>
                <a:gd name="T7" fmla="*/ 12 h 48"/>
                <a:gd name="T8" fmla="*/ 4 w 91"/>
                <a:gd name="T9" fmla="*/ 24 h 48"/>
                <a:gd name="T10" fmla="*/ 10 w 91"/>
                <a:gd name="T11" fmla="*/ 45 h 48"/>
                <a:gd name="T12" fmla="*/ 25 w 91"/>
                <a:gd name="T13" fmla="*/ 36 h 48"/>
                <a:gd name="T14" fmla="*/ 49 w 91"/>
                <a:gd name="T15" fmla="*/ 35 h 48"/>
                <a:gd name="T16" fmla="*/ 90 w 91"/>
                <a:gd name="T17" fmla="*/ 3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48">
                  <a:moveTo>
                    <a:pt x="90" y="35"/>
                  </a:moveTo>
                  <a:cubicBezTo>
                    <a:pt x="91" y="27"/>
                    <a:pt x="90" y="26"/>
                    <a:pt x="91" y="18"/>
                  </a:cubicBezTo>
                  <a:cubicBezTo>
                    <a:pt x="88" y="0"/>
                    <a:pt x="66" y="10"/>
                    <a:pt x="51" y="11"/>
                  </a:cubicBezTo>
                  <a:cubicBezTo>
                    <a:pt x="42" y="8"/>
                    <a:pt x="34" y="10"/>
                    <a:pt x="25" y="12"/>
                  </a:cubicBezTo>
                  <a:cubicBezTo>
                    <a:pt x="16" y="19"/>
                    <a:pt x="17" y="23"/>
                    <a:pt x="4" y="24"/>
                  </a:cubicBezTo>
                  <a:cubicBezTo>
                    <a:pt x="0" y="30"/>
                    <a:pt x="4" y="40"/>
                    <a:pt x="10" y="45"/>
                  </a:cubicBezTo>
                  <a:cubicBezTo>
                    <a:pt x="13" y="48"/>
                    <a:pt x="19" y="38"/>
                    <a:pt x="25" y="36"/>
                  </a:cubicBezTo>
                  <a:cubicBezTo>
                    <a:pt x="31" y="34"/>
                    <a:pt x="38" y="35"/>
                    <a:pt x="49" y="35"/>
                  </a:cubicBezTo>
                  <a:cubicBezTo>
                    <a:pt x="63" y="27"/>
                    <a:pt x="66" y="32"/>
                    <a:pt x="90" y="3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58" name="Freeform 461"/>
            <p:cNvSpPr>
              <a:spLocks/>
            </p:cNvSpPr>
            <p:nvPr>
              <p:custDataLst>
                <p:tags r:id="rId26"/>
              </p:custDataLst>
            </p:nvPr>
          </p:nvSpPr>
          <p:spPr bwMode="gray">
            <a:xfrm>
              <a:off x="2925138" y="2310213"/>
              <a:ext cx="96200" cy="54547"/>
            </a:xfrm>
            <a:custGeom>
              <a:avLst/>
              <a:gdLst>
                <a:gd name="T0" fmla="*/ 100 w 100"/>
                <a:gd name="T1" fmla="*/ 35 h 56"/>
                <a:gd name="T2" fmla="*/ 86 w 100"/>
                <a:gd name="T3" fmla="*/ 26 h 56"/>
                <a:gd name="T4" fmla="*/ 55 w 100"/>
                <a:gd name="T5" fmla="*/ 3 h 56"/>
                <a:gd name="T6" fmla="*/ 35 w 100"/>
                <a:gd name="T7" fmla="*/ 2 h 56"/>
                <a:gd name="T8" fmla="*/ 20 w 100"/>
                <a:gd name="T9" fmla="*/ 12 h 56"/>
                <a:gd name="T10" fmla="*/ 2 w 100"/>
                <a:gd name="T11" fmla="*/ 23 h 56"/>
                <a:gd name="T12" fmla="*/ 11 w 100"/>
                <a:gd name="T13" fmla="*/ 38 h 56"/>
                <a:gd name="T14" fmla="*/ 23 w 100"/>
                <a:gd name="T15" fmla="*/ 56 h 56"/>
                <a:gd name="T16" fmla="*/ 41 w 100"/>
                <a:gd name="T17" fmla="*/ 45 h 56"/>
                <a:gd name="T18" fmla="*/ 59 w 100"/>
                <a:gd name="T19" fmla="*/ 56 h 56"/>
                <a:gd name="T20" fmla="*/ 64 w 100"/>
                <a:gd name="T21" fmla="*/ 54 h 56"/>
                <a:gd name="T22" fmla="*/ 68 w 100"/>
                <a:gd name="T23" fmla="*/ 56 h 56"/>
                <a:gd name="T24" fmla="*/ 88 w 100"/>
                <a:gd name="T25" fmla="*/ 42 h 56"/>
                <a:gd name="T26" fmla="*/ 100 w 100"/>
                <a:gd name="T27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0" h="56">
                  <a:moveTo>
                    <a:pt x="100" y="35"/>
                  </a:moveTo>
                  <a:cubicBezTo>
                    <a:pt x="94" y="32"/>
                    <a:pt x="93" y="27"/>
                    <a:pt x="86" y="26"/>
                  </a:cubicBezTo>
                  <a:cubicBezTo>
                    <a:pt x="75" y="18"/>
                    <a:pt x="66" y="11"/>
                    <a:pt x="55" y="3"/>
                  </a:cubicBezTo>
                  <a:cubicBezTo>
                    <a:pt x="47" y="0"/>
                    <a:pt x="41" y="1"/>
                    <a:pt x="35" y="2"/>
                  </a:cubicBezTo>
                  <a:cubicBezTo>
                    <a:pt x="29" y="3"/>
                    <a:pt x="25" y="9"/>
                    <a:pt x="20" y="12"/>
                  </a:cubicBezTo>
                  <a:cubicBezTo>
                    <a:pt x="13" y="20"/>
                    <a:pt x="6" y="13"/>
                    <a:pt x="2" y="23"/>
                  </a:cubicBezTo>
                  <a:cubicBezTo>
                    <a:pt x="6" y="41"/>
                    <a:pt x="0" y="29"/>
                    <a:pt x="11" y="38"/>
                  </a:cubicBezTo>
                  <a:cubicBezTo>
                    <a:pt x="13" y="43"/>
                    <a:pt x="20" y="51"/>
                    <a:pt x="23" y="56"/>
                  </a:cubicBezTo>
                  <a:cubicBezTo>
                    <a:pt x="30" y="53"/>
                    <a:pt x="35" y="49"/>
                    <a:pt x="41" y="45"/>
                  </a:cubicBezTo>
                  <a:cubicBezTo>
                    <a:pt x="47" y="49"/>
                    <a:pt x="53" y="52"/>
                    <a:pt x="59" y="56"/>
                  </a:cubicBezTo>
                  <a:cubicBezTo>
                    <a:pt x="61" y="55"/>
                    <a:pt x="62" y="54"/>
                    <a:pt x="64" y="54"/>
                  </a:cubicBezTo>
                  <a:cubicBezTo>
                    <a:pt x="65" y="54"/>
                    <a:pt x="67" y="56"/>
                    <a:pt x="68" y="56"/>
                  </a:cubicBezTo>
                  <a:cubicBezTo>
                    <a:pt x="75" y="55"/>
                    <a:pt x="80" y="43"/>
                    <a:pt x="88" y="42"/>
                  </a:cubicBezTo>
                  <a:cubicBezTo>
                    <a:pt x="91" y="37"/>
                    <a:pt x="94" y="31"/>
                    <a:pt x="100" y="3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59" name="Freeform 462"/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3258367" y="2587903"/>
              <a:ext cx="85291" cy="88266"/>
            </a:xfrm>
            <a:custGeom>
              <a:avLst/>
              <a:gdLst>
                <a:gd name="T0" fmla="*/ 89 w 89"/>
                <a:gd name="T1" fmla="*/ 6 h 92"/>
                <a:gd name="T2" fmla="*/ 62 w 89"/>
                <a:gd name="T3" fmla="*/ 12 h 92"/>
                <a:gd name="T4" fmla="*/ 50 w 89"/>
                <a:gd name="T5" fmla="*/ 15 h 92"/>
                <a:gd name="T6" fmla="*/ 8 w 89"/>
                <a:gd name="T7" fmla="*/ 16 h 92"/>
                <a:gd name="T8" fmla="*/ 10 w 89"/>
                <a:gd name="T9" fmla="*/ 54 h 92"/>
                <a:gd name="T10" fmla="*/ 5 w 89"/>
                <a:gd name="T11" fmla="*/ 78 h 92"/>
                <a:gd name="T12" fmla="*/ 19 w 89"/>
                <a:gd name="T13" fmla="*/ 85 h 92"/>
                <a:gd name="T14" fmla="*/ 28 w 89"/>
                <a:gd name="T15" fmla="*/ 82 h 92"/>
                <a:gd name="T16" fmla="*/ 55 w 89"/>
                <a:gd name="T17" fmla="*/ 70 h 92"/>
                <a:gd name="T18" fmla="*/ 73 w 89"/>
                <a:gd name="T19" fmla="*/ 52 h 92"/>
                <a:gd name="T20" fmla="*/ 82 w 89"/>
                <a:gd name="T21" fmla="*/ 39 h 92"/>
                <a:gd name="T22" fmla="*/ 89 w 89"/>
                <a:gd name="T23" fmla="*/ 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9" h="92">
                  <a:moveTo>
                    <a:pt x="89" y="6"/>
                  </a:moveTo>
                  <a:cubicBezTo>
                    <a:pt x="77" y="4"/>
                    <a:pt x="69" y="0"/>
                    <a:pt x="62" y="12"/>
                  </a:cubicBezTo>
                  <a:cubicBezTo>
                    <a:pt x="60" y="21"/>
                    <a:pt x="58" y="16"/>
                    <a:pt x="50" y="15"/>
                  </a:cubicBezTo>
                  <a:cubicBezTo>
                    <a:pt x="36" y="15"/>
                    <a:pt x="22" y="14"/>
                    <a:pt x="8" y="16"/>
                  </a:cubicBezTo>
                  <a:cubicBezTo>
                    <a:pt x="3" y="17"/>
                    <a:pt x="0" y="48"/>
                    <a:pt x="10" y="54"/>
                  </a:cubicBezTo>
                  <a:cubicBezTo>
                    <a:pt x="17" y="63"/>
                    <a:pt x="12" y="71"/>
                    <a:pt x="5" y="78"/>
                  </a:cubicBezTo>
                  <a:cubicBezTo>
                    <a:pt x="8" y="84"/>
                    <a:pt x="13" y="84"/>
                    <a:pt x="19" y="85"/>
                  </a:cubicBezTo>
                  <a:cubicBezTo>
                    <a:pt x="23" y="92"/>
                    <a:pt x="21" y="86"/>
                    <a:pt x="28" y="82"/>
                  </a:cubicBezTo>
                  <a:cubicBezTo>
                    <a:pt x="30" y="68"/>
                    <a:pt x="42" y="72"/>
                    <a:pt x="55" y="70"/>
                  </a:cubicBezTo>
                  <a:cubicBezTo>
                    <a:pt x="65" y="63"/>
                    <a:pt x="58" y="59"/>
                    <a:pt x="73" y="52"/>
                  </a:cubicBezTo>
                  <a:cubicBezTo>
                    <a:pt x="76" y="48"/>
                    <a:pt x="79" y="43"/>
                    <a:pt x="82" y="39"/>
                  </a:cubicBezTo>
                  <a:cubicBezTo>
                    <a:pt x="84" y="27"/>
                    <a:pt x="78" y="14"/>
                    <a:pt x="89" y="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60" name="Freeform 463"/>
            <p:cNvSpPr>
              <a:spLocks/>
            </p:cNvSpPr>
            <p:nvPr>
              <p:custDataLst>
                <p:tags r:id="rId28"/>
              </p:custDataLst>
            </p:nvPr>
          </p:nvSpPr>
          <p:spPr bwMode="gray">
            <a:xfrm>
              <a:off x="3210762" y="2614680"/>
              <a:ext cx="37687" cy="23802"/>
            </a:xfrm>
            <a:custGeom>
              <a:avLst/>
              <a:gdLst>
                <a:gd name="T0" fmla="*/ 0 w 39"/>
                <a:gd name="T1" fmla="*/ 12 h 25"/>
                <a:gd name="T2" fmla="*/ 30 w 39"/>
                <a:gd name="T3" fmla="*/ 0 h 25"/>
                <a:gd name="T4" fmla="*/ 29 w 39"/>
                <a:gd name="T5" fmla="*/ 8 h 25"/>
                <a:gd name="T6" fmla="*/ 21 w 39"/>
                <a:gd name="T7" fmla="*/ 21 h 25"/>
                <a:gd name="T8" fmla="*/ 2 w 39"/>
                <a:gd name="T9" fmla="*/ 23 h 25"/>
                <a:gd name="T10" fmla="*/ 0 w 39"/>
                <a:gd name="T11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25">
                  <a:moveTo>
                    <a:pt x="0" y="12"/>
                  </a:moveTo>
                  <a:cubicBezTo>
                    <a:pt x="17" y="9"/>
                    <a:pt x="18" y="9"/>
                    <a:pt x="30" y="0"/>
                  </a:cubicBezTo>
                  <a:cubicBezTo>
                    <a:pt x="39" y="3"/>
                    <a:pt x="35" y="5"/>
                    <a:pt x="29" y="8"/>
                  </a:cubicBezTo>
                  <a:cubicBezTo>
                    <a:pt x="35" y="16"/>
                    <a:pt x="29" y="19"/>
                    <a:pt x="21" y="21"/>
                  </a:cubicBezTo>
                  <a:cubicBezTo>
                    <a:pt x="14" y="25"/>
                    <a:pt x="10" y="24"/>
                    <a:pt x="2" y="23"/>
                  </a:cubicBezTo>
                  <a:cubicBezTo>
                    <a:pt x="0" y="14"/>
                    <a:pt x="0" y="18"/>
                    <a:pt x="0" y="1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61" name="Freeform 464"/>
            <p:cNvSpPr>
              <a:spLocks/>
            </p:cNvSpPr>
            <p:nvPr>
              <p:custDataLst>
                <p:tags r:id="rId29"/>
              </p:custDataLst>
            </p:nvPr>
          </p:nvSpPr>
          <p:spPr bwMode="gray">
            <a:xfrm>
              <a:off x="3110596" y="2491703"/>
              <a:ext cx="286617" cy="116035"/>
            </a:xfrm>
            <a:custGeom>
              <a:avLst/>
              <a:gdLst>
                <a:gd name="T0" fmla="*/ 61 w 297"/>
                <a:gd name="T1" fmla="*/ 24 h 120"/>
                <a:gd name="T2" fmla="*/ 44 w 297"/>
                <a:gd name="T3" fmla="*/ 9 h 120"/>
                <a:gd name="T4" fmla="*/ 29 w 297"/>
                <a:gd name="T5" fmla="*/ 0 h 120"/>
                <a:gd name="T6" fmla="*/ 19 w 297"/>
                <a:gd name="T7" fmla="*/ 10 h 120"/>
                <a:gd name="T8" fmla="*/ 2 w 297"/>
                <a:gd name="T9" fmla="*/ 42 h 120"/>
                <a:gd name="T10" fmla="*/ 5 w 297"/>
                <a:gd name="T11" fmla="*/ 64 h 120"/>
                <a:gd name="T12" fmla="*/ 20 w 297"/>
                <a:gd name="T13" fmla="*/ 63 h 120"/>
                <a:gd name="T14" fmla="*/ 22 w 297"/>
                <a:gd name="T15" fmla="*/ 85 h 120"/>
                <a:gd name="T16" fmla="*/ 53 w 297"/>
                <a:gd name="T17" fmla="*/ 115 h 120"/>
                <a:gd name="T18" fmla="*/ 68 w 297"/>
                <a:gd name="T19" fmla="*/ 120 h 120"/>
                <a:gd name="T20" fmla="*/ 82 w 297"/>
                <a:gd name="T21" fmla="*/ 109 h 120"/>
                <a:gd name="T22" fmla="*/ 109 w 297"/>
                <a:gd name="T23" fmla="*/ 115 h 120"/>
                <a:gd name="T24" fmla="*/ 133 w 297"/>
                <a:gd name="T25" fmla="*/ 111 h 120"/>
                <a:gd name="T26" fmla="*/ 167 w 297"/>
                <a:gd name="T27" fmla="*/ 114 h 120"/>
                <a:gd name="T28" fmla="*/ 182 w 297"/>
                <a:gd name="T29" fmla="*/ 114 h 120"/>
                <a:gd name="T30" fmla="*/ 211 w 297"/>
                <a:gd name="T31" fmla="*/ 114 h 120"/>
                <a:gd name="T32" fmla="*/ 222 w 297"/>
                <a:gd name="T33" fmla="*/ 103 h 120"/>
                <a:gd name="T34" fmla="*/ 232 w 297"/>
                <a:gd name="T35" fmla="*/ 102 h 120"/>
                <a:gd name="T36" fmla="*/ 248 w 297"/>
                <a:gd name="T37" fmla="*/ 103 h 120"/>
                <a:gd name="T38" fmla="*/ 269 w 297"/>
                <a:gd name="T39" fmla="*/ 108 h 120"/>
                <a:gd name="T40" fmla="*/ 272 w 297"/>
                <a:gd name="T41" fmla="*/ 103 h 120"/>
                <a:gd name="T42" fmla="*/ 284 w 297"/>
                <a:gd name="T43" fmla="*/ 105 h 120"/>
                <a:gd name="T44" fmla="*/ 274 w 297"/>
                <a:gd name="T45" fmla="*/ 45 h 120"/>
                <a:gd name="T46" fmla="*/ 262 w 297"/>
                <a:gd name="T47" fmla="*/ 21 h 120"/>
                <a:gd name="T48" fmla="*/ 230 w 297"/>
                <a:gd name="T49" fmla="*/ 28 h 120"/>
                <a:gd name="T50" fmla="*/ 193 w 297"/>
                <a:gd name="T51" fmla="*/ 30 h 120"/>
                <a:gd name="T52" fmla="*/ 164 w 297"/>
                <a:gd name="T53" fmla="*/ 15 h 120"/>
                <a:gd name="T54" fmla="*/ 146 w 297"/>
                <a:gd name="T55" fmla="*/ 6 h 120"/>
                <a:gd name="T56" fmla="*/ 98 w 297"/>
                <a:gd name="T57" fmla="*/ 15 h 120"/>
                <a:gd name="T58" fmla="*/ 86 w 297"/>
                <a:gd name="T59" fmla="*/ 22 h 120"/>
                <a:gd name="T60" fmla="*/ 61 w 297"/>
                <a:gd name="T61" fmla="*/ 24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97" h="120">
                  <a:moveTo>
                    <a:pt x="61" y="24"/>
                  </a:moveTo>
                  <a:cubicBezTo>
                    <a:pt x="46" y="21"/>
                    <a:pt x="50" y="20"/>
                    <a:pt x="44" y="9"/>
                  </a:cubicBezTo>
                  <a:cubicBezTo>
                    <a:pt x="39" y="5"/>
                    <a:pt x="33" y="0"/>
                    <a:pt x="29" y="0"/>
                  </a:cubicBezTo>
                  <a:cubicBezTo>
                    <a:pt x="25" y="0"/>
                    <a:pt x="23" y="3"/>
                    <a:pt x="19" y="10"/>
                  </a:cubicBezTo>
                  <a:cubicBezTo>
                    <a:pt x="22" y="30"/>
                    <a:pt x="17" y="33"/>
                    <a:pt x="2" y="42"/>
                  </a:cubicBezTo>
                  <a:cubicBezTo>
                    <a:pt x="1" y="50"/>
                    <a:pt x="0" y="57"/>
                    <a:pt x="5" y="64"/>
                  </a:cubicBezTo>
                  <a:cubicBezTo>
                    <a:pt x="12" y="63"/>
                    <a:pt x="14" y="59"/>
                    <a:pt x="20" y="63"/>
                  </a:cubicBezTo>
                  <a:cubicBezTo>
                    <a:pt x="19" y="71"/>
                    <a:pt x="11" y="83"/>
                    <a:pt x="22" y="85"/>
                  </a:cubicBezTo>
                  <a:cubicBezTo>
                    <a:pt x="27" y="108"/>
                    <a:pt x="27" y="113"/>
                    <a:pt x="53" y="115"/>
                  </a:cubicBezTo>
                  <a:cubicBezTo>
                    <a:pt x="58" y="117"/>
                    <a:pt x="63" y="118"/>
                    <a:pt x="68" y="120"/>
                  </a:cubicBezTo>
                  <a:cubicBezTo>
                    <a:pt x="74" y="117"/>
                    <a:pt x="77" y="114"/>
                    <a:pt x="82" y="109"/>
                  </a:cubicBezTo>
                  <a:cubicBezTo>
                    <a:pt x="90" y="113"/>
                    <a:pt x="109" y="115"/>
                    <a:pt x="109" y="115"/>
                  </a:cubicBezTo>
                  <a:cubicBezTo>
                    <a:pt x="118" y="114"/>
                    <a:pt x="124" y="112"/>
                    <a:pt x="133" y="111"/>
                  </a:cubicBezTo>
                  <a:cubicBezTo>
                    <a:pt x="143" y="110"/>
                    <a:pt x="159" y="114"/>
                    <a:pt x="167" y="114"/>
                  </a:cubicBezTo>
                  <a:cubicBezTo>
                    <a:pt x="175" y="114"/>
                    <a:pt x="175" y="114"/>
                    <a:pt x="182" y="114"/>
                  </a:cubicBezTo>
                  <a:cubicBezTo>
                    <a:pt x="189" y="114"/>
                    <a:pt x="204" y="116"/>
                    <a:pt x="211" y="114"/>
                  </a:cubicBezTo>
                  <a:cubicBezTo>
                    <a:pt x="218" y="112"/>
                    <a:pt x="219" y="105"/>
                    <a:pt x="222" y="103"/>
                  </a:cubicBezTo>
                  <a:cubicBezTo>
                    <a:pt x="225" y="101"/>
                    <a:pt x="228" y="102"/>
                    <a:pt x="232" y="102"/>
                  </a:cubicBezTo>
                  <a:cubicBezTo>
                    <a:pt x="236" y="102"/>
                    <a:pt x="242" y="102"/>
                    <a:pt x="248" y="103"/>
                  </a:cubicBezTo>
                  <a:cubicBezTo>
                    <a:pt x="254" y="104"/>
                    <a:pt x="265" y="108"/>
                    <a:pt x="269" y="108"/>
                  </a:cubicBezTo>
                  <a:cubicBezTo>
                    <a:pt x="273" y="108"/>
                    <a:pt x="270" y="103"/>
                    <a:pt x="272" y="103"/>
                  </a:cubicBezTo>
                  <a:cubicBezTo>
                    <a:pt x="274" y="103"/>
                    <a:pt x="284" y="115"/>
                    <a:pt x="284" y="105"/>
                  </a:cubicBezTo>
                  <a:cubicBezTo>
                    <a:pt x="297" y="84"/>
                    <a:pt x="292" y="59"/>
                    <a:pt x="274" y="45"/>
                  </a:cubicBezTo>
                  <a:cubicBezTo>
                    <a:pt x="268" y="29"/>
                    <a:pt x="274" y="33"/>
                    <a:pt x="262" y="21"/>
                  </a:cubicBezTo>
                  <a:cubicBezTo>
                    <a:pt x="246" y="22"/>
                    <a:pt x="243" y="25"/>
                    <a:pt x="230" y="28"/>
                  </a:cubicBezTo>
                  <a:cubicBezTo>
                    <a:pt x="218" y="34"/>
                    <a:pt x="208" y="31"/>
                    <a:pt x="193" y="30"/>
                  </a:cubicBezTo>
                  <a:cubicBezTo>
                    <a:pt x="183" y="26"/>
                    <a:pt x="175" y="17"/>
                    <a:pt x="164" y="15"/>
                  </a:cubicBezTo>
                  <a:cubicBezTo>
                    <a:pt x="158" y="11"/>
                    <a:pt x="153" y="7"/>
                    <a:pt x="146" y="6"/>
                  </a:cubicBezTo>
                  <a:cubicBezTo>
                    <a:pt x="117" y="7"/>
                    <a:pt x="116" y="4"/>
                    <a:pt x="98" y="15"/>
                  </a:cubicBezTo>
                  <a:cubicBezTo>
                    <a:pt x="94" y="20"/>
                    <a:pt x="92" y="21"/>
                    <a:pt x="86" y="22"/>
                  </a:cubicBezTo>
                  <a:cubicBezTo>
                    <a:pt x="76" y="27"/>
                    <a:pt x="83" y="24"/>
                    <a:pt x="61" y="2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62" name="Freeform 465"/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2924147" y="3089729"/>
              <a:ext cx="268765" cy="252897"/>
            </a:xfrm>
            <a:custGeom>
              <a:avLst/>
              <a:gdLst>
                <a:gd name="T0" fmla="*/ 8 w 278"/>
                <a:gd name="T1" fmla="*/ 170 h 262"/>
                <a:gd name="T2" fmla="*/ 0 w 278"/>
                <a:gd name="T3" fmla="*/ 156 h 262"/>
                <a:gd name="T4" fmla="*/ 15 w 278"/>
                <a:gd name="T5" fmla="*/ 141 h 262"/>
                <a:gd name="T6" fmla="*/ 33 w 278"/>
                <a:gd name="T7" fmla="*/ 141 h 262"/>
                <a:gd name="T8" fmla="*/ 53 w 278"/>
                <a:gd name="T9" fmla="*/ 135 h 262"/>
                <a:gd name="T10" fmla="*/ 68 w 278"/>
                <a:gd name="T11" fmla="*/ 107 h 262"/>
                <a:gd name="T12" fmla="*/ 84 w 278"/>
                <a:gd name="T13" fmla="*/ 90 h 262"/>
                <a:gd name="T14" fmla="*/ 84 w 278"/>
                <a:gd name="T15" fmla="*/ 72 h 262"/>
                <a:gd name="T16" fmla="*/ 92 w 278"/>
                <a:gd name="T17" fmla="*/ 53 h 262"/>
                <a:gd name="T18" fmla="*/ 98 w 278"/>
                <a:gd name="T19" fmla="*/ 18 h 262"/>
                <a:gd name="T20" fmla="*/ 108 w 278"/>
                <a:gd name="T21" fmla="*/ 0 h 262"/>
                <a:gd name="T22" fmla="*/ 144 w 278"/>
                <a:gd name="T23" fmla="*/ 14 h 262"/>
                <a:gd name="T24" fmla="*/ 158 w 278"/>
                <a:gd name="T25" fmla="*/ 12 h 262"/>
                <a:gd name="T26" fmla="*/ 188 w 278"/>
                <a:gd name="T27" fmla="*/ 5 h 262"/>
                <a:gd name="T28" fmla="*/ 209 w 278"/>
                <a:gd name="T29" fmla="*/ 0 h 262"/>
                <a:gd name="T30" fmla="*/ 233 w 278"/>
                <a:gd name="T31" fmla="*/ 6 h 262"/>
                <a:gd name="T32" fmla="*/ 261 w 278"/>
                <a:gd name="T33" fmla="*/ 12 h 262"/>
                <a:gd name="T34" fmla="*/ 272 w 278"/>
                <a:gd name="T35" fmla="*/ 24 h 262"/>
                <a:gd name="T36" fmla="*/ 278 w 278"/>
                <a:gd name="T37" fmla="*/ 39 h 262"/>
                <a:gd name="T38" fmla="*/ 264 w 278"/>
                <a:gd name="T39" fmla="*/ 65 h 262"/>
                <a:gd name="T40" fmla="*/ 258 w 278"/>
                <a:gd name="T41" fmla="*/ 90 h 262"/>
                <a:gd name="T42" fmla="*/ 249 w 278"/>
                <a:gd name="T43" fmla="*/ 110 h 262"/>
                <a:gd name="T44" fmla="*/ 257 w 278"/>
                <a:gd name="T45" fmla="*/ 171 h 262"/>
                <a:gd name="T46" fmla="*/ 272 w 278"/>
                <a:gd name="T47" fmla="*/ 182 h 262"/>
                <a:gd name="T48" fmla="*/ 243 w 278"/>
                <a:gd name="T49" fmla="*/ 204 h 262"/>
                <a:gd name="T50" fmla="*/ 237 w 278"/>
                <a:gd name="T51" fmla="*/ 255 h 262"/>
                <a:gd name="T52" fmla="*/ 219 w 278"/>
                <a:gd name="T53" fmla="*/ 249 h 262"/>
                <a:gd name="T54" fmla="*/ 197 w 278"/>
                <a:gd name="T55" fmla="*/ 245 h 262"/>
                <a:gd name="T56" fmla="*/ 169 w 278"/>
                <a:gd name="T57" fmla="*/ 240 h 262"/>
                <a:gd name="T58" fmla="*/ 150 w 278"/>
                <a:gd name="T59" fmla="*/ 236 h 262"/>
                <a:gd name="T60" fmla="*/ 146 w 278"/>
                <a:gd name="T61" fmla="*/ 227 h 262"/>
                <a:gd name="T62" fmla="*/ 148 w 278"/>
                <a:gd name="T63" fmla="*/ 209 h 262"/>
                <a:gd name="T64" fmla="*/ 141 w 278"/>
                <a:gd name="T65" fmla="*/ 195 h 262"/>
                <a:gd name="T66" fmla="*/ 128 w 278"/>
                <a:gd name="T67" fmla="*/ 186 h 262"/>
                <a:gd name="T68" fmla="*/ 109 w 278"/>
                <a:gd name="T69" fmla="*/ 189 h 262"/>
                <a:gd name="T70" fmla="*/ 90 w 278"/>
                <a:gd name="T71" fmla="*/ 194 h 262"/>
                <a:gd name="T72" fmla="*/ 68 w 278"/>
                <a:gd name="T73" fmla="*/ 176 h 262"/>
                <a:gd name="T74" fmla="*/ 63 w 278"/>
                <a:gd name="T75" fmla="*/ 165 h 262"/>
                <a:gd name="T76" fmla="*/ 44 w 278"/>
                <a:gd name="T77" fmla="*/ 164 h 262"/>
                <a:gd name="T78" fmla="*/ 8 w 278"/>
                <a:gd name="T79" fmla="*/ 17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78" h="262">
                  <a:moveTo>
                    <a:pt x="8" y="170"/>
                  </a:moveTo>
                  <a:cubicBezTo>
                    <a:pt x="5" y="163"/>
                    <a:pt x="7" y="160"/>
                    <a:pt x="0" y="156"/>
                  </a:cubicBezTo>
                  <a:cubicBezTo>
                    <a:pt x="1" y="151"/>
                    <a:pt x="10" y="143"/>
                    <a:pt x="15" y="141"/>
                  </a:cubicBezTo>
                  <a:cubicBezTo>
                    <a:pt x="20" y="139"/>
                    <a:pt x="27" y="142"/>
                    <a:pt x="33" y="141"/>
                  </a:cubicBezTo>
                  <a:cubicBezTo>
                    <a:pt x="39" y="137"/>
                    <a:pt x="46" y="137"/>
                    <a:pt x="53" y="135"/>
                  </a:cubicBezTo>
                  <a:cubicBezTo>
                    <a:pt x="62" y="128"/>
                    <a:pt x="52" y="117"/>
                    <a:pt x="68" y="107"/>
                  </a:cubicBezTo>
                  <a:cubicBezTo>
                    <a:pt x="77" y="92"/>
                    <a:pt x="66" y="95"/>
                    <a:pt x="84" y="90"/>
                  </a:cubicBezTo>
                  <a:cubicBezTo>
                    <a:pt x="89" y="84"/>
                    <a:pt x="87" y="79"/>
                    <a:pt x="84" y="72"/>
                  </a:cubicBezTo>
                  <a:cubicBezTo>
                    <a:pt x="86" y="57"/>
                    <a:pt x="87" y="63"/>
                    <a:pt x="92" y="53"/>
                  </a:cubicBezTo>
                  <a:cubicBezTo>
                    <a:pt x="87" y="40"/>
                    <a:pt x="91" y="30"/>
                    <a:pt x="98" y="18"/>
                  </a:cubicBezTo>
                  <a:cubicBezTo>
                    <a:pt x="99" y="10"/>
                    <a:pt x="100" y="4"/>
                    <a:pt x="108" y="0"/>
                  </a:cubicBezTo>
                  <a:cubicBezTo>
                    <a:pt x="122" y="2"/>
                    <a:pt x="130" y="13"/>
                    <a:pt x="144" y="14"/>
                  </a:cubicBezTo>
                  <a:cubicBezTo>
                    <a:pt x="151" y="18"/>
                    <a:pt x="149" y="15"/>
                    <a:pt x="158" y="12"/>
                  </a:cubicBezTo>
                  <a:cubicBezTo>
                    <a:pt x="169" y="4"/>
                    <a:pt x="170" y="6"/>
                    <a:pt x="188" y="5"/>
                  </a:cubicBezTo>
                  <a:cubicBezTo>
                    <a:pt x="196" y="3"/>
                    <a:pt x="202" y="0"/>
                    <a:pt x="209" y="0"/>
                  </a:cubicBezTo>
                  <a:cubicBezTo>
                    <a:pt x="216" y="0"/>
                    <a:pt x="224" y="4"/>
                    <a:pt x="233" y="6"/>
                  </a:cubicBezTo>
                  <a:cubicBezTo>
                    <a:pt x="245" y="12"/>
                    <a:pt x="243" y="11"/>
                    <a:pt x="261" y="12"/>
                  </a:cubicBezTo>
                  <a:cubicBezTo>
                    <a:pt x="267" y="15"/>
                    <a:pt x="268" y="19"/>
                    <a:pt x="272" y="24"/>
                  </a:cubicBezTo>
                  <a:cubicBezTo>
                    <a:pt x="273" y="30"/>
                    <a:pt x="274" y="34"/>
                    <a:pt x="278" y="39"/>
                  </a:cubicBezTo>
                  <a:cubicBezTo>
                    <a:pt x="276" y="50"/>
                    <a:pt x="269" y="57"/>
                    <a:pt x="264" y="65"/>
                  </a:cubicBezTo>
                  <a:cubicBezTo>
                    <a:pt x="262" y="75"/>
                    <a:pt x="267" y="89"/>
                    <a:pt x="258" y="90"/>
                  </a:cubicBezTo>
                  <a:cubicBezTo>
                    <a:pt x="257" y="102"/>
                    <a:pt x="259" y="106"/>
                    <a:pt x="249" y="110"/>
                  </a:cubicBezTo>
                  <a:cubicBezTo>
                    <a:pt x="251" y="130"/>
                    <a:pt x="248" y="153"/>
                    <a:pt x="257" y="171"/>
                  </a:cubicBezTo>
                  <a:cubicBezTo>
                    <a:pt x="258" y="177"/>
                    <a:pt x="266" y="179"/>
                    <a:pt x="272" y="182"/>
                  </a:cubicBezTo>
                  <a:cubicBezTo>
                    <a:pt x="276" y="206"/>
                    <a:pt x="263" y="202"/>
                    <a:pt x="243" y="204"/>
                  </a:cubicBezTo>
                  <a:cubicBezTo>
                    <a:pt x="236" y="216"/>
                    <a:pt x="245" y="248"/>
                    <a:pt x="237" y="255"/>
                  </a:cubicBezTo>
                  <a:cubicBezTo>
                    <a:pt x="233" y="262"/>
                    <a:pt x="226" y="251"/>
                    <a:pt x="219" y="249"/>
                  </a:cubicBezTo>
                  <a:cubicBezTo>
                    <a:pt x="212" y="247"/>
                    <a:pt x="205" y="247"/>
                    <a:pt x="197" y="245"/>
                  </a:cubicBezTo>
                  <a:cubicBezTo>
                    <a:pt x="189" y="243"/>
                    <a:pt x="177" y="242"/>
                    <a:pt x="169" y="240"/>
                  </a:cubicBezTo>
                  <a:cubicBezTo>
                    <a:pt x="162" y="238"/>
                    <a:pt x="154" y="238"/>
                    <a:pt x="150" y="236"/>
                  </a:cubicBezTo>
                  <a:cubicBezTo>
                    <a:pt x="146" y="234"/>
                    <a:pt x="146" y="231"/>
                    <a:pt x="146" y="227"/>
                  </a:cubicBezTo>
                  <a:cubicBezTo>
                    <a:pt x="142" y="222"/>
                    <a:pt x="149" y="214"/>
                    <a:pt x="148" y="209"/>
                  </a:cubicBezTo>
                  <a:cubicBezTo>
                    <a:pt x="147" y="204"/>
                    <a:pt x="144" y="199"/>
                    <a:pt x="141" y="195"/>
                  </a:cubicBezTo>
                  <a:cubicBezTo>
                    <a:pt x="136" y="193"/>
                    <a:pt x="140" y="191"/>
                    <a:pt x="128" y="186"/>
                  </a:cubicBezTo>
                  <a:cubicBezTo>
                    <a:pt x="123" y="185"/>
                    <a:pt x="115" y="188"/>
                    <a:pt x="109" y="189"/>
                  </a:cubicBezTo>
                  <a:cubicBezTo>
                    <a:pt x="103" y="190"/>
                    <a:pt x="97" y="196"/>
                    <a:pt x="90" y="194"/>
                  </a:cubicBezTo>
                  <a:cubicBezTo>
                    <a:pt x="75" y="192"/>
                    <a:pt x="74" y="187"/>
                    <a:pt x="68" y="176"/>
                  </a:cubicBezTo>
                  <a:cubicBezTo>
                    <a:pt x="63" y="172"/>
                    <a:pt x="67" y="167"/>
                    <a:pt x="63" y="165"/>
                  </a:cubicBezTo>
                  <a:cubicBezTo>
                    <a:pt x="59" y="163"/>
                    <a:pt x="53" y="163"/>
                    <a:pt x="44" y="164"/>
                  </a:cubicBezTo>
                  <a:cubicBezTo>
                    <a:pt x="35" y="165"/>
                    <a:pt x="15" y="169"/>
                    <a:pt x="8" y="17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63" name="Freeform 466"/>
            <p:cNvSpPr>
              <a:spLocks/>
            </p:cNvSpPr>
            <p:nvPr>
              <p:custDataLst>
                <p:tags r:id="rId31"/>
              </p:custDataLst>
            </p:nvPr>
          </p:nvSpPr>
          <p:spPr bwMode="gray">
            <a:xfrm>
              <a:off x="3232581" y="3094688"/>
              <a:ext cx="109093" cy="132895"/>
            </a:xfrm>
            <a:custGeom>
              <a:avLst/>
              <a:gdLst>
                <a:gd name="T0" fmla="*/ 3 w 113"/>
                <a:gd name="T1" fmla="*/ 88 h 138"/>
                <a:gd name="T2" fmla="*/ 24 w 113"/>
                <a:gd name="T3" fmla="*/ 94 h 138"/>
                <a:gd name="T4" fmla="*/ 37 w 113"/>
                <a:gd name="T5" fmla="*/ 99 h 138"/>
                <a:gd name="T6" fmla="*/ 51 w 113"/>
                <a:gd name="T7" fmla="*/ 117 h 138"/>
                <a:gd name="T8" fmla="*/ 81 w 113"/>
                <a:gd name="T9" fmla="*/ 138 h 138"/>
                <a:gd name="T10" fmla="*/ 99 w 113"/>
                <a:gd name="T11" fmla="*/ 114 h 138"/>
                <a:gd name="T12" fmla="*/ 105 w 113"/>
                <a:gd name="T13" fmla="*/ 99 h 138"/>
                <a:gd name="T14" fmla="*/ 105 w 113"/>
                <a:gd name="T15" fmla="*/ 72 h 138"/>
                <a:gd name="T16" fmla="*/ 105 w 113"/>
                <a:gd name="T17" fmla="*/ 27 h 138"/>
                <a:gd name="T18" fmla="*/ 106 w 113"/>
                <a:gd name="T19" fmla="*/ 15 h 138"/>
                <a:gd name="T20" fmla="*/ 60 w 113"/>
                <a:gd name="T21" fmla="*/ 16 h 138"/>
                <a:gd name="T22" fmla="*/ 34 w 113"/>
                <a:gd name="T23" fmla="*/ 6 h 138"/>
                <a:gd name="T24" fmla="*/ 12 w 113"/>
                <a:gd name="T25" fmla="*/ 3 h 138"/>
                <a:gd name="T26" fmla="*/ 13 w 113"/>
                <a:gd name="T27" fmla="*/ 27 h 138"/>
                <a:gd name="T28" fmla="*/ 18 w 113"/>
                <a:gd name="T29" fmla="*/ 52 h 138"/>
                <a:gd name="T30" fmla="*/ 3 w 113"/>
                <a:gd name="T31" fmla="*/ 66 h 138"/>
                <a:gd name="T32" fmla="*/ 3 w 113"/>
                <a:gd name="T33" fmla="*/ 8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38">
                  <a:moveTo>
                    <a:pt x="3" y="88"/>
                  </a:moveTo>
                  <a:cubicBezTo>
                    <a:pt x="10" y="90"/>
                    <a:pt x="17" y="93"/>
                    <a:pt x="24" y="94"/>
                  </a:cubicBezTo>
                  <a:cubicBezTo>
                    <a:pt x="28" y="96"/>
                    <a:pt x="33" y="97"/>
                    <a:pt x="37" y="99"/>
                  </a:cubicBezTo>
                  <a:cubicBezTo>
                    <a:pt x="40" y="106"/>
                    <a:pt x="44" y="115"/>
                    <a:pt x="51" y="117"/>
                  </a:cubicBezTo>
                  <a:cubicBezTo>
                    <a:pt x="58" y="123"/>
                    <a:pt x="73" y="138"/>
                    <a:pt x="81" y="138"/>
                  </a:cubicBezTo>
                  <a:cubicBezTo>
                    <a:pt x="91" y="135"/>
                    <a:pt x="87" y="116"/>
                    <a:pt x="99" y="114"/>
                  </a:cubicBezTo>
                  <a:cubicBezTo>
                    <a:pt x="100" y="108"/>
                    <a:pt x="101" y="104"/>
                    <a:pt x="105" y="99"/>
                  </a:cubicBezTo>
                  <a:cubicBezTo>
                    <a:pt x="106" y="90"/>
                    <a:pt x="104" y="81"/>
                    <a:pt x="105" y="72"/>
                  </a:cubicBezTo>
                  <a:cubicBezTo>
                    <a:pt x="107" y="60"/>
                    <a:pt x="105" y="36"/>
                    <a:pt x="105" y="27"/>
                  </a:cubicBezTo>
                  <a:cubicBezTo>
                    <a:pt x="105" y="18"/>
                    <a:pt x="113" y="17"/>
                    <a:pt x="106" y="15"/>
                  </a:cubicBezTo>
                  <a:cubicBezTo>
                    <a:pt x="94" y="16"/>
                    <a:pt x="72" y="17"/>
                    <a:pt x="60" y="16"/>
                  </a:cubicBezTo>
                  <a:cubicBezTo>
                    <a:pt x="49" y="7"/>
                    <a:pt x="49" y="7"/>
                    <a:pt x="34" y="6"/>
                  </a:cubicBezTo>
                  <a:cubicBezTo>
                    <a:pt x="28" y="5"/>
                    <a:pt x="15" y="0"/>
                    <a:pt x="12" y="3"/>
                  </a:cubicBezTo>
                  <a:cubicBezTo>
                    <a:pt x="9" y="6"/>
                    <a:pt x="12" y="19"/>
                    <a:pt x="13" y="27"/>
                  </a:cubicBezTo>
                  <a:cubicBezTo>
                    <a:pt x="14" y="34"/>
                    <a:pt x="20" y="46"/>
                    <a:pt x="18" y="52"/>
                  </a:cubicBezTo>
                  <a:cubicBezTo>
                    <a:pt x="16" y="58"/>
                    <a:pt x="5" y="60"/>
                    <a:pt x="3" y="66"/>
                  </a:cubicBezTo>
                  <a:cubicBezTo>
                    <a:pt x="0" y="75"/>
                    <a:pt x="3" y="78"/>
                    <a:pt x="3" y="8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64" name="Freeform 467"/>
            <p:cNvSpPr>
              <a:spLocks/>
            </p:cNvSpPr>
            <p:nvPr>
              <p:custDataLst>
                <p:tags r:id="rId32"/>
              </p:custDataLst>
            </p:nvPr>
          </p:nvSpPr>
          <p:spPr bwMode="gray">
            <a:xfrm>
              <a:off x="3058033" y="3283121"/>
              <a:ext cx="174548" cy="141821"/>
            </a:xfrm>
            <a:custGeom>
              <a:avLst/>
              <a:gdLst>
                <a:gd name="T0" fmla="*/ 61 w 181"/>
                <a:gd name="T1" fmla="*/ 46 h 147"/>
                <a:gd name="T2" fmla="*/ 80 w 181"/>
                <a:gd name="T3" fmla="*/ 51 h 147"/>
                <a:gd name="T4" fmla="*/ 95 w 181"/>
                <a:gd name="T5" fmla="*/ 55 h 147"/>
                <a:gd name="T6" fmla="*/ 110 w 181"/>
                <a:gd name="T7" fmla="*/ 67 h 147"/>
                <a:gd name="T8" fmla="*/ 103 w 181"/>
                <a:gd name="T9" fmla="*/ 57 h 147"/>
                <a:gd name="T10" fmla="*/ 100 w 181"/>
                <a:gd name="T11" fmla="*/ 37 h 147"/>
                <a:gd name="T12" fmla="*/ 103 w 181"/>
                <a:gd name="T13" fmla="*/ 10 h 147"/>
                <a:gd name="T14" fmla="*/ 113 w 181"/>
                <a:gd name="T15" fmla="*/ 0 h 147"/>
                <a:gd name="T16" fmla="*/ 139 w 181"/>
                <a:gd name="T17" fmla="*/ 4 h 147"/>
                <a:gd name="T18" fmla="*/ 172 w 181"/>
                <a:gd name="T19" fmla="*/ 15 h 147"/>
                <a:gd name="T20" fmla="*/ 169 w 181"/>
                <a:gd name="T21" fmla="*/ 66 h 147"/>
                <a:gd name="T22" fmla="*/ 152 w 181"/>
                <a:gd name="T23" fmla="*/ 94 h 147"/>
                <a:gd name="T24" fmla="*/ 137 w 181"/>
                <a:gd name="T25" fmla="*/ 100 h 147"/>
                <a:gd name="T26" fmla="*/ 107 w 181"/>
                <a:gd name="T27" fmla="*/ 114 h 147"/>
                <a:gd name="T28" fmla="*/ 88 w 181"/>
                <a:gd name="T29" fmla="*/ 127 h 147"/>
                <a:gd name="T30" fmla="*/ 80 w 181"/>
                <a:gd name="T31" fmla="*/ 142 h 147"/>
                <a:gd name="T32" fmla="*/ 52 w 181"/>
                <a:gd name="T33" fmla="*/ 147 h 147"/>
                <a:gd name="T34" fmla="*/ 17 w 181"/>
                <a:gd name="T35" fmla="*/ 141 h 147"/>
                <a:gd name="T36" fmla="*/ 8 w 181"/>
                <a:gd name="T37" fmla="*/ 129 h 147"/>
                <a:gd name="T38" fmla="*/ 4 w 181"/>
                <a:gd name="T39" fmla="*/ 112 h 147"/>
                <a:gd name="T40" fmla="*/ 4 w 181"/>
                <a:gd name="T41" fmla="*/ 91 h 147"/>
                <a:gd name="T42" fmla="*/ 7 w 181"/>
                <a:gd name="T43" fmla="*/ 70 h 147"/>
                <a:gd name="T44" fmla="*/ 29 w 181"/>
                <a:gd name="T45" fmla="*/ 66 h 147"/>
                <a:gd name="T46" fmla="*/ 40 w 181"/>
                <a:gd name="T47" fmla="*/ 55 h 147"/>
                <a:gd name="T48" fmla="*/ 38 w 181"/>
                <a:gd name="T49" fmla="*/ 43 h 147"/>
                <a:gd name="T50" fmla="*/ 35 w 181"/>
                <a:gd name="T51" fmla="*/ 42 h 147"/>
                <a:gd name="T52" fmla="*/ 61 w 181"/>
                <a:gd name="T53" fmla="*/ 4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81" h="147">
                  <a:moveTo>
                    <a:pt x="61" y="46"/>
                  </a:moveTo>
                  <a:cubicBezTo>
                    <a:pt x="68" y="48"/>
                    <a:pt x="74" y="50"/>
                    <a:pt x="80" y="51"/>
                  </a:cubicBezTo>
                  <a:cubicBezTo>
                    <a:pt x="85" y="52"/>
                    <a:pt x="90" y="54"/>
                    <a:pt x="95" y="55"/>
                  </a:cubicBezTo>
                  <a:cubicBezTo>
                    <a:pt x="100" y="58"/>
                    <a:pt x="109" y="67"/>
                    <a:pt x="110" y="67"/>
                  </a:cubicBezTo>
                  <a:cubicBezTo>
                    <a:pt x="107" y="64"/>
                    <a:pt x="105" y="62"/>
                    <a:pt x="103" y="57"/>
                  </a:cubicBezTo>
                  <a:cubicBezTo>
                    <a:pt x="101" y="52"/>
                    <a:pt x="100" y="45"/>
                    <a:pt x="100" y="37"/>
                  </a:cubicBezTo>
                  <a:cubicBezTo>
                    <a:pt x="100" y="29"/>
                    <a:pt x="101" y="16"/>
                    <a:pt x="103" y="10"/>
                  </a:cubicBezTo>
                  <a:cubicBezTo>
                    <a:pt x="106" y="6"/>
                    <a:pt x="110" y="4"/>
                    <a:pt x="113" y="0"/>
                  </a:cubicBezTo>
                  <a:cubicBezTo>
                    <a:pt x="127" y="1"/>
                    <a:pt x="128" y="2"/>
                    <a:pt x="139" y="4"/>
                  </a:cubicBezTo>
                  <a:cubicBezTo>
                    <a:pt x="151" y="16"/>
                    <a:pt x="149" y="13"/>
                    <a:pt x="172" y="15"/>
                  </a:cubicBezTo>
                  <a:cubicBezTo>
                    <a:pt x="173" y="28"/>
                    <a:pt x="181" y="57"/>
                    <a:pt x="169" y="66"/>
                  </a:cubicBezTo>
                  <a:cubicBezTo>
                    <a:pt x="167" y="84"/>
                    <a:pt x="169" y="91"/>
                    <a:pt x="152" y="94"/>
                  </a:cubicBezTo>
                  <a:cubicBezTo>
                    <a:pt x="147" y="97"/>
                    <a:pt x="143" y="99"/>
                    <a:pt x="137" y="100"/>
                  </a:cubicBezTo>
                  <a:cubicBezTo>
                    <a:pt x="127" y="105"/>
                    <a:pt x="117" y="109"/>
                    <a:pt x="107" y="114"/>
                  </a:cubicBezTo>
                  <a:cubicBezTo>
                    <a:pt x="100" y="123"/>
                    <a:pt x="100" y="126"/>
                    <a:pt x="88" y="127"/>
                  </a:cubicBezTo>
                  <a:cubicBezTo>
                    <a:pt x="85" y="134"/>
                    <a:pt x="89" y="140"/>
                    <a:pt x="80" y="142"/>
                  </a:cubicBezTo>
                  <a:cubicBezTo>
                    <a:pt x="71" y="146"/>
                    <a:pt x="61" y="143"/>
                    <a:pt x="52" y="147"/>
                  </a:cubicBezTo>
                  <a:cubicBezTo>
                    <a:pt x="40" y="145"/>
                    <a:pt x="27" y="147"/>
                    <a:pt x="17" y="141"/>
                  </a:cubicBezTo>
                  <a:cubicBezTo>
                    <a:pt x="14" y="136"/>
                    <a:pt x="10" y="134"/>
                    <a:pt x="8" y="129"/>
                  </a:cubicBezTo>
                  <a:cubicBezTo>
                    <a:pt x="7" y="123"/>
                    <a:pt x="5" y="118"/>
                    <a:pt x="4" y="112"/>
                  </a:cubicBezTo>
                  <a:cubicBezTo>
                    <a:pt x="3" y="106"/>
                    <a:pt x="0" y="99"/>
                    <a:pt x="4" y="91"/>
                  </a:cubicBezTo>
                  <a:cubicBezTo>
                    <a:pt x="5" y="84"/>
                    <a:pt x="3" y="74"/>
                    <a:pt x="7" y="70"/>
                  </a:cubicBezTo>
                  <a:cubicBezTo>
                    <a:pt x="11" y="66"/>
                    <a:pt x="24" y="68"/>
                    <a:pt x="29" y="66"/>
                  </a:cubicBezTo>
                  <a:cubicBezTo>
                    <a:pt x="33" y="63"/>
                    <a:pt x="39" y="59"/>
                    <a:pt x="40" y="55"/>
                  </a:cubicBezTo>
                  <a:cubicBezTo>
                    <a:pt x="41" y="51"/>
                    <a:pt x="39" y="45"/>
                    <a:pt x="38" y="43"/>
                  </a:cubicBezTo>
                  <a:cubicBezTo>
                    <a:pt x="36" y="34"/>
                    <a:pt x="32" y="50"/>
                    <a:pt x="35" y="42"/>
                  </a:cubicBezTo>
                  <a:cubicBezTo>
                    <a:pt x="39" y="41"/>
                    <a:pt x="56" y="45"/>
                    <a:pt x="61" y="4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65" name="Freeform 468"/>
            <p:cNvSpPr>
              <a:spLocks/>
            </p:cNvSpPr>
            <p:nvPr>
              <p:custDataLst>
                <p:tags r:id="rId33"/>
              </p:custDataLst>
            </p:nvPr>
          </p:nvSpPr>
          <p:spPr bwMode="gray">
            <a:xfrm>
              <a:off x="3330765" y="2989562"/>
              <a:ext cx="156697" cy="197359"/>
            </a:xfrm>
            <a:custGeom>
              <a:avLst/>
              <a:gdLst>
                <a:gd name="T0" fmla="*/ 7 w 163"/>
                <a:gd name="T1" fmla="*/ 205 h 205"/>
                <a:gd name="T2" fmla="*/ 35 w 163"/>
                <a:gd name="T3" fmla="*/ 179 h 205"/>
                <a:gd name="T4" fmla="*/ 55 w 163"/>
                <a:gd name="T5" fmla="*/ 161 h 205"/>
                <a:gd name="T6" fmla="*/ 75 w 163"/>
                <a:gd name="T7" fmla="*/ 145 h 205"/>
                <a:gd name="T8" fmla="*/ 87 w 163"/>
                <a:gd name="T9" fmla="*/ 137 h 205"/>
                <a:gd name="T10" fmla="*/ 119 w 163"/>
                <a:gd name="T11" fmla="*/ 97 h 205"/>
                <a:gd name="T12" fmla="*/ 127 w 163"/>
                <a:gd name="T13" fmla="*/ 73 h 205"/>
                <a:gd name="T14" fmla="*/ 147 w 163"/>
                <a:gd name="T15" fmla="*/ 43 h 205"/>
                <a:gd name="T16" fmla="*/ 159 w 163"/>
                <a:gd name="T17" fmla="*/ 27 h 205"/>
                <a:gd name="T18" fmla="*/ 157 w 163"/>
                <a:gd name="T19" fmla="*/ 5 h 205"/>
                <a:gd name="T20" fmla="*/ 133 w 163"/>
                <a:gd name="T21" fmla="*/ 7 h 205"/>
                <a:gd name="T22" fmla="*/ 85 w 163"/>
                <a:gd name="T23" fmla="*/ 15 h 205"/>
                <a:gd name="T24" fmla="*/ 39 w 163"/>
                <a:gd name="T25" fmla="*/ 3 h 205"/>
                <a:gd name="T26" fmla="*/ 27 w 163"/>
                <a:gd name="T27" fmla="*/ 9 h 205"/>
                <a:gd name="T28" fmla="*/ 41 w 163"/>
                <a:gd name="T29" fmla="*/ 23 h 205"/>
                <a:gd name="T30" fmla="*/ 67 w 163"/>
                <a:gd name="T31" fmla="*/ 47 h 205"/>
                <a:gd name="T32" fmla="*/ 85 w 163"/>
                <a:gd name="T33" fmla="*/ 53 h 205"/>
                <a:gd name="T34" fmla="*/ 91 w 163"/>
                <a:gd name="T35" fmla="*/ 55 h 205"/>
                <a:gd name="T36" fmla="*/ 107 w 163"/>
                <a:gd name="T37" fmla="*/ 69 h 205"/>
                <a:gd name="T38" fmla="*/ 89 w 163"/>
                <a:gd name="T39" fmla="*/ 81 h 205"/>
                <a:gd name="T40" fmla="*/ 69 w 163"/>
                <a:gd name="T41" fmla="*/ 101 h 205"/>
                <a:gd name="T42" fmla="*/ 51 w 163"/>
                <a:gd name="T43" fmla="*/ 107 h 205"/>
                <a:gd name="T44" fmla="*/ 10 w 163"/>
                <a:gd name="T45" fmla="*/ 122 h 205"/>
                <a:gd name="T46" fmla="*/ 7 w 163"/>
                <a:gd name="T47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3" h="205">
                  <a:moveTo>
                    <a:pt x="7" y="205"/>
                  </a:moveTo>
                  <a:cubicBezTo>
                    <a:pt x="14" y="198"/>
                    <a:pt x="27" y="182"/>
                    <a:pt x="35" y="179"/>
                  </a:cubicBezTo>
                  <a:cubicBezTo>
                    <a:pt x="40" y="172"/>
                    <a:pt x="48" y="166"/>
                    <a:pt x="55" y="161"/>
                  </a:cubicBezTo>
                  <a:cubicBezTo>
                    <a:pt x="58" y="152"/>
                    <a:pt x="67" y="150"/>
                    <a:pt x="75" y="145"/>
                  </a:cubicBezTo>
                  <a:cubicBezTo>
                    <a:pt x="79" y="142"/>
                    <a:pt x="87" y="137"/>
                    <a:pt x="87" y="137"/>
                  </a:cubicBezTo>
                  <a:cubicBezTo>
                    <a:pt x="96" y="123"/>
                    <a:pt x="109" y="112"/>
                    <a:pt x="119" y="97"/>
                  </a:cubicBezTo>
                  <a:cubicBezTo>
                    <a:pt x="124" y="90"/>
                    <a:pt x="122" y="80"/>
                    <a:pt x="127" y="73"/>
                  </a:cubicBezTo>
                  <a:cubicBezTo>
                    <a:pt x="134" y="63"/>
                    <a:pt x="138" y="52"/>
                    <a:pt x="147" y="43"/>
                  </a:cubicBezTo>
                  <a:cubicBezTo>
                    <a:pt x="150" y="35"/>
                    <a:pt x="155" y="34"/>
                    <a:pt x="159" y="27"/>
                  </a:cubicBezTo>
                  <a:cubicBezTo>
                    <a:pt x="158" y="20"/>
                    <a:pt x="163" y="9"/>
                    <a:pt x="157" y="5"/>
                  </a:cubicBezTo>
                  <a:cubicBezTo>
                    <a:pt x="151" y="0"/>
                    <a:pt x="141" y="6"/>
                    <a:pt x="133" y="7"/>
                  </a:cubicBezTo>
                  <a:cubicBezTo>
                    <a:pt x="115" y="10"/>
                    <a:pt x="107" y="13"/>
                    <a:pt x="85" y="15"/>
                  </a:cubicBezTo>
                  <a:cubicBezTo>
                    <a:pt x="53" y="36"/>
                    <a:pt x="57" y="9"/>
                    <a:pt x="39" y="3"/>
                  </a:cubicBezTo>
                  <a:cubicBezTo>
                    <a:pt x="36" y="4"/>
                    <a:pt x="28" y="6"/>
                    <a:pt x="27" y="9"/>
                  </a:cubicBezTo>
                  <a:cubicBezTo>
                    <a:pt x="25" y="15"/>
                    <a:pt x="41" y="23"/>
                    <a:pt x="41" y="23"/>
                  </a:cubicBezTo>
                  <a:cubicBezTo>
                    <a:pt x="48" y="34"/>
                    <a:pt x="55" y="42"/>
                    <a:pt x="67" y="47"/>
                  </a:cubicBezTo>
                  <a:cubicBezTo>
                    <a:pt x="73" y="50"/>
                    <a:pt x="79" y="51"/>
                    <a:pt x="85" y="53"/>
                  </a:cubicBezTo>
                  <a:cubicBezTo>
                    <a:pt x="87" y="54"/>
                    <a:pt x="91" y="55"/>
                    <a:pt x="91" y="55"/>
                  </a:cubicBezTo>
                  <a:cubicBezTo>
                    <a:pt x="94" y="65"/>
                    <a:pt x="101" y="60"/>
                    <a:pt x="107" y="69"/>
                  </a:cubicBezTo>
                  <a:cubicBezTo>
                    <a:pt x="99" y="72"/>
                    <a:pt x="96" y="77"/>
                    <a:pt x="89" y="81"/>
                  </a:cubicBezTo>
                  <a:cubicBezTo>
                    <a:pt x="84" y="88"/>
                    <a:pt x="76" y="96"/>
                    <a:pt x="69" y="101"/>
                  </a:cubicBezTo>
                  <a:cubicBezTo>
                    <a:pt x="63" y="106"/>
                    <a:pt x="60" y="104"/>
                    <a:pt x="51" y="107"/>
                  </a:cubicBezTo>
                  <a:cubicBezTo>
                    <a:pt x="41" y="110"/>
                    <a:pt x="17" y="106"/>
                    <a:pt x="10" y="122"/>
                  </a:cubicBezTo>
                  <a:cubicBezTo>
                    <a:pt x="0" y="139"/>
                    <a:pt x="4" y="195"/>
                    <a:pt x="7" y="20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66" name="Freeform 469"/>
            <p:cNvSpPr>
              <a:spLocks/>
            </p:cNvSpPr>
            <p:nvPr>
              <p:custDataLst>
                <p:tags r:id="rId34"/>
              </p:custDataLst>
            </p:nvPr>
          </p:nvSpPr>
          <p:spPr bwMode="gray">
            <a:xfrm>
              <a:off x="3176051" y="3100638"/>
              <a:ext cx="76365" cy="82316"/>
            </a:xfrm>
            <a:custGeom>
              <a:avLst/>
              <a:gdLst>
                <a:gd name="T0" fmla="*/ 9 w 79"/>
                <a:gd name="T1" fmla="*/ 13 h 86"/>
                <a:gd name="T2" fmla="*/ 48 w 79"/>
                <a:gd name="T3" fmla="*/ 6 h 86"/>
                <a:gd name="T4" fmla="*/ 69 w 79"/>
                <a:gd name="T5" fmla="*/ 1 h 86"/>
                <a:gd name="T6" fmla="*/ 74 w 79"/>
                <a:gd name="T7" fmla="*/ 25 h 86"/>
                <a:gd name="T8" fmla="*/ 77 w 79"/>
                <a:gd name="T9" fmla="*/ 46 h 86"/>
                <a:gd name="T10" fmla="*/ 63 w 79"/>
                <a:gd name="T11" fmla="*/ 60 h 86"/>
                <a:gd name="T12" fmla="*/ 56 w 79"/>
                <a:gd name="T13" fmla="*/ 81 h 86"/>
                <a:gd name="T14" fmla="*/ 3 w 79"/>
                <a:gd name="T15" fmla="*/ 78 h 86"/>
                <a:gd name="T16" fmla="*/ 14 w 79"/>
                <a:gd name="T17" fmla="*/ 40 h 86"/>
                <a:gd name="T18" fmla="*/ 9 w 79"/>
                <a:gd name="T19" fmla="*/ 1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86">
                  <a:moveTo>
                    <a:pt x="9" y="13"/>
                  </a:moveTo>
                  <a:cubicBezTo>
                    <a:pt x="21" y="4"/>
                    <a:pt x="27" y="7"/>
                    <a:pt x="48" y="6"/>
                  </a:cubicBezTo>
                  <a:cubicBezTo>
                    <a:pt x="54" y="3"/>
                    <a:pt x="62" y="0"/>
                    <a:pt x="69" y="1"/>
                  </a:cubicBezTo>
                  <a:cubicBezTo>
                    <a:pt x="73" y="8"/>
                    <a:pt x="70" y="18"/>
                    <a:pt x="74" y="25"/>
                  </a:cubicBezTo>
                  <a:cubicBezTo>
                    <a:pt x="75" y="32"/>
                    <a:pt x="79" y="41"/>
                    <a:pt x="77" y="46"/>
                  </a:cubicBezTo>
                  <a:cubicBezTo>
                    <a:pt x="75" y="52"/>
                    <a:pt x="66" y="54"/>
                    <a:pt x="63" y="60"/>
                  </a:cubicBezTo>
                  <a:cubicBezTo>
                    <a:pt x="59" y="67"/>
                    <a:pt x="63" y="79"/>
                    <a:pt x="56" y="81"/>
                  </a:cubicBezTo>
                  <a:cubicBezTo>
                    <a:pt x="39" y="86"/>
                    <a:pt x="3" y="78"/>
                    <a:pt x="3" y="78"/>
                  </a:cubicBezTo>
                  <a:cubicBezTo>
                    <a:pt x="0" y="64"/>
                    <a:pt x="2" y="49"/>
                    <a:pt x="14" y="40"/>
                  </a:cubicBezTo>
                  <a:cubicBezTo>
                    <a:pt x="18" y="31"/>
                    <a:pt x="14" y="20"/>
                    <a:pt x="9" y="1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67" name="Freeform 474"/>
            <p:cNvSpPr>
              <a:spLocks/>
            </p:cNvSpPr>
            <p:nvPr>
              <p:custDataLst>
                <p:tags r:id="rId35"/>
              </p:custDataLst>
            </p:nvPr>
          </p:nvSpPr>
          <p:spPr bwMode="gray">
            <a:xfrm>
              <a:off x="2753565" y="2815014"/>
              <a:ext cx="228103" cy="176532"/>
            </a:xfrm>
            <a:custGeom>
              <a:avLst/>
              <a:gdLst>
                <a:gd name="T0" fmla="*/ 219 w 237"/>
                <a:gd name="T1" fmla="*/ 20 h 183"/>
                <a:gd name="T2" fmla="*/ 201 w 237"/>
                <a:gd name="T3" fmla="*/ 8 h 183"/>
                <a:gd name="T4" fmla="*/ 183 w 237"/>
                <a:gd name="T5" fmla="*/ 3 h 183"/>
                <a:gd name="T6" fmla="*/ 156 w 237"/>
                <a:gd name="T7" fmla="*/ 14 h 183"/>
                <a:gd name="T8" fmla="*/ 134 w 237"/>
                <a:gd name="T9" fmla="*/ 24 h 183"/>
                <a:gd name="T10" fmla="*/ 120 w 237"/>
                <a:gd name="T11" fmla="*/ 33 h 183"/>
                <a:gd name="T12" fmla="*/ 111 w 237"/>
                <a:gd name="T13" fmla="*/ 45 h 183"/>
                <a:gd name="T14" fmla="*/ 102 w 237"/>
                <a:gd name="T15" fmla="*/ 53 h 183"/>
                <a:gd name="T16" fmla="*/ 77 w 237"/>
                <a:gd name="T17" fmla="*/ 72 h 183"/>
                <a:gd name="T18" fmla="*/ 57 w 237"/>
                <a:gd name="T19" fmla="*/ 69 h 183"/>
                <a:gd name="T20" fmla="*/ 59 w 237"/>
                <a:gd name="T21" fmla="*/ 80 h 183"/>
                <a:gd name="T22" fmla="*/ 60 w 237"/>
                <a:gd name="T23" fmla="*/ 119 h 183"/>
                <a:gd name="T24" fmla="*/ 44 w 237"/>
                <a:gd name="T25" fmla="*/ 128 h 183"/>
                <a:gd name="T26" fmla="*/ 26 w 237"/>
                <a:gd name="T27" fmla="*/ 128 h 183"/>
                <a:gd name="T28" fmla="*/ 0 w 237"/>
                <a:gd name="T29" fmla="*/ 137 h 183"/>
                <a:gd name="T30" fmla="*/ 6 w 237"/>
                <a:gd name="T31" fmla="*/ 143 h 183"/>
                <a:gd name="T32" fmla="*/ 11 w 237"/>
                <a:gd name="T33" fmla="*/ 159 h 183"/>
                <a:gd name="T34" fmla="*/ 29 w 237"/>
                <a:gd name="T35" fmla="*/ 174 h 183"/>
                <a:gd name="T36" fmla="*/ 47 w 237"/>
                <a:gd name="T37" fmla="*/ 179 h 183"/>
                <a:gd name="T38" fmla="*/ 51 w 237"/>
                <a:gd name="T39" fmla="*/ 182 h 183"/>
                <a:gd name="T40" fmla="*/ 54 w 237"/>
                <a:gd name="T41" fmla="*/ 171 h 183"/>
                <a:gd name="T42" fmla="*/ 69 w 237"/>
                <a:gd name="T43" fmla="*/ 159 h 183"/>
                <a:gd name="T44" fmla="*/ 89 w 237"/>
                <a:gd name="T45" fmla="*/ 158 h 183"/>
                <a:gd name="T46" fmla="*/ 128 w 237"/>
                <a:gd name="T47" fmla="*/ 167 h 183"/>
                <a:gd name="T48" fmla="*/ 146 w 237"/>
                <a:gd name="T49" fmla="*/ 162 h 183"/>
                <a:gd name="T50" fmla="*/ 162 w 237"/>
                <a:gd name="T51" fmla="*/ 164 h 183"/>
                <a:gd name="T52" fmla="*/ 173 w 237"/>
                <a:gd name="T53" fmla="*/ 159 h 183"/>
                <a:gd name="T54" fmla="*/ 177 w 237"/>
                <a:gd name="T55" fmla="*/ 161 h 183"/>
                <a:gd name="T56" fmla="*/ 192 w 237"/>
                <a:gd name="T57" fmla="*/ 164 h 183"/>
                <a:gd name="T58" fmla="*/ 200 w 237"/>
                <a:gd name="T59" fmla="*/ 143 h 183"/>
                <a:gd name="T60" fmla="*/ 209 w 237"/>
                <a:gd name="T61" fmla="*/ 132 h 183"/>
                <a:gd name="T62" fmla="*/ 215 w 237"/>
                <a:gd name="T63" fmla="*/ 122 h 183"/>
                <a:gd name="T64" fmla="*/ 224 w 237"/>
                <a:gd name="T65" fmla="*/ 116 h 183"/>
                <a:gd name="T66" fmla="*/ 230 w 237"/>
                <a:gd name="T67" fmla="*/ 98 h 183"/>
                <a:gd name="T68" fmla="*/ 237 w 237"/>
                <a:gd name="T69" fmla="*/ 78 h 183"/>
                <a:gd name="T70" fmla="*/ 233 w 237"/>
                <a:gd name="T71" fmla="*/ 51 h 183"/>
                <a:gd name="T72" fmla="*/ 222 w 237"/>
                <a:gd name="T73" fmla="*/ 26 h 183"/>
                <a:gd name="T74" fmla="*/ 219 w 237"/>
                <a:gd name="T75" fmla="*/ 2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7" h="183">
                  <a:moveTo>
                    <a:pt x="219" y="20"/>
                  </a:moveTo>
                  <a:cubicBezTo>
                    <a:pt x="215" y="17"/>
                    <a:pt x="207" y="11"/>
                    <a:pt x="201" y="8"/>
                  </a:cubicBezTo>
                  <a:cubicBezTo>
                    <a:pt x="195" y="5"/>
                    <a:pt x="190" y="2"/>
                    <a:pt x="183" y="3"/>
                  </a:cubicBezTo>
                  <a:cubicBezTo>
                    <a:pt x="175" y="0"/>
                    <a:pt x="156" y="14"/>
                    <a:pt x="156" y="14"/>
                  </a:cubicBezTo>
                  <a:cubicBezTo>
                    <a:pt x="148" y="17"/>
                    <a:pt x="140" y="21"/>
                    <a:pt x="134" y="24"/>
                  </a:cubicBezTo>
                  <a:cubicBezTo>
                    <a:pt x="128" y="27"/>
                    <a:pt x="124" y="30"/>
                    <a:pt x="120" y="33"/>
                  </a:cubicBezTo>
                  <a:cubicBezTo>
                    <a:pt x="116" y="39"/>
                    <a:pt x="119" y="43"/>
                    <a:pt x="111" y="45"/>
                  </a:cubicBezTo>
                  <a:cubicBezTo>
                    <a:pt x="109" y="53"/>
                    <a:pt x="111" y="52"/>
                    <a:pt x="102" y="53"/>
                  </a:cubicBezTo>
                  <a:cubicBezTo>
                    <a:pt x="96" y="56"/>
                    <a:pt x="84" y="69"/>
                    <a:pt x="77" y="72"/>
                  </a:cubicBezTo>
                  <a:cubicBezTo>
                    <a:pt x="70" y="75"/>
                    <a:pt x="60" y="68"/>
                    <a:pt x="57" y="69"/>
                  </a:cubicBezTo>
                  <a:cubicBezTo>
                    <a:pt x="54" y="71"/>
                    <a:pt x="59" y="72"/>
                    <a:pt x="59" y="80"/>
                  </a:cubicBezTo>
                  <a:cubicBezTo>
                    <a:pt x="59" y="88"/>
                    <a:pt x="63" y="111"/>
                    <a:pt x="60" y="119"/>
                  </a:cubicBezTo>
                  <a:cubicBezTo>
                    <a:pt x="57" y="127"/>
                    <a:pt x="50" y="127"/>
                    <a:pt x="44" y="128"/>
                  </a:cubicBezTo>
                  <a:cubicBezTo>
                    <a:pt x="38" y="139"/>
                    <a:pt x="33" y="127"/>
                    <a:pt x="26" y="128"/>
                  </a:cubicBezTo>
                  <a:cubicBezTo>
                    <a:pt x="19" y="129"/>
                    <a:pt x="3" y="135"/>
                    <a:pt x="0" y="137"/>
                  </a:cubicBezTo>
                  <a:cubicBezTo>
                    <a:pt x="1" y="140"/>
                    <a:pt x="5" y="140"/>
                    <a:pt x="6" y="143"/>
                  </a:cubicBezTo>
                  <a:cubicBezTo>
                    <a:pt x="8" y="146"/>
                    <a:pt x="7" y="154"/>
                    <a:pt x="11" y="159"/>
                  </a:cubicBezTo>
                  <a:cubicBezTo>
                    <a:pt x="15" y="164"/>
                    <a:pt x="23" y="171"/>
                    <a:pt x="29" y="174"/>
                  </a:cubicBezTo>
                  <a:cubicBezTo>
                    <a:pt x="35" y="177"/>
                    <a:pt x="41" y="177"/>
                    <a:pt x="47" y="179"/>
                  </a:cubicBezTo>
                  <a:cubicBezTo>
                    <a:pt x="48" y="180"/>
                    <a:pt x="49" y="183"/>
                    <a:pt x="51" y="182"/>
                  </a:cubicBezTo>
                  <a:cubicBezTo>
                    <a:pt x="53" y="181"/>
                    <a:pt x="54" y="172"/>
                    <a:pt x="54" y="171"/>
                  </a:cubicBezTo>
                  <a:cubicBezTo>
                    <a:pt x="56" y="165"/>
                    <a:pt x="63" y="160"/>
                    <a:pt x="69" y="159"/>
                  </a:cubicBezTo>
                  <a:cubicBezTo>
                    <a:pt x="76" y="157"/>
                    <a:pt x="82" y="159"/>
                    <a:pt x="89" y="158"/>
                  </a:cubicBezTo>
                  <a:cubicBezTo>
                    <a:pt x="102" y="160"/>
                    <a:pt x="114" y="166"/>
                    <a:pt x="128" y="167"/>
                  </a:cubicBezTo>
                  <a:cubicBezTo>
                    <a:pt x="137" y="169"/>
                    <a:pt x="139" y="162"/>
                    <a:pt x="146" y="162"/>
                  </a:cubicBezTo>
                  <a:cubicBezTo>
                    <a:pt x="152" y="162"/>
                    <a:pt x="158" y="164"/>
                    <a:pt x="162" y="164"/>
                  </a:cubicBezTo>
                  <a:cubicBezTo>
                    <a:pt x="166" y="164"/>
                    <a:pt x="171" y="159"/>
                    <a:pt x="173" y="159"/>
                  </a:cubicBezTo>
                  <a:cubicBezTo>
                    <a:pt x="174" y="158"/>
                    <a:pt x="175" y="161"/>
                    <a:pt x="177" y="161"/>
                  </a:cubicBezTo>
                  <a:cubicBezTo>
                    <a:pt x="183" y="160"/>
                    <a:pt x="187" y="167"/>
                    <a:pt x="192" y="164"/>
                  </a:cubicBezTo>
                  <a:cubicBezTo>
                    <a:pt x="197" y="161"/>
                    <a:pt x="197" y="147"/>
                    <a:pt x="200" y="143"/>
                  </a:cubicBezTo>
                  <a:cubicBezTo>
                    <a:pt x="202" y="135"/>
                    <a:pt x="205" y="139"/>
                    <a:pt x="209" y="132"/>
                  </a:cubicBezTo>
                  <a:cubicBezTo>
                    <a:pt x="211" y="128"/>
                    <a:pt x="213" y="125"/>
                    <a:pt x="215" y="122"/>
                  </a:cubicBezTo>
                  <a:cubicBezTo>
                    <a:pt x="217" y="119"/>
                    <a:pt x="221" y="120"/>
                    <a:pt x="224" y="116"/>
                  </a:cubicBezTo>
                  <a:cubicBezTo>
                    <a:pt x="225" y="110"/>
                    <a:pt x="227" y="104"/>
                    <a:pt x="230" y="98"/>
                  </a:cubicBezTo>
                  <a:cubicBezTo>
                    <a:pt x="231" y="92"/>
                    <a:pt x="237" y="86"/>
                    <a:pt x="237" y="78"/>
                  </a:cubicBezTo>
                  <a:cubicBezTo>
                    <a:pt x="237" y="70"/>
                    <a:pt x="235" y="60"/>
                    <a:pt x="233" y="51"/>
                  </a:cubicBezTo>
                  <a:cubicBezTo>
                    <a:pt x="231" y="42"/>
                    <a:pt x="224" y="31"/>
                    <a:pt x="222" y="26"/>
                  </a:cubicBezTo>
                  <a:cubicBezTo>
                    <a:pt x="221" y="21"/>
                    <a:pt x="205" y="6"/>
                    <a:pt x="219" y="2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68" name="Freeform 475"/>
            <p:cNvSpPr>
              <a:spLocks/>
            </p:cNvSpPr>
            <p:nvPr>
              <p:custDataLst>
                <p:tags r:id="rId36"/>
              </p:custDataLst>
            </p:nvPr>
          </p:nvSpPr>
          <p:spPr bwMode="gray">
            <a:xfrm>
              <a:off x="2754557" y="2982620"/>
              <a:ext cx="52563" cy="94217"/>
            </a:xfrm>
            <a:custGeom>
              <a:avLst/>
              <a:gdLst>
                <a:gd name="T0" fmla="*/ 32 w 55"/>
                <a:gd name="T1" fmla="*/ 4 h 98"/>
                <a:gd name="T2" fmla="*/ 26 w 55"/>
                <a:gd name="T3" fmla="*/ 12 h 98"/>
                <a:gd name="T4" fmla="*/ 18 w 55"/>
                <a:gd name="T5" fmla="*/ 18 h 98"/>
                <a:gd name="T6" fmla="*/ 18 w 55"/>
                <a:gd name="T7" fmla="*/ 34 h 98"/>
                <a:gd name="T8" fmla="*/ 34 w 55"/>
                <a:gd name="T9" fmla="*/ 92 h 98"/>
                <a:gd name="T10" fmla="*/ 52 w 55"/>
                <a:gd name="T11" fmla="*/ 36 h 98"/>
                <a:gd name="T12" fmla="*/ 50 w 55"/>
                <a:gd name="T13" fmla="*/ 18 h 98"/>
                <a:gd name="T14" fmla="*/ 43 w 55"/>
                <a:gd name="T15" fmla="*/ 7 h 98"/>
                <a:gd name="T16" fmla="*/ 32 w 55"/>
                <a:gd name="T17" fmla="*/ 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98">
                  <a:moveTo>
                    <a:pt x="32" y="4"/>
                  </a:moveTo>
                  <a:cubicBezTo>
                    <a:pt x="28" y="0"/>
                    <a:pt x="28" y="10"/>
                    <a:pt x="26" y="12"/>
                  </a:cubicBezTo>
                  <a:cubicBezTo>
                    <a:pt x="24" y="14"/>
                    <a:pt x="19" y="14"/>
                    <a:pt x="18" y="18"/>
                  </a:cubicBezTo>
                  <a:cubicBezTo>
                    <a:pt x="13" y="26"/>
                    <a:pt x="9" y="28"/>
                    <a:pt x="18" y="34"/>
                  </a:cubicBezTo>
                  <a:cubicBezTo>
                    <a:pt x="27" y="60"/>
                    <a:pt x="0" y="98"/>
                    <a:pt x="34" y="92"/>
                  </a:cubicBezTo>
                  <a:cubicBezTo>
                    <a:pt x="45" y="60"/>
                    <a:pt x="34" y="63"/>
                    <a:pt x="52" y="36"/>
                  </a:cubicBezTo>
                  <a:cubicBezTo>
                    <a:pt x="55" y="24"/>
                    <a:pt x="51" y="23"/>
                    <a:pt x="50" y="18"/>
                  </a:cubicBezTo>
                  <a:cubicBezTo>
                    <a:pt x="49" y="13"/>
                    <a:pt x="46" y="9"/>
                    <a:pt x="43" y="7"/>
                  </a:cubicBezTo>
                  <a:cubicBezTo>
                    <a:pt x="40" y="5"/>
                    <a:pt x="35" y="3"/>
                    <a:pt x="32" y="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69" name="Freeform 476"/>
            <p:cNvSpPr>
              <a:spLocks/>
            </p:cNvSpPr>
            <p:nvPr>
              <p:custDataLst>
                <p:tags r:id="rId37"/>
              </p:custDataLst>
            </p:nvPr>
          </p:nvSpPr>
          <p:spPr bwMode="gray">
            <a:xfrm>
              <a:off x="2746623" y="3001463"/>
              <a:ext cx="26778" cy="75373"/>
            </a:xfrm>
            <a:custGeom>
              <a:avLst/>
              <a:gdLst>
                <a:gd name="T0" fmla="*/ 18 w 28"/>
                <a:gd name="T1" fmla="*/ 0 h 78"/>
                <a:gd name="T2" fmla="*/ 0 w 28"/>
                <a:gd name="T3" fmla="*/ 21 h 78"/>
                <a:gd name="T4" fmla="*/ 10 w 28"/>
                <a:gd name="T5" fmla="*/ 50 h 78"/>
                <a:gd name="T6" fmla="*/ 10 w 28"/>
                <a:gd name="T7" fmla="*/ 63 h 78"/>
                <a:gd name="T8" fmla="*/ 16 w 28"/>
                <a:gd name="T9" fmla="*/ 76 h 78"/>
                <a:gd name="T10" fmla="*/ 24 w 28"/>
                <a:gd name="T11" fmla="*/ 74 h 78"/>
                <a:gd name="T12" fmla="*/ 27 w 28"/>
                <a:gd name="T13" fmla="*/ 24 h 78"/>
                <a:gd name="T14" fmla="*/ 18 w 28"/>
                <a:gd name="T15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78">
                  <a:moveTo>
                    <a:pt x="18" y="0"/>
                  </a:moveTo>
                  <a:cubicBezTo>
                    <a:pt x="7" y="4"/>
                    <a:pt x="3" y="11"/>
                    <a:pt x="0" y="21"/>
                  </a:cubicBezTo>
                  <a:cubicBezTo>
                    <a:pt x="1" y="30"/>
                    <a:pt x="8" y="41"/>
                    <a:pt x="10" y="50"/>
                  </a:cubicBezTo>
                  <a:cubicBezTo>
                    <a:pt x="11" y="54"/>
                    <a:pt x="10" y="63"/>
                    <a:pt x="10" y="63"/>
                  </a:cubicBezTo>
                  <a:cubicBezTo>
                    <a:pt x="11" y="68"/>
                    <a:pt x="13" y="72"/>
                    <a:pt x="16" y="76"/>
                  </a:cubicBezTo>
                  <a:cubicBezTo>
                    <a:pt x="18" y="78"/>
                    <a:pt x="24" y="77"/>
                    <a:pt x="24" y="74"/>
                  </a:cubicBezTo>
                  <a:cubicBezTo>
                    <a:pt x="24" y="65"/>
                    <a:pt x="28" y="36"/>
                    <a:pt x="27" y="24"/>
                  </a:cubicBezTo>
                  <a:cubicBezTo>
                    <a:pt x="26" y="12"/>
                    <a:pt x="20" y="5"/>
                    <a:pt x="18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70" name="Freeform 478"/>
            <p:cNvSpPr>
              <a:spLocks/>
            </p:cNvSpPr>
            <p:nvPr>
              <p:custDataLst>
                <p:tags r:id="rId38"/>
              </p:custDataLst>
            </p:nvPr>
          </p:nvSpPr>
          <p:spPr bwMode="gray">
            <a:xfrm>
              <a:off x="2528437" y="2978653"/>
              <a:ext cx="112068" cy="76365"/>
            </a:xfrm>
            <a:custGeom>
              <a:avLst/>
              <a:gdLst>
                <a:gd name="T0" fmla="*/ 28 w 116"/>
                <a:gd name="T1" fmla="*/ 48 h 79"/>
                <a:gd name="T2" fmla="*/ 6 w 116"/>
                <a:gd name="T3" fmla="*/ 30 h 79"/>
                <a:gd name="T4" fmla="*/ 6 w 116"/>
                <a:gd name="T5" fmla="*/ 24 h 79"/>
                <a:gd name="T6" fmla="*/ 17 w 116"/>
                <a:gd name="T7" fmla="*/ 15 h 79"/>
                <a:gd name="T8" fmla="*/ 30 w 116"/>
                <a:gd name="T9" fmla="*/ 2 h 79"/>
                <a:gd name="T10" fmla="*/ 49 w 116"/>
                <a:gd name="T11" fmla="*/ 7 h 79"/>
                <a:gd name="T12" fmla="*/ 76 w 116"/>
                <a:gd name="T13" fmla="*/ 10 h 79"/>
                <a:gd name="T14" fmla="*/ 102 w 116"/>
                <a:gd name="T15" fmla="*/ 26 h 79"/>
                <a:gd name="T16" fmla="*/ 110 w 116"/>
                <a:gd name="T17" fmla="*/ 38 h 79"/>
                <a:gd name="T18" fmla="*/ 112 w 116"/>
                <a:gd name="T19" fmla="*/ 56 h 79"/>
                <a:gd name="T20" fmla="*/ 113 w 116"/>
                <a:gd name="T21" fmla="*/ 76 h 79"/>
                <a:gd name="T22" fmla="*/ 91 w 116"/>
                <a:gd name="T23" fmla="*/ 79 h 79"/>
                <a:gd name="T24" fmla="*/ 72 w 116"/>
                <a:gd name="T25" fmla="*/ 68 h 79"/>
                <a:gd name="T26" fmla="*/ 69 w 116"/>
                <a:gd name="T27" fmla="*/ 58 h 79"/>
                <a:gd name="T28" fmla="*/ 68 w 116"/>
                <a:gd name="T29" fmla="*/ 49 h 79"/>
                <a:gd name="T30" fmla="*/ 65 w 116"/>
                <a:gd name="T31" fmla="*/ 39 h 79"/>
                <a:gd name="T32" fmla="*/ 46 w 116"/>
                <a:gd name="T33" fmla="*/ 40 h 79"/>
                <a:gd name="T34" fmla="*/ 38 w 116"/>
                <a:gd name="T35" fmla="*/ 46 h 79"/>
                <a:gd name="T36" fmla="*/ 28 w 116"/>
                <a:gd name="T37" fmla="*/ 4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6" h="79">
                  <a:moveTo>
                    <a:pt x="28" y="48"/>
                  </a:moveTo>
                  <a:cubicBezTo>
                    <a:pt x="25" y="31"/>
                    <a:pt x="23" y="32"/>
                    <a:pt x="6" y="30"/>
                  </a:cubicBezTo>
                  <a:cubicBezTo>
                    <a:pt x="0" y="24"/>
                    <a:pt x="11" y="31"/>
                    <a:pt x="6" y="24"/>
                  </a:cubicBezTo>
                  <a:cubicBezTo>
                    <a:pt x="7" y="21"/>
                    <a:pt x="13" y="19"/>
                    <a:pt x="17" y="15"/>
                  </a:cubicBezTo>
                  <a:cubicBezTo>
                    <a:pt x="21" y="11"/>
                    <a:pt x="25" y="3"/>
                    <a:pt x="30" y="2"/>
                  </a:cubicBezTo>
                  <a:cubicBezTo>
                    <a:pt x="35" y="0"/>
                    <a:pt x="41" y="6"/>
                    <a:pt x="49" y="7"/>
                  </a:cubicBezTo>
                  <a:cubicBezTo>
                    <a:pt x="57" y="8"/>
                    <a:pt x="67" y="7"/>
                    <a:pt x="76" y="10"/>
                  </a:cubicBezTo>
                  <a:cubicBezTo>
                    <a:pt x="85" y="13"/>
                    <a:pt x="96" y="21"/>
                    <a:pt x="102" y="26"/>
                  </a:cubicBezTo>
                  <a:cubicBezTo>
                    <a:pt x="104" y="30"/>
                    <a:pt x="110" y="38"/>
                    <a:pt x="110" y="38"/>
                  </a:cubicBezTo>
                  <a:cubicBezTo>
                    <a:pt x="108" y="44"/>
                    <a:pt x="112" y="56"/>
                    <a:pt x="112" y="56"/>
                  </a:cubicBezTo>
                  <a:cubicBezTo>
                    <a:pt x="111" y="61"/>
                    <a:pt x="116" y="72"/>
                    <a:pt x="113" y="76"/>
                  </a:cubicBezTo>
                  <a:cubicBezTo>
                    <a:pt x="111" y="79"/>
                    <a:pt x="91" y="79"/>
                    <a:pt x="91" y="79"/>
                  </a:cubicBezTo>
                  <a:cubicBezTo>
                    <a:pt x="79" y="77"/>
                    <a:pt x="82" y="71"/>
                    <a:pt x="72" y="68"/>
                  </a:cubicBezTo>
                  <a:cubicBezTo>
                    <a:pt x="68" y="65"/>
                    <a:pt x="71" y="63"/>
                    <a:pt x="69" y="58"/>
                  </a:cubicBezTo>
                  <a:cubicBezTo>
                    <a:pt x="68" y="55"/>
                    <a:pt x="69" y="52"/>
                    <a:pt x="68" y="49"/>
                  </a:cubicBezTo>
                  <a:cubicBezTo>
                    <a:pt x="67" y="46"/>
                    <a:pt x="69" y="41"/>
                    <a:pt x="65" y="39"/>
                  </a:cubicBezTo>
                  <a:cubicBezTo>
                    <a:pt x="61" y="35"/>
                    <a:pt x="50" y="39"/>
                    <a:pt x="46" y="40"/>
                  </a:cubicBezTo>
                  <a:cubicBezTo>
                    <a:pt x="42" y="41"/>
                    <a:pt x="41" y="45"/>
                    <a:pt x="38" y="46"/>
                  </a:cubicBezTo>
                  <a:cubicBezTo>
                    <a:pt x="33" y="53"/>
                    <a:pt x="32" y="52"/>
                    <a:pt x="28" y="4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71" name="Freeform 479"/>
            <p:cNvSpPr>
              <a:spLocks/>
            </p:cNvSpPr>
            <p:nvPr>
              <p:custDataLst>
                <p:tags r:id="rId39"/>
              </p:custDataLst>
            </p:nvPr>
          </p:nvSpPr>
          <p:spPr bwMode="gray">
            <a:xfrm>
              <a:off x="2673233" y="2944934"/>
              <a:ext cx="110085" cy="77357"/>
            </a:xfrm>
            <a:custGeom>
              <a:avLst/>
              <a:gdLst>
                <a:gd name="T0" fmla="*/ 77 w 114"/>
                <a:gd name="T1" fmla="*/ 0 h 80"/>
                <a:gd name="T2" fmla="*/ 34 w 114"/>
                <a:gd name="T3" fmla="*/ 13 h 80"/>
                <a:gd name="T4" fmla="*/ 18 w 114"/>
                <a:gd name="T5" fmla="*/ 27 h 80"/>
                <a:gd name="T6" fmla="*/ 0 w 114"/>
                <a:gd name="T7" fmla="*/ 55 h 80"/>
                <a:gd name="T8" fmla="*/ 12 w 114"/>
                <a:gd name="T9" fmla="*/ 77 h 80"/>
                <a:gd name="T10" fmla="*/ 24 w 114"/>
                <a:gd name="T11" fmla="*/ 75 h 80"/>
                <a:gd name="T12" fmla="*/ 40 w 114"/>
                <a:gd name="T13" fmla="*/ 63 h 80"/>
                <a:gd name="T14" fmla="*/ 80 w 114"/>
                <a:gd name="T15" fmla="*/ 61 h 80"/>
                <a:gd name="T16" fmla="*/ 110 w 114"/>
                <a:gd name="T17" fmla="*/ 55 h 80"/>
                <a:gd name="T18" fmla="*/ 100 w 114"/>
                <a:gd name="T19" fmla="*/ 31 h 80"/>
                <a:gd name="T20" fmla="*/ 86 w 114"/>
                <a:gd name="T21" fmla="*/ 9 h 80"/>
                <a:gd name="T22" fmla="*/ 77 w 114"/>
                <a:gd name="T2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4" h="80">
                  <a:moveTo>
                    <a:pt x="77" y="0"/>
                  </a:moveTo>
                  <a:cubicBezTo>
                    <a:pt x="58" y="2"/>
                    <a:pt x="54" y="11"/>
                    <a:pt x="34" y="13"/>
                  </a:cubicBezTo>
                  <a:cubicBezTo>
                    <a:pt x="31" y="26"/>
                    <a:pt x="30" y="24"/>
                    <a:pt x="18" y="27"/>
                  </a:cubicBezTo>
                  <a:cubicBezTo>
                    <a:pt x="7" y="35"/>
                    <a:pt x="12" y="51"/>
                    <a:pt x="0" y="55"/>
                  </a:cubicBezTo>
                  <a:cubicBezTo>
                    <a:pt x="2" y="67"/>
                    <a:pt x="0" y="73"/>
                    <a:pt x="12" y="77"/>
                  </a:cubicBezTo>
                  <a:cubicBezTo>
                    <a:pt x="15" y="80"/>
                    <a:pt x="19" y="77"/>
                    <a:pt x="24" y="75"/>
                  </a:cubicBezTo>
                  <a:cubicBezTo>
                    <a:pt x="29" y="73"/>
                    <a:pt x="31" y="65"/>
                    <a:pt x="40" y="63"/>
                  </a:cubicBezTo>
                  <a:cubicBezTo>
                    <a:pt x="53" y="62"/>
                    <a:pt x="67" y="62"/>
                    <a:pt x="80" y="61"/>
                  </a:cubicBezTo>
                  <a:cubicBezTo>
                    <a:pt x="98" y="55"/>
                    <a:pt x="88" y="57"/>
                    <a:pt x="110" y="55"/>
                  </a:cubicBezTo>
                  <a:cubicBezTo>
                    <a:pt x="114" y="44"/>
                    <a:pt x="111" y="35"/>
                    <a:pt x="100" y="31"/>
                  </a:cubicBezTo>
                  <a:cubicBezTo>
                    <a:pt x="94" y="22"/>
                    <a:pt x="95" y="15"/>
                    <a:pt x="86" y="9"/>
                  </a:cubicBezTo>
                  <a:cubicBezTo>
                    <a:pt x="81" y="2"/>
                    <a:pt x="71" y="0"/>
                    <a:pt x="77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72" name="Freeform 480"/>
            <p:cNvSpPr>
              <a:spLocks/>
            </p:cNvSpPr>
            <p:nvPr>
              <p:custDataLst>
                <p:tags r:id="rId40"/>
              </p:custDataLst>
            </p:nvPr>
          </p:nvSpPr>
          <p:spPr bwMode="gray">
            <a:xfrm>
              <a:off x="3363492" y="2892371"/>
              <a:ext cx="145788" cy="88266"/>
            </a:xfrm>
            <a:custGeom>
              <a:avLst/>
              <a:gdLst>
                <a:gd name="T0" fmla="*/ 3 w 151"/>
                <a:gd name="T1" fmla="*/ 27 h 91"/>
                <a:gd name="T2" fmla="*/ 17 w 151"/>
                <a:gd name="T3" fmla="*/ 69 h 91"/>
                <a:gd name="T4" fmla="*/ 39 w 151"/>
                <a:gd name="T5" fmla="*/ 89 h 91"/>
                <a:gd name="T6" fmla="*/ 52 w 151"/>
                <a:gd name="T7" fmla="*/ 84 h 91"/>
                <a:gd name="T8" fmla="*/ 84 w 151"/>
                <a:gd name="T9" fmla="*/ 71 h 91"/>
                <a:gd name="T10" fmla="*/ 108 w 151"/>
                <a:gd name="T11" fmla="*/ 60 h 91"/>
                <a:gd name="T12" fmla="*/ 129 w 151"/>
                <a:gd name="T13" fmla="*/ 53 h 91"/>
                <a:gd name="T14" fmla="*/ 138 w 151"/>
                <a:gd name="T15" fmla="*/ 41 h 91"/>
                <a:gd name="T16" fmla="*/ 148 w 151"/>
                <a:gd name="T17" fmla="*/ 24 h 91"/>
                <a:gd name="T18" fmla="*/ 129 w 151"/>
                <a:gd name="T19" fmla="*/ 0 h 91"/>
                <a:gd name="T20" fmla="*/ 115 w 151"/>
                <a:gd name="T21" fmla="*/ 2 h 91"/>
                <a:gd name="T22" fmla="*/ 88 w 151"/>
                <a:gd name="T23" fmla="*/ 3 h 91"/>
                <a:gd name="T24" fmla="*/ 73 w 151"/>
                <a:gd name="T25" fmla="*/ 6 h 91"/>
                <a:gd name="T26" fmla="*/ 54 w 151"/>
                <a:gd name="T27" fmla="*/ 41 h 91"/>
                <a:gd name="T28" fmla="*/ 40 w 151"/>
                <a:gd name="T29" fmla="*/ 33 h 91"/>
                <a:gd name="T30" fmla="*/ 22 w 151"/>
                <a:gd name="T31" fmla="*/ 26 h 91"/>
                <a:gd name="T32" fmla="*/ 10 w 151"/>
                <a:gd name="T33" fmla="*/ 24 h 91"/>
                <a:gd name="T34" fmla="*/ 3 w 151"/>
                <a:gd name="T35" fmla="*/ 2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1" h="91">
                  <a:moveTo>
                    <a:pt x="3" y="27"/>
                  </a:moveTo>
                  <a:cubicBezTo>
                    <a:pt x="0" y="42"/>
                    <a:pt x="12" y="55"/>
                    <a:pt x="17" y="69"/>
                  </a:cubicBezTo>
                  <a:cubicBezTo>
                    <a:pt x="17" y="79"/>
                    <a:pt x="33" y="87"/>
                    <a:pt x="39" y="89"/>
                  </a:cubicBezTo>
                  <a:cubicBezTo>
                    <a:pt x="45" y="91"/>
                    <a:pt x="45" y="87"/>
                    <a:pt x="52" y="84"/>
                  </a:cubicBezTo>
                  <a:cubicBezTo>
                    <a:pt x="68" y="74"/>
                    <a:pt x="60" y="76"/>
                    <a:pt x="84" y="71"/>
                  </a:cubicBezTo>
                  <a:cubicBezTo>
                    <a:pt x="90" y="61"/>
                    <a:pt x="97" y="62"/>
                    <a:pt x="108" y="60"/>
                  </a:cubicBezTo>
                  <a:cubicBezTo>
                    <a:pt x="114" y="56"/>
                    <a:pt x="122" y="54"/>
                    <a:pt x="129" y="53"/>
                  </a:cubicBezTo>
                  <a:cubicBezTo>
                    <a:pt x="134" y="49"/>
                    <a:pt x="135" y="46"/>
                    <a:pt x="138" y="41"/>
                  </a:cubicBezTo>
                  <a:cubicBezTo>
                    <a:pt x="140" y="31"/>
                    <a:pt x="151" y="35"/>
                    <a:pt x="148" y="24"/>
                  </a:cubicBezTo>
                  <a:cubicBezTo>
                    <a:pt x="147" y="14"/>
                    <a:pt x="139" y="5"/>
                    <a:pt x="129" y="0"/>
                  </a:cubicBezTo>
                  <a:cubicBezTo>
                    <a:pt x="124" y="1"/>
                    <a:pt x="120" y="2"/>
                    <a:pt x="115" y="2"/>
                  </a:cubicBezTo>
                  <a:cubicBezTo>
                    <a:pt x="106" y="3"/>
                    <a:pt x="97" y="2"/>
                    <a:pt x="88" y="3"/>
                  </a:cubicBezTo>
                  <a:cubicBezTo>
                    <a:pt x="83" y="3"/>
                    <a:pt x="73" y="6"/>
                    <a:pt x="73" y="6"/>
                  </a:cubicBezTo>
                  <a:cubicBezTo>
                    <a:pt x="67" y="16"/>
                    <a:pt x="64" y="33"/>
                    <a:pt x="54" y="41"/>
                  </a:cubicBezTo>
                  <a:cubicBezTo>
                    <a:pt x="48" y="40"/>
                    <a:pt x="45" y="35"/>
                    <a:pt x="40" y="33"/>
                  </a:cubicBezTo>
                  <a:cubicBezTo>
                    <a:pt x="36" y="32"/>
                    <a:pt x="22" y="26"/>
                    <a:pt x="22" y="26"/>
                  </a:cubicBezTo>
                  <a:cubicBezTo>
                    <a:pt x="17" y="17"/>
                    <a:pt x="19" y="22"/>
                    <a:pt x="10" y="24"/>
                  </a:cubicBezTo>
                  <a:cubicBezTo>
                    <a:pt x="5" y="26"/>
                    <a:pt x="7" y="26"/>
                    <a:pt x="3" y="2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73" name="Freeform 481"/>
            <p:cNvSpPr>
              <a:spLocks/>
            </p:cNvSpPr>
            <p:nvPr>
              <p:custDataLst>
                <p:tags r:id="rId41"/>
              </p:custDataLst>
            </p:nvPr>
          </p:nvSpPr>
          <p:spPr bwMode="gray">
            <a:xfrm>
              <a:off x="3262334" y="2900305"/>
              <a:ext cx="106118" cy="101159"/>
            </a:xfrm>
            <a:custGeom>
              <a:avLst/>
              <a:gdLst>
                <a:gd name="T0" fmla="*/ 36 w 110"/>
                <a:gd name="T1" fmla="*/ 0 h 104"/>
                <a:gd name="T2" fmla="*/ 60 w 110"/>
                <a:gd name="T3" fmla="*/ 18 h 104"/>
                <a:gd name="T4" fmla="*/ 91 w 110"/>
                <a:gd name="T5" fmla="*/ 46 h 104"/>
                <a:gd name="T6" fmla="*/ 109 w 110"/>
                <a:gd name="T7" fmla="*/ 96 h 104"/>
                <a:gd name="T8" fmla="*/ 94 w 110"/>
                <a:gd name="T9" fmla="*/ 100 h 104"/>
                <a:gd name="T10" fmla="*/ 84 w 110"/>
                <a:gd name="T11" fmla="*/ 91 h 104"/>
                <a:gd name="T12" fmla="*/ 87 w 110"/>
                <a:gd name="T13" fmla="*/ 78 h 104"/>
                <a:gd name="T14" fmla="*/ 82 w 110"/>
                <a:gd name="T15" fmla="*/ 54 h 104"/>
                <a:gd name="T16" fmla="*/ 13 w 110"/>
                <a:gd name="T17" fmla="*/ 54 h 104"/>
                <a:gd name="T18" fmla="*/ 36 w 110"/>
                <a:gd name="T19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104">
                  <a:moveTo>
                    <a:pt x="36" y="0"/>
                  </a:moveTo>
                  <a:cubicBezTo>
                    <a:pt x="57" y="2"/>
                    <a:pt x="40" y="13"/>
                    <a:pt x="60" y="18"/>
                  </a:cubicBezTo>
                  <a:cubicBezTo>
                    <a:pt x="67" y="26"/>
                    <a:pt x="84" y="36"/>
                    <a:pt x="91" y="46"/>
                  </a:cubicBezTo>
                  <a:cubicBezTo>
                    <a:pt x="99" y="59"/>
                    <a:pt x="108" y="87"/>
                    <a:pt x="109" y="96"/>
                  </a:cubicBezTo>
                  <a:cubicBezTo>
                    <a:pt x="110" y="104"/>
                    <a:pt x="98" y="101"/>
                    <a:pt x="94" y="100"/>
                  </a:cubicBezTo>
                  <a:cubicBezTo>
                    <a:pt x="90" y="99"/>
                    <a:pt x="85" y="95"/>
                    <a:pt x="84" y="91"/>
                  </a:cubicBezTo>
                  <a:cubicBezTo>
                    <a:pt x="83" y="87"/>
                    <a:pt x="87" y="84"/>
                    <a:pt x="87" y="78"/>
                  </a:cubicBezTo>
                  <a:cubicBezTo>
                    <a:pt x="87" y="72"/>
                    <a:pt x="94" y="58"/>
                    <a:pt x="82" y="54"/>
                  </a:cubicBezTo>
                  <a:cubicBezTo>
                    <a:pt x="61" y="65"/>
                    <a:pt x="36" y="59"/>
                    <a:pt x="13" y="54"/>
                  </a:cubicBezTo>
                  <a:cubicBezTo>
                    <a:pt x="0" y="33"/>
                    <a:pt x="15" y="7"/>
                    <a:pt x="36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74" name="Freeform 482"/>
            <p:cNvSpPr>
              <a:spLocks/>
            </p:cNvSpPr>
            <p:nvPr>
              <p:custDataLst>
                <p:tags r:id="rId42"/>
              </p:custDataLst>
            </p:nvPr>
          </p:nvSpPr>
          <p:spPr bwMode="gray">
            <a:xfrm>
              <a:off x="2510586" y="2768402"/>
              <a:ext cx="175540" cy="183474"/>
            </a:xfrm>
            <a:custGeom>
              <a:avLst/>
              <a:gdLst>
                <a:gd name="T0" fmla="*/ 176 w 182"/>
                <a:gd name="T1" fmla="*/ 26 h 190"/>
                <a:gd name="T2" fmla="*/ 156 w 182"/>
                <a:gd name="T3" fmla="*/ 28 h 190"/>
                <a:gd name="T4" fmla="*/ 156 w 182"/>
                <a:gd name="T5" fmla="*/ 82 h 190"/>
                <a:gd name="T6" fmla="*/ 166 w 182"/>
                <a:gd name="T7" fmla="*/ 174 h 190"/>
                <a:gd name="T8" fmla="*/ 62 w 182"/>
                <a:gd name="T9" fmla="*/ 178 h 190"/>
                <a:gd name="T10" fmla="*/ 29 w 182"/>
                <a:gd name="T11" fmla="*/ 161 h 190"/>
                <a:gd name="T12" fmla="*/ 6 w 182"/>
                <a:gd name="T13" fmla="*/ 160 h 190"/>
                <a:gd name="T14" fmla="*/ 6 w 182"/>
                <a:gd name="T15" fmla="*/ 128 h 190"/>
                <a:gd name="T16" fmla="*/ 0 w 182"/>
                <a:gd name="T17" fmla="*/ 104 h 190"/>
                <a:gd name="T18" fmla="*/ 56 w 182"/>
                <a:gd name="T19" fmla="*/ 84 h 190"/>
                <a:gd name="T20" fmla="*/ 54 w 182"/>
                <a:gd name="T21" fmla="*/ 62 h 190"/>
                <a:gd name="T22" fmla="*/ 72 w 182"/>
                <a:gd name="T23" fmla="*/ 48 h 190"/>
                <a:gd name="T24" fmla="*/ 74 w 182"/>
                <a:gd name="T25" fmla="*/ 12 h 190"/>
                <a:gd name="T26" fmla="*/ 118 w 182"/>
                <a:gd name="T27" fmla="*/ 12 h 190"/>
                <a:gd name="T28" fmla="*/ 134 w 182"/>
                <a:gd name="T29" fmla="*/ 0 h 190"/>
                <a:gd name="T30" fmla="*/ 158 w 182"/>
                <a:gd name="T31" fmla="*/ 14 h 190"/>
                <a:gd name="T32" fmla="*/ 176 w 182"/>
                <a:gd name="T33" fmla="*/ 2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2" h="190">
                  <a:moveTo>
                    <a:pt x="176" y="26"/>
                  </a:moveTo>
                  <a:cubicBezTo>
                    <a:pt x="169" y="27"/>
                    <a:pt x="162" y="26"/>
                    <a:pt x="156" y="28"/>
                  </a:cubicBezTo>
                  <a:cubicBezTo>
                    <a:pt x="139" y="34"/>
                    <a:pt x="155" y="64"/>
                    <a:pt x="156" y="82"/>
                  </a:cubicBezTo>
                  <a:cubicBezTo>
                    <a:pt x="150" y="98"/>
                    <a:pt x="182" y="158"/>
                    <a:pt x="166" y="174"/>
                  </a:cubicBezTo>
                  <a:cubicBezTo>
                    <a:pt x="150" y="190"/>
                    <a:pt x="85" y="180"/>
                    <a:pt x="62" y="178"/>
                  </a:cubicBezTo>
                  <a:cubicBezTo>
                    <a:pt x="52" y="175"/>
                    <a:pt x="41" y="162"/>
                    <a:pt x="29" y="161"/>
                  </a:cubicBezTo>
                  <a:cubicBezTo>
                    <a:pt x="20" y="160"/>
                    <a:pt x="15" y="161"/>
                    <a:pt x="6" y="160"/>
                  </a:cubicBezTo>
                  <a:cubicBezTo>
                    <a:pt x="8" y="144"/>
                    <a:pt x="11" y="143"/>
                    <a:pt x="6" y="128"/>
                  </a:cubicBezTo>
                  <a:cubicBezTo>
                    <a:pt x="3" y="120"/>
                    <a:pt x="0" y="104"/>
                    <a:pt x="0" y="104"/>
                  </a:cubicBezTo>
                  <a:cubicBezTo>
                    <a:pt x="4" y="75"/>
                    <a:pt x="19" y="87"/>
                    <a:pt x="56" y="84"/>
                  </a:cubicBezTo>
                  <a:cubicBezTo>
                    <a:pt x="61" y="74"/>
                    <a:pt x="60" y="71"/>
                    <a:pt x="54" y="62"/>
                  </a:cubicBezTo>
                  <a:cubicBezTo>
                    <a:pt x="57" y="50"/>
                    <a:pt x="60" y="50"/>
                    <a:pt x="72" y="48"/>
                  </a:cubicBezTo>
                  <a:cubicBezTo>
                    <a:pt x="73" y="36"/>
                    <a:pt x="65" y="19"/>
                    <a:pt x="74" y="12"/>
                  </a:cubicBezTo>
                  <a:cubicBezTo>
                    <a:pt x="81" y="4"/>
                    <a:pt x="104" y="12"/>
                    <a:pt x="118" y="12"/>
                  </a:cubicBezTo>
                  <a:cubicBezTo>
                    <a:pt x="128" y="10"/>
                    <a:pt x="127" y="0"/>
                    <a:pt x="134" y="0"/>
                  </a:cubicBezTo>
                  <a:cubicBezTo>
                    <a:pt x="141" y="0"/>
                    <a:pt x="151" y="10"/>
                    <a:pt x="158" y="14"/>
                  </a:cubicBezTo>
                  <a:cubicBezTo>
                    <a:pt x="163" y="22"/>
                    <a:pt x="167" y="24"/>
                    <a:pt x="176" y="2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75" name="Freeform 483"/>
            <p:cNvSpPr>
              <a:spLocks/>
            </p:cNvSpPr>
            <p:nvPr>
              <p:custDataLst>
                <p:tags r:id="rId43"/>
              </p:custDataLst>
            </p:nvPr>
          </p:nvSpPr>
          <p:spPr bwMode="gray">
            <a:xfrm>
              <a:off x="3490436" y="2796171"/>
              <a:ext cx="114052" cy="126944"/>
            </a:xfrm>
            <a:custGeom>
              <a:avLst/>
              <a:gdLst>
                <a:gd name="T0" fmla="*/ 53 w 120"/>
                <a:gd name="T1" fmla="*/ 37 h 131"/>
                <a:gd name="T2" fmla="*/ 69 w 120"/>
                <a:gd name="T3" fmla="*/ 0 h 131"/>
                <a:gd name="T4" fmla="*/ 113 w 120"/>
                <a:gd name="T5" fmla="*/ 22 h 131"/>
                <a:gd name="T6" fmla="*/ 120 w 120"/>
                <a:gd name="T7" fmla="*/ 40 h 131"/>
                <a:gd name="T8" fmla="*/ 111 w 120"/>
                <a:gd name="T9" fmla="*/ 64 h 131"/>
                <a:gd name="T10" fmla="*/ 90 w 120"/>
                <a:gd name="T11" fmla="*/ 75 h 131"/>
                <a:gd name="T12" fmla="*/ 75 w 120"/>
                <a:gd name="T13" fmla="*/ 99 h 131"/>
                <a:gd name="T14" fmla="*/ 51 w 120"/>
                <a:gd name="T15" fmla="*/ 118 h 131"/>
                <a:gd name="T16" fmla="*/ 30 w 120"/>
                <a:gd name="T17" fmla="*/ 127 h 131"/>
                <a:gd name="T18" fmla="*/ 14 w 120"/>
                <a:gd name="T19" fmla="*/ 120 h 131"/>
                <a:gd name="T20" fmla="*/ 3 w 120"/>
                <a:gd name="T21" fmla="*/ 102 h 131"/>
                <a:gd name="T22" fmla="*/ 26 w 120"/>
                <a:gd name="T23" fmla="*/ 88 h 131"/>
                <a:gd name="T24" fmla="*/ 41 w 120"/>
                <a:gd name="T25" fmla="*/ 75 h 131"/>
                <a:gd name="T26" fmla="*/ 53 w 120"/>
                <a:gd name="T27" fmla="*/ 3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0" h="131">
                  <a:moveTo>
                    <a:pt x="53" y="37"/>
                  </a:moveTo>
                  <a:cubicBezTo>
                    <a:pt x="55" y="24"/>
                    <a:pt x="58" y="9"/>
                    <a:pt x="69" y="0"/>
                  </a:cubicBezTo>
                  <a:cubicBezTo>
                    <a:pt x="76" y="20"/>
                    <a:pt x="95" y="19"/>
                    <a:pt x="113" y="22"/>
                  </a:cubicBezTo>
                  <a:cubicBezTo>
                    <a:pt x="114" y="31"/>
                    <a:pt x="115" y="33"/>
                    <a:pt x="120" y="40"/>
                  </a:cubicBezTo>
                  <a:cubicBezTo>
                    <a:pt x="119" y="51"/>
                    <a:pt x="117" y="55"/>
                    <a:pt x="111" y="64"/>
                  </a:cubicBezTo>
                  <a:cubicBezTo>
                    <a:pt x="109" y="74"/>
                    <a:pt x="99" y="73"/>
                    <a:pt x="90" y="75"/>
                  </a:cubicBezTo>
                  <a:cubicBezTo>
                    <a:pt x="87" y="91"/>
                    <a:pt x="93" y="96"/>
                    <a:pt x="75" y="99"/>
                  </a:cubicBezTo>
                  <a:cubicBezTo>
                    <a:pt x="74" y="108"/>
                    <a:pt x="61" y="116"/>
                    <a:pt x="51" y="118"/>
                  </a:cubicBezTo>
                  <a:cubicBezTo>
                    <a:pt x="43" y="122"/>
                    <a:pt x="39" y="126"/>
                    <a:pt x="30" y="127"/>
                  </a:cubicBezTo>
                  <a:cubicBezTo>
                    <a:pt x="22" y="131"/>
                    <a:pt x="20" y="124"/>
                    <a:pt x="14" y="120"/>
                  </a:cubicBezTo>
                  <a:cubicBezTo>
                    <a:pt x="10" y="113"/>
                    <a:pt x="7" y="109"/>
                    <a:pt x="3" y="102"/>
                  </a:cubicBezTo>
                  <a:cubicBezTo>
                    <a:pt x="0" y="88"/>
                    <a:pt x="16" y="89"/>
                    <a:pt x="26" y="88"/>
                  </a:cubicBezTo>
                  <a:cubicBezTo>
                    <a:pt x="32" y="83"/>
                    <a:pt x="33" y="77"/>
                    <a:pt x="41" y="75"/>
                  </a:cubicBezTo>
                  <a:cubicBezTo>
                    <a:pt x="56" y="64"/>
                    <a:pt x="54" y="59"/>
                    <a:pt x="53" y="3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76" name="Freeform 484"/>
            <p:cNvSpPr>
              <a:spLocks/>
            </p:cNvSpPr>
            <p:nvPr>
              <p:custDataLst>
                <p:tags r:id="rId44"/>
              </p:custDataLst>
            </p:nvPr>
          </p:nvSpPr>
          <p:spPr bwMode="gray">
            <a:xfrm>
              <a:off x="3484486" y="2765426"/>
              <a:ext cx="74382" cy="70415"/>
            </a:xfrm>
            <a:custGeom>
              <a:avLst/>
              <a:gdLst>
                <a:gd name="T0" fmla="*/ 7 w 78"/>
                <a:gd name="T1" fmla="*/ 44 h 73"/>
                <a:gd name="T2" fmla="*/ 43 w 78"/>
                <a:gd name="T3" fmla="*/ 39 h 73"/>
                <a:gd name="T4" fmla="*/ 59 w 78"/>
                <a:gd name="T5" fmla="*/ 18 h 73"/>
                <a:gd name="T6" fmla="*/ 74 w 78"/>
                <a:gd name="T7" fmla="*/ 0 h 73"/>
                <a:gd name="T8" fmla="*/ 76 w 78"/>
                <a:gd name="T9" fmla="*/ 32 h 73"/>
                <a:gd name="T10" fmla="*/ 67 w 78"/>
                <a:gd name="T11" fmla="*/ 38 h 73"/>
                <a:gd name="T12" fmla="*/ 64 w 78"/>
                <a:gd name="T13" fmla="*/ 54 h 73"/>
                <a:gd name="T14" fmla="*/ 53 w 78"/>
                <a:gd name="T15" fmla="*/ 69 h 73"/>
                <a:gd name="T16" fmla="*/ 14 w 78"/>
                <a:gd name="T17" fmla="*/ 66 h 73"/>
                <a:gd name="T18" fmla="*/ 5 w 78"/>
                <a:gd name="T19" fmla="*/ 57 h 73"/>
                <a:gd name="T20" fmla="*/ 4 w 78"/>
                <a:gd name="T21" fmla="*/ 47 h 73"/>
                <a:gd name="T22" fmla="*/ 7 w 78"/>
                <a:gd name="T23" fmla="*/ 4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" h="73">
                  <a:moveTo>
                    <a:pt x="7" y="44"/>
                  </a:moveTo>
                  <a:cubicBezTo>
                    <a:pt x="21" y="34"/>
                    <a:pt x="3" y="46"/>
                    <a:pt x="43" y="39"/>
                  </a:cubicBezTo>
                  <a:cubicBezTo>
                    <a:pt x="47" y="38"/>
                    <a:pt x="55" y="21"/>
                    <a:pt x="59" y="18"/>
                  </a:cubicBezTo>
                  <a:cubicBezTo>
                    <a:pt x="65" y="19"/>
                    <a:pt x="76" y="3"/>
                    <a:pt x="74" y="0"/>
                  </a:cubicBezTo>
                  <a:cubicBezTo>
                    <a:pt x="75" y="1"/>
                    <a:pt x="76" y="31"/>
                    <a:pt x="76" y="32"/>
                  </a:cubicBezTo>
                  <a:cubicBezTo>
                    <a:pt x="72" y="48"/>
                    <a:pt x="78" y="36"/>
                    <a:pt x="67" y="38"/>
                  </a:cubicBezTo>
                  <a:cubicBezTo>
                    <a:pt x="65" y="42"/>
                    <a:pt x="66" y="49"/>
                    <a:pt x="64" y="54"/>
                  </a:cubicBezTo>
                  <a:cubicBezTo>
                    <a:pt x="62" y="59"/>
                    <a:pt x="61" y="67"/>
                    <a:pt x="53" y="69"/>
                  </a:cubicBezTo>
                  <a:cubicBezTo>
                    <a:pt x="45" y="73"/>
                    <a:pt x="22" y="68"/>
                    <a:pt x="14" y="66"/>
                  </a:cubicBezTo>
                  <a:cubicBezTo>
                    <a:pt x="6" y="64"/>
                    <a:pt x="7" y="60"/>
                    <a:pt x="5" y="57"/>
                  </a:cubicBezTo>
                  <a:cubicBezTo>
                    <a:pt x="3" y="53"/>
                    <a:pt x="0" y="51"/>
                    <a:pt x="4" y="47"/>
                  </a:cubicBezTo>
                  <a:cubicBezTo>
                    <a:pt x="7" y="44"/>
                    <a:pt x="9" y="46"/>
                    <a:pt x="7" y="4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77" name="Freeform 485"/>
            <p:cNvSpPr>
              <a:spLocks/>
            </p:cNvSpPr>
            <p:nvPr>
              <p:custDataLst>
                <p:tags r:id="rId45"/>
              </p:custDataLst>
            </p:nvPr>
          </p:nvSpPr>
          <p:spPr bwMode="gray">
            <a:xfrm>
              <a:off x="3465643" y="2774353"/>
              <a:ext cx="28761" cy="30745"/>
            </a:xfrm>
            <a:custGeom>
              <a:avLst/>
              <a:gdLst>
                <a:gd name="T0" fmla="*/ 11 w 30"/>
                <a:gd name="T1" fmla="*/ 9 h 32"/>
                <a:gd name="T2" fmla="*/ 24 w 30"/>
                <a:gd name="T3" fmla="*/ 0 h 32"/>
                <a:gd name="T4" fmla="*/ 15 w 30"/>
                <a:gd name="T5" fmla="*/ 20 h 32"/>
                <a:gd name="T6" fmla="*/ 11 w 30"/>
                <a:gd name="T7" fmla="*/ 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32">
                  <a:moveTo>
                    <a:pt x="11" y="9"/>
                  </a:moveTo>
                  <a:cubicBezTo>
                    <a:pt x="12" y="0"/>
                    <a:pt x="16" y="3"/>
                    <a:pt x="24" y="0"/>
                  </a:cubicBezTo>
                  <a:cubicBezTo>
                    <a:pt x="29" y="13"/>
                    <a:pt x="30" y="32"/>
                    <a:pt x="15" y="20"/>
                  </a:cubicBezTo>
                  <a:cubicBezTo>
                    <a:pt x="11" y="14"/>
                    <a:pt x="0" y="7"/>
                    <a:pt x="11" y="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78" name="Freeform 487"/>
            <p:cNvSpPr>
              <a:spLocks/>
            </p:cNvSpPr>
            <p:nvPr>
              <p:custDataLst>
                <p:tags r:id="rId46"/>
              </p:custDataLst>
            </p:nvPr>
          </p:nvSpPr>
          <p:spPr bwMode="gray">
            <a:xfrm>
              <a:off x="2920180" y="3245434"/>
              <a:ext cx="176532" cy="183474"/>
            </a:xfrm>
            <a:custGeom>
              <a:avLst/>
              <a:gdLst>
                <a:gd name="T0" fmla="*/ 0 w 183"/>
                <a:gd name="T1" fmla="*/ 174 h 190"/>
                <a:gd name="T2" fmla="*/ 10 w 183"/>
                <a:gd name="T3" fmla="*/ 129 h 190"/>
                <a:gd name="T4" fmla="*/ 15 w 183"/>
                <a:gd name="T5" fmla="*/ 112 h 190"/>
                <a:gd name="T6" fmla="*/ 28 w 183"/>
                <a:gd name="T7" fmla="*/ 97 h 190"/>
                <a:gd name="T8" fmla="*/ 22 w 183"/>
                <a:gd name="T9" fmla="*/ 69 h 190"/>
                <a:gd name="T10" fmla="*/ 22 w 183"/>
                <a:gd name="T11" fmla="*/ 34 h 190"/>
                <a:gd name="T12" fmla="*/ 12 w 183"/>
                <a:gd name="T13" fmla="*/ 16 h 190"/>
                <a:gd name="T14" fmla="*/ 30 w 183"/>
                <a:gd name="T15" fmla="*/ 4 h 190"/>
                <a:gd name="T16" fmla="*/ 60 w 183"/>
                <a:gd name="T17" fmla="*/ 1 h 190"/>
                <a:gd name="T18" fmla="*/ 70 w 183"/>
                <a:gd name="T19" fmla="*/ 3 h 190"/>
                <a:gd name="T20" fmla="*/ 79 w 183"/>
                <a:gd name="T21" fmla="*/ 28 h 190"/>
                <a:gd name="T22" fmla="*/ 103 w 183"/>
                <a:gd name="T23" fmla="*/ 31 h 190"/>
                <a:gd name="T24" fmla="*/ 123 w 183"/>
                <a:gd name="T25" fmla="*/ 25 h 190"/>
                <a:gd name="T26" fmla="*/ 144 w 183"/>
                <a:gd name="T27" fmla="*/ 30 h 190"/>
                <a:gd name="T28" fmla="*/ 151 w 183"/>
                <a:gd name="T29" fmla="*/ 42 h 190"/>
                <a:gd name="T30" fmla="*/ 150 w 183"/>
                <a:gd name="T31" fmla="*/ 58 h 190"/>
                <a:gd name="T32" fmla="*/ 157 w 183"/>
                <a:gd name="T33" fmla="*/ 78 h 190"/>
                <a:gd name="T34" fmla="*/ 180 w 183"/>
                <a:gd name="T35" fmla="*/ 81 h 190"/>
                <a:gd name="T36" fmla="*/ 175 w 183"/>
                <a:gd name="T37" fmla="*/ 103 h 190"/>
                <a:gd name="T38" fmla="*/ 151 w 183"/>
                <a:gd name="T39" fmla="*/ 109 h 190"/>
                <a:gd name="T40" fmla="*/ 145 w 183"/>
                <a:gd name="T41" fmla="*/ 139 h 190"/>
                <a:gd name="T42" fmla="*/ 151 w 183"/>
                <a:gd name="T43" fmla="*/ 178 h 190"/>
                <a:gd name="T44" fmla="*/ 97 w 183"/>
                <a:gd name="T45" fmla="*/ 180 h 190"/>
                <a:gd name="T46" fmla="*/ 37 w 183"/>
                <a:gd name="T47" fmla="*/ 183 h 190"/>
                <a:gd name="T48" fmla="*/ 0 w 183"/>
                <a:gd name="T49" fmla="*/ 174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3" h="190">
                  <a:moveTo>
                    <a:pt x="0" y="174"/>
                  </a:moveTo>
                  <a:cubicBezTo>
                    <a:pt x="1" y="156"/>
                    <a:pt x="0" y="143"/>
                    <a:pt x="10" y="129"/>
                  </a:cubicBezTo>
                  <a:cubicBezTo>
                    <a:pt x="8" y="120"/>
                    <a:pt x="6" y="118"/>
                    <a:pt x="15" y="112"/>
                  </a:cubicBezTo>
                  <a:cubicBezTo>
                    <a:pt x="19" y="107"/>
                    <a:pt x="23" y="101"/>
                    <a:pt x="28" y="97"/>
                  </a:cubicBezTo>
                  <a:cubicBezTo>
                    <a:pt x="26" y="87"/>
                    <a:pt x="28" y="77"/>
                    <a:pt x="22" y="69"/>
                  </a:cubicBezTo>
                  <a:cubicBezTo>
                    <a:pt x="20" y="57"/>
                    <a:pt x="20" y="47"/>
                    <a:pt x="22" y="34"/>
                  </a:cubicBezTo>
                  <a:cubicBezTo>
                    <a:pt x="17" y="28"/>
                    <a:pt x="19" y="21"/>
                    <a:pt x="12" y="16"/>
                  </a:cubicBezTo>
                  <a:cubicBezTo>
                    <a:pt x="13" y="10"/>
                    <a:pt x="22" y="6"/>
                    <a:pt x="30" y="4"/>
                  </a:cubicBezTo>
                  <a:cubicBezTo>
                    <a:pt x="38" y="2"/>
                    <a:pt x="53" y="1"/>
                    <a:pt x="60" y="1"/>
                  </a:cubicBezTo>
                  <a:cubicBezTo>
                    <a:pt x="63" y="2"/>
                    <a:pt x="68" y="0"/>
                    <a:pt x="70" y="3"/>
                  </a:cubicBezTo>
                  <a:cubicBezTo>
                    <a:pt x="73" y="6"/>
                    <a:pt x="74" y="23"/>
                    <a:pt x="79" y="28"/>
                  </a:cubicBezTo>
                  <a:cubicBezTo>
                    <a:pt x="84" y="33"/>
                    <a:pt x="96" y="32"/>
                    <a:pt x="103" y="31"/>
                  </a:cubicBezTo>
                  <a:cubicBezTo>
                    <a:pt x="118" y="29"/>
                    <a:pt x="112" y="33"/>
                    <a:pt x="123" y="25"/>
                  </a:cubicBezTo>
                  <a:cubicBezTo>
                    <a:pt x="133" y="26"/>
                    <a:pt x="139" y="21"/>
                    <a:pt x="144" y="30"/>
                  </a:cubicBezTo>
                  <a:cubicBezTo>
                    <a:pt x="149" y="34"/>
                    <a:pt x="150" y="37"/>
                    <a:pt x="151" y="42"/>
                  </a:cubicBezTo>
                  <a:cubicBezTo>
                    <a:pt x="152" y="47"/>
                    <a:pt x="149" y="52"/>
                    <a:pt x="150" y="58"/>
                  </a:cubicBezTo>
                  <a:cubicBezTo>
                    <a:pt x="153" y="65"/>
                    <a:pt x="152" y="74"/>
                    <a:pt x="157" y="78"/>
                  </a:cubicBezTo>
                  <a:cubicBezTo>
                    <a:pt x="162" y="82"/>
                    <a:pt x="177" y="77"/>
                    <a:pt x="180" y="81"/>
                  </a:cubicBezTo>
                  <a:cubicBezTo>
                    <a:pt x="183" y="85"/>
                    <a:pt x="180" y="98"/>
                    <a:pt x="175" y="103"/>
                  </a:cubicBezTo>
                  <a:cubicBezTo>
                    <a:pt x="168" y="107"/>
                    <a:pt x="159" y="108"/>
                    <a:pt x="151" y="109"/>
                  </a:cubicBezTo>
                  <a:cubicBezTo>
                    <a:pt x="146" y="115"/>
                    <a:pt x="145" y="128"/>
                    <a:pt x="145" y="139"/>
                  </a:cubicBezTo>
                  <a:cubicBezTo>
                    <a:pt x="145" y="150"/>
                    <a:pt x="159" y="171"/>
                    <a:pt x="151" y="178"/>
                  </a:cubicBezTo>
                  <a:cubicBezTo>
                    <a:pt x="143" y="190"/>
                    <a:pt x="118" y="179"/>
                    <a:pt x="97" y="180"/>
                  </a:cubicBezTo>
                  <a:cubicBezTo>
                    <a:pt x="77" y="170"/>
                    <a:pt x="59" y="185"/>
                    <a:pt x="37" y="183"/>
                  </a:cubicBezTo>
                  <a:cubicBezTo>
                    <a:pt x="19" y="176"/>
                    <a:pt x="31" y="167"/>
                    <a:pt x="0" y="17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79" name="Freeform 488"/>
            <p:cNvSpPr>
              <a:spLocks/>
            </p:cNvSpPr>
            <p:nvPr>
              <p:custDataLst>
                <p:tags r:id="rId47"/>
              </p:custDataLst>
            </p:nvPr>
          </p:nvSpPr>
          <p:spPr bwMode="gray">
            <a:xfrm>
              <a:off x="2877534" y="2997496"/>
              <a:ext cx="102151" cy="140829"/>
            </a:xfrm>
            <a:custGeom>
              <a:avLst/>
              <a:gdLst>
                <a:gd name="T0" fmla="*/ 17 w 106"/>
                <a:gd name="T1" fmla="*/ 143 h 146"/>
                <a:gd name="T2" fmla="*/ 6 w 106"/>
                <a:gd name="T3" fmla="*/ 119 h 146"/>
                <a:gd name="T4" fmla="*/ 0 w 106"/>
                <a:gd name="T5" fmla="*/ 96 h 146"/>
                <a:gd name="T6" fmla="*/ 17 w 106"/>
                <a:gd name="T7" fmla="*/ 77 h 146"/>
                <a:gd name="T8" fmla="*/ 30 w 106"/>
                <a:gd name="T9" fmla="*/ 68 h 146"/>
                <a:gd name="T10" fmla="*/ 42 w 106"/>
                <a:gd name="T11" fmla="*/ 72 h 146"/>
                <a:gd name="T12" fmla="*/ 54 w 106"/>
                <a:gd name="T13" fmla="*/ 47 h 146"/>
                <a:gd name="T14" fmla="*/ 62 w 106"/>
                <a:gd name="T15" fmla="*/ 33 h 146"/>
                <a:gd name="T16" fmla="*/ 68 w 106"/>
                <a:gd name="T17" fmla="*/ 18 h 146"/>
                <a:gd name="T18" fmla="*/ 80 w 106"/>
                <a:gd name="T19" fmla="*/ 2 h 146"/>
                <a:gd name="T20" fmla="*/ 89 w 106"/>
                <a:gd name="T21" fmla="*/ 6 h 146"/>
                <a:gd name="T22" fmla="*/ 96 w 106"/>
                <a:gd name="T23" fmla="*/ 18 h 146"/>
                <a:gd name="T24" fmla="*/ 83 w 106"/>
                <a:gd name="T25" fmla="*/ 27 h 146"/>
                <a:gd name="T26" fmla="*/ 98 w 106"/>
                <a:gd name="T27" fmla="*/ 60 h 146"/>
                <a:gd name="T28" fmla="*/ 89 w 106"/>
                <a:gd name="T29" fmla="*/ 72 h 146"/>
                <a:gd name="T30" fmla="*/ 92 w 106"/>
                <a:gd name="T31" fmla="*/ 98 h 146"/>
                <a:gd name="T32" fmla="*/ 96 w 106"/>
                <a:gd name="T33" fmla="*/ 113 h 146"/>
                <a:gd name="T34" fmla="*/ 95 w 106"/>
                <a:gd name="T35" fmla="*/ 120 h 146"/>
                <a:gd name="T36" fmla="*/ 104 w 106"/>
                <a:gd name="T37" fmla="*/ 126 h 146"/>
                <a:gd name="T38" fmla="*/ 80 w 106"/>
                <a:gd name="T39" fmla="*/ 140 h 146"/>
                <a:gd name="T40" fmla="*/ 17 w 106"/>
                <a:gd name="T41" fmla="*/ 143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6" h="146">
                  <a:moveTo>
                    <a:pt x="17" y="143"/>
                  </a:moveTo>
                  <a:cubicBezTo>
                    <a:pt x="15" y="127"/>
                    <a:pt x="20" y="122"/>
                    <a:pt x="6" y="119"/>
                  </a:cubicBezTo>
                  <a:cubicBezTo>
                    <a:pt x="2" y="112"/>
                    <a:pt x="0" y="96"/>
                    <a:pt x="0" y="96"/>
                  </a:cubicBezTo>
                  <a:cubicBezTo>
                    <a:pt x="2" y="78"/>
                    <a:pt x="0" y="79"/>
                    <a:pt x="17" y="77"/>
                  </a:cubicBezTo>
                  <a:cubicBezTo>
                    <a:pt x="21" y="70"/>
                    <a:pt x="22" y="69"/>
                    <a:pt x="30" y="68"/>
                  </a:cubicBezTo>
                  <a:cubicBezTo>
                    <a:pt x="36" y="72"/>
                    <a:pt x="36" y="77"/>
                    <a:pt x="42" y="72"/>
                  </a:cubicBezTo>
                  <a:cubicBezTo>
                    <a:pt x="47" y="57"/>
                    <a:pt x="42" y="56"/>
                    <a:pt x="54" y="47"/>
                  </a:cubicBezTo>
                  <a:cubicBezTo>
                    <a:pt x="57" y="40"/>
                    <a:pt x="55" y="37"/>
                    <a:pt x="62" y="33"/>
                  </a:cubicBezTo>
                  <a:cubicBezTo>
                    <a:pt x="63" y="27"/>
                    <a:pt x="66" y="24"/>
                    <a:pt x="68" y="18"/>
                  </a:cubicBezTo>
                  <a:cubicBezTo>
                    <a:pt x="69" y="1"/>
                    <a:pt x="69" y="9"/>
                    <a:pt x="80" y="2"/>
                  </a:cubicBezTo>
                  <a:cubicBezTo>
                    <a:pt x="84" y="0"/>
                    <a:pt x="86" y="3"/>
                    <a:pt x="89" y="6"/>
                  </a:cubicBezTo>
                  <a:cubicBezTo>
                    <a:pt x="92" y="9"/>
                    <a:pt x="97" y="15"/>
                    <a:pt x="96" y="18"/>
                  </a:cubicBezTo>
                  <a:cubicBezTo>
                    <a:pt x="90" y="21"/>
                    <a:pt x="90" y="26"/>
                    <a:pt x="83" y="27"/>
                  </a:cubicBezTo>
                  <a:cubicBezTo>
                    <a:pt x="83" y="34"/>
                    <a:pt x="97" y="53"/>
                    <a:pt x="98" y="60"/>
                  </a:cubicBezTo>
                  <a:cubicBezTo>
                    <a:pt x="99" y="67"/>
                    <a:pt x="90" y="66"/>
                    <a:pt x="89" y="72"/>
                  </a:cubicBezTo>
                  <a:cubicBezTo>
                    <a:pt x="87" y="80"/>
                    <a:pt x="92" y="92"/>
                    <a:pt x="92" y="98"/>
                  </a:cubicBezTo>
                  <a:cubicBezTo>
                    <a:pt x="93" y="105"/>
                    <a:pt x="96" y="109"/>
                    <a:pt x="96" y="113"/>
                  </a:cubicBezTo>
                  <a:cubicBezTo>
                    <a:pt x="97" y="121"/>
                    <a:pt x="94" y="118"/>
                    <a:pt x="95" y="120"/>
                  </a:cubicBezTo>
                  <a:cubicBezTo>
                    <a:pt x="96" y="122"/>
                    <a:pt x="106" y="123"/>
                    <a:pt x="104" y="126"/>
                  </a:cubicBezTo>
                  <a:cubicBezTo>
                    <a:pt x="101" y="146"/>
                    <a:pt x="100" y="141"/>
                    <a:pt x="80" y="140"/>
                  </a:cubicBezTo>
                  <a:cubicBezTo>
                    <a:pt x="57" y="131"/>
                    <a:pt x="77" y="138"/>
                    <a:pt x="17" y="14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80" name="Freeform 489"/>
            <p:cNvSpPr>
              <a:spLocks/>
            </p:cNvSpPr>
            <p:nvPr>
              <p:custDataLst>
                <p:tags r:id="rId48"/>
              </p:custDataLst>
            </p:nvPr>
          </p:nvSpPr>
          <p:spPr bwMode="gray">
            <a:xfrm>
              <a:off x="2787285" y="2966752"/>
              <a:ext cx="171573" cy="130911"/>
            </a:xfrm>
            <a:custGeom>
              <a:avLst/>
              <a:gdLst>
                <a:gd name="T0" fmla="*/ 88 w 178"/>
                <a:gd name="T1" fmla="*/ 130 h 135"/>
                <a:gd name="T2" fmla="*/ 48 w 178"/>
                <a:gd name="T3" fmla="*/ 132 h 135"/>
                <a:gd name="T4" fmla="*/ 33 w 178"/>
                <a:gd name="T5" fmla="*/ 109 h 135"/>
                <a:gd name="T6" fmla="*/ 6 w 178"/>
                <a:gd name="T7" fmla="*/ 102 h 135"/>
                <a:gd name="T8" fmla="*/ 15 w 178"/>
                <a:gd name="T9" fmla="*/ 61 h 135"/>
                <a:gd name="T10" fmla="*/ 19 w 178"/>
                <a:gd name="T11" fmla="*/ 24 h 135"/>
                <a:gd name="T12" fmla="*/ 25 w 178"/>
                <a:gd name="T13" fmla="*/ 6 h 135"/>
                <a:gd name="T14" fmla="*/ 31 w 178"/>
                <a:gd name="T15" fmla="*/ 3 h 135"/>
                <a:gd name="T16" fmla="*/ 45 w 178"/>
                <a:gd name="T17" fmla="*/ 0 h 135"/>
                <a:gd name="T18" fmla="*/ 70 w 178"/>
                <a:gd name="T19" fmla="*/ 4 h 135"/>
                <a:gd name="T20" fmla="*/ 90 w 178"/>
                <a:gd name="T21" fmla="*/ 9 h 135"/>
                <a:gd name="T22" fmla="*/ 99 w 178"/>
                <a:gd name="T23" fmla="*/ 9 h 135"/>
                <a:gd name="T24" fmla="*/ 115 w 178"/>
                <a:gd name="T25" fmla="*/ 4 h 135"/>
                <a:gd name="T26" fmla="*/ 133 w 178"/>
                <a:gd name="T27" fmla="*/ 3 h 135"/>
                <a:gd name="T28" fmla="*/ 148 w 178"/>
                <a:gd name="T29" fmla="*/ 6 h 135"/>
                <a:gd name="T30" fmla="*/ 160 w 178"/>
                <a:gd name="T31" fmla="*/ 4 h 135"/>
                <a:gd name="T32" fmla="*/ 171 w 178"/>
                <a:gd name="T33" fmla="*/ 13 h 135"/>
                <a:gd name="T34" fmla="*/ 178 w 178"/>
                <a:gd name="T35" fmla="*/ 27 h 135"/>
                <a:gd name="T36" fmla="*/ 166 w 178"/>
                <a:gd name="T37" fmla="*/ 37 h 135"/>
                <a:gd name="T38" fmla="*/ 160 w 178"/>
                <a:gd name="T39" fmla="*/ 52 h 135"/>
                <a:gd name="T40" fmla="*/ 156 w 178"/>
                <a:gd name="T41" fmla="*/ 63 h 135"/>
                <a:gd name="T42" fmla="*/ 151 w 178"/>
                <a:gd name="T43" fmla="*/ 78 h 135"/>
                <a:gd name="T44" fmla="*/ 141 w 178"/>
                <a:gd name="T45" fmla="*/ 85 h 135"/>
                <a:gd name="T46" fmla="*/ 136 w 178"/>
                <a:gd name="T47" fmla="*/ 100 h 135"/>
                <a:gd name="T48" fmla="*/ 121 w 178"/>
                <a:gd name="T49" fmla="*/ 103 h 135"/>
                <a:gd name="T50" fmla="*/ 109 w 178"/>
                <a:gd name="T51" fmla="*/ 105 h 135"/>
                <a:gd name="T52" fmla="*/ 94 w 178"/>
                <a:gd name="T53" fmla="*/ 112 h 135"/>
                <a:gd name="T54" fmla="*/ 88 w 178"/>
                <a:gd name="T55" fmla="*/ 13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135">
                  <a:moveTo>
                    <a:pt x="88" y="130"/>
                  </a:moveTo>
                  <a:cubicBezTo>
                    <a:pt x="65" y="135"/>
                    <a:pt x="78" y="133"/>
                    <a:pt x="48" y="132"/>
                  </a:cubicBezTo>
                  <a:cubicBezTo>
                    <a:pt x="46" y="113"/>
                    <a:pt x="49" y="113"/>
                    <a:pt x="33" y="109"/>
                  </a:cubicBezTo>
                  <a:cubicBezTo>
                    <a:pt x="26" y="100"/>
                    <a:pt x="18" y="103"/>
                    <a:pt x="6" y="102"/>
                  </a:cubicBezTo>
                  <a:cubicBezTo>
                    <a:pt x="7" y="82"/>
                    <a:pt x="0" y="70"/>
                    <a:pt x="15" y="61"/>
                  </a:cubicBezTo>
                  <a:cubicBezTo>
                    <a:pt x="24" y="50"/>
                    <a:pt x="14" y="37"/>
                    <a:pt x="19" y="24"/>
                  </a:cubicBezTo>
                  <a:cubicBezTo>
                    <a:pt x="21" y="15"/>
                    <a:pt x="21" y="10"/>
                    <a:pt x="25" y="6"/>
                  </a:cubicBezTo>
                  <a:cubicBezTo>
                    <a:pt x="27" y="3"/>
                    <a:pt x="28" y="4"/>
                    <a:pt x="31" y="3"/>
                  </a:cubicBezTo>
                  <a:cubicBezTo>
                    <a:pt x="34" y="2"/>
                    <a:pt x="39" y="0"/>
                    <a:pt x="45" y="0"/>
                  </a:cubicBezTo>
                  <a:cubicBezTo>
                    <a:pt x="52" y="0"/>
                    <a:pt x="63" y="3"/>
                    <a:pt x="70" y="4"/>
                  </a:cubicBezTo>
                  <a:cubicBezTo>
                    <a:pt x="77" y="6"/>
                    <a:pt x="85" y="8"/>
                    <a:pt x="90" y="9"/>
                  </a:cubicBezTo>
                  <a:cubicBezTo>
                    <a:pt x="95" y="10"/>
                    <a:pt x="95" y="10"/>
                    <a:pt x="99" y="9"/>
                  </a:cubicBezTo>
                  <a:cubicBezTo>
                    <a:pt x="103" y="9"/>
                    <a:pt x="109" y="4"/>
                    <a:pt x="115" y="4"/>
                  </a:cubicBezTo>
                  <a:cubicBezTo>
                    <a:pt x="121" y="3"/>
                    <a:pt x="128" y="3"/>
                    <a:pt x="133" y="3"/>
                  </a:cubicBezTo>
                  <a:cubicBezTo>
                    <a:pt x="141" y="2"/>
                    <a:pt x="144" y="6"/>
                    <a:pt x="148" y="6"/>
                  </a:cubicBezTo>
                  <a:cubicBezTo>
                    <a:pt x="152" y="6"/>
                    <a:pt x="156" y="3"/>
                    <a:pt x="160" y="4"/>
                  </a:cubicBezTo>
                  <a:cubicBezTo>
                    <a:pt x="164" y="5"/>
                    <a:pt x="168" y="9"/>
                    <a:pt x="171" y="13"/>
                  </a:cubicBezTo>
                  <a:cubicBezTo>
                    <a:pt x="172" y="20"/>
                    <a:pt x="172" y="23"/>
                    <a:pt x="178" y="27"/>
                  </a:cubicBezTo>
                  <a:cubicBezTo>
                    <a:pt x="174" y="32"/>
                    <a:pt x="171" y="34"/>
                    <a:pt x="166" y="37"/>
                  </a:cubicBezTo>
                  <a:cubicBezTo>
                    <a:pt x="165" y="43"/>
                    <a:pt x="164" y="47"/>
                    <a:pt x="160" y="52"/>
                  </a:cubicBezTo>
                  <a:cubicBezTo>
                    <a:pt x="159" y="59"/>
                    <a:pt x="162" y="59"/>
                    <a:pt x="156" y="63"/>
                  </a:cubicBezTo>
                  <a:cubicBezTo>
                    <a:pt x="155" y="69"/>
                    <a:pt x="153" y="73"/>
                    <a:pt x="151" y="78"/>
                  </a:cubicBezTo>
                  <a:cubicBezTo>
                    <a:pt x="149" y="83"/>
                    <a:pt x="143" y="81"/>
                    <a:pt x="141" y="85"/>
                  </a:cubicBezTo>
                  <a:cubicBezTo>
                    <a:pt x="139" y="89"/>
                    <a:pt x="139" y="97"/>
                    <a:pt x="136" y="100"/>
                  </a:cubicBezTo>
                  <a:cubicBezTo>
                    <a:pt x="131" y="110"/>
                    <a:pt x="136" y="106"/>
                    <a:pt x="121" y="103"/>
                  </a:cubicBezTo>
                  <a:cubicBezTo>
                    <a:pt x="115" y="99"/>
                    <a:pt x="116" y="104"/>
                    <a:pt x="109" y="105"/>
                  </a:cubicBezTo>
                  <a:cubicBezTo>
                    <a:pt x="108" y="112"/>
                    <a:pt x="101" y="111"/>
                    <a:pt x="94" y="112"/>
                  </a:cubicBezTo>
                  <a:cubicBezTo>
                    <a:pt x="93" y="125"/>
                    <a:pt x="92" y="124"/>
                    <a:pt x="88" y="13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81" name="Freeform 492"/>
            <p:cNvSpPr>
              <a:spLocks/>
            </p:cNvSpPr>
            <p:nvPr>
              <p:custDataLst>
                <p:tags r:id="rId49"/>
              </p:custDataLst>
            </p:nvPr>
          </p:nvSpPr>
          <p:spPr bwMode="gray">
            <a:xfrm>
              <a:off x="2698027" y="3000472"/>
              <a:ext cx="62481" cy="90250"/>
            </a:xfrm>
            <a:custGeom>
              <a:avLst/>
              <a:gdLst>
                <a:gd name="T0" fmla="*/ 65 w 65"/>
                <a:gd name="T1" fmla="*/ 0 h 94"/>
                <a:gd name="T2" fmla="*/ 14 w 65"/>
                <a:gd name="T3" fmla="*/ 6 h 94"/>
                <a:gd name="T4" fmla="*/ 18 w 65"/>
                <a:gd name="T5" fmla="*/ 48 h 94"/>
                <a:gd name="T6" fmla="*/ 10 w 65"/>
                <a:gd name="T7" fmla="*/ 70 h 94"/>
                <a:gd name="T8" fmla="*/ 28 w 65"/>
                <a:gd name="T9" fmla="*/ 94 h 94"/>
                <a:gd name="T10" fmla="*/ 58 w 65"/>
                <a:gd name="T11" fmla="*/ 86 h 94"/>
                <a:gd name="T12" fmla="*/ 57 w 65"/>
                <a:gd name="T13" fmla="*/ 50 h 94"/>
                <a:gd name="T14" fmla="*/ 51 w 65"/>
                <a:gd name="T15" fmla="*/ 23 h 94"/>
                <a:gd name="T16" fmla="*/ 65 w 65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94">
                  <a:moveTo>
                    <a:pt x="65" y="0"/>
                  </a:moveTo>
                  <a:cubicBezTo>
                    <a:pt x="48" y="1"/>
                    <a:pt x="31" y="3"/>
                    <a:pt x="14" y="6"/>
                  </a:cubicBezTo>
                  <a:cubicBezTo>
                    <a:pt x="0" y="8"/>
                    <a:pt x="18" y="48"/>
                    <a:pt x="18" y="48"/>
                  </a:cubicBezTo>
                  <a:cubicBezTo>
                    <a:pt x="15" y="56"/>
                    <a:pt x="12" y="61"/>
                    <a:pt x="10" y="70"/>
                  </a:cubicBezTo>
                  <a:cubicBezTo>
                    <a:pt x="12" y="83"/>
                    <a:pt x="16" y="90"/>
                    <a:pt x="28" y="94"/>
                  </a:cubicBezTo>
                  <a:cubicBezTo>
                    <a:pt x="44" y="92"/>
                    <a:pt x="45" y="90"/>
                    <a:pt x="58" y="86"/>
                  </a:cubicBezTo>
                  <a:cubicBezTo>
                    <a:pt x="63" y="79"/>
                    <a:pt x="58" y="60"/>
                    <a:pt x="57" y="50"/>
                  </a:cubicBezTo>
                  <a:cubicBezTo>
                    <a:pt x="56" y="40"/>
                    <a:pt x="50" y="31"/>
                    <a:pt x="51" y="23"/>
                  </a:cubicBezTo>
                  <a:cubicBezTo>
                    <a:pt x="53" y="16"/>
                    <a:pt x="62" y="6"/>
                    <a:pt x="65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82" name="Freeform 493"/>
            <p:cNvSpPr>
              <a:spLocks/>
            </p:cNvSpPr>
            <p:nvPr>
              <p:custDataLst>
                <p:tags r:id="rId50"/>
              </p:custDataLst>
            </p:nvPr>
          </p:nvSpPr>
          <p:spPr bwMode="gray">
            <a:xfrm>
              <a:off x="2628605" y="3011381"/>
              <a:ext cx="91241" cy="87274"/>
            </a:xfrm>
            <a:custGeom>
              <a:avLst/>
              <a:gdLst>
                <a:gd name="T0" fmla="*/ 75 w 95"/>
                <a:gd name="T1" fmla="*/ 0 h 90"/>
                <a:gd name="T2" fmla="*/ 62 w 95"/>
                <a:gd name="T3" fmla="*/ 11 h 90"/>
                <a:gd name="T4" fmla="*/ 51 w 95"/>
                <a:gd name="T5" fmla="*/ 2 h 90"/>
                <a:gd name="T6" fmla="*/ 18 w 95"/>
                <a:gd name="T7" fmla="*/ 2 h 90"/>
                <a:gd name="T8" fmla="*/ 6 w 95"/>
                <a:gd name="T9" fmla="*/ 4 h 90"/>
                <a:gd name="T10" fmla="*/ 9 w 95"/>
                <a:gd name="T11" fmla="*/ 36 h 90"/>
                <a:gd name="T12" fmla="*/ 0 w 95"/>
                <a:gd name="T13" fmla="*/ 50 h 90"/>
                <a:gd name="T14" fmla="*/ 12 w 95"/>
                <a:gd name="T15" fmla="*/ 70 h 90"/>
                <a:gd name="T16" fmla="*/ 24 w 95"/>
                <a:gd name="T17" fmla="*/ 90 h 90"/>
                <a:gd name="T18" fmla="*/ 64 w 95"/>
                <a:gd name="T19" fmla="*/ 76 h 90"/>
                <a:gd name="T20" fmla="*/ 82 w 95"/>
                <a:gd name="T21" fmla="*/ 58 h 90"/>
                <a:gd name="T22" fmla="*/ 89 w 95"/>
                <a:gd name="T23" fmla="*/ 41 h 90"/>
                <a:gd name="T24" fmla="*/ 90 w 95"/>
                <a:gd name="T25" fmla="*/ 30 h 90"/>
                <a:gd name="T26" fmla="*/ 83 w 95"/>
                <a:gd name="T27" fmla="*/ 15 h 90"/>
                <a:gd name="T28" fmla="*/ 75 w 95"/>
                <a:gd name="T2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90">
                  <a:moveTo>
                    <a:pt x="75" y="0"/>
                  </a:moveTo>
                  <a:cubicBezTo>
                    <a:pt x="67" y="11"/>
                    <a:pt x="78" y="3"/>
                    <a:pt x="62" y="11"/>
                  </a:cubicBezTo>
                  <a:cubicBezTo>
                    <a:pt x="58" y="10"/>
                    <a:pt x="58" y="3"/>
                    <a:pt x="51" y="2"/>
                  </a:cubicBezTo>
                  <a:cubicBezTo>
                    <a:pt x="44" y="1"/>
                    <a:pt x="25" y="2"/>
                    <a:pt x="18" y="2"/>
                  </a:cubicBezTo>
                  <a:cubicBezTo>
                    <a:pt x="14" y="3"/>
                    <a:pt x="9" y="1"/>
                    <a:pt x="6" y="4"/>
                  </a:cubicBezTo>
                  <a:cubicBezTo>
                    <a:pt x="5" y="5"/>
                    <a:pt x="7" y="30"/>
                    <a:pt x="9" y="36"/>
                  </a:cubicBezTo>
                  <a:cubicBezTo>
                    <a:pt x="6" y="44"/>
                    <a:pt x="4" y="43"/>
                    <a:pt x="0" y="50"/>
                  </a:cubicBezTo>
                  <a:cubicBezTo>
                    <a:pt x="4" y="61"/>
                    <a:pt x="0" y="67"/>
                    <a:pt x="12" y="70"/>
                  </a:cubicBezTo>
                  <a:cubicBezTo>
                    <a:pt x="18" y="78"/>
                    <a:pt x="14" y="87"/>
                    <a:pt x="24" y="90"/>
                  </a:cubicBezTo>
                  <a:cubicBezTo>
                    <a:pt x="42" y="72"/>
                    <a:pt x="18" y="79"/>
                    <a:pt x="64" y="76"/>
                  </a:cubicBezTo>
                  <a:cubicBezTo>
                    <a:pt x="82" y="80"/>
                    <a:pt x="95" y="78"/>
                    <a:pt x="82" y="58"/>
                  </a:cubicBezTo>
                  <a:cubicBezTo>
                    <a:pt x="85" y="53"/>
                    <a:pt x="88" y="46"/>
                    <a:pt x="89" y="41"/>
                  </a:cubicBezTo>
                  <a:cubicBezTo>
                    <a:pt x="90" y="36"/>
                    <a:pt x="91" y="34"/>
                    <a:pt x="90" y="30"/>
                  </a:cubicBezTo>
                  <a:cubicBezTo>
                    <a:pt x="90" y="23"/>
                    <a:pt x="85" y="19"/>
                    <a:pt x="83" y="15"/>
                  </a:cubicBezTo>
                  <a:cubicBezTo>
                    <a:pt x="80" y="10"/>
                    <a:pt x="81" y="5"/>
                    <a:pt x="75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83" name="Freeform 494"/>
            <p:cNvSpPr>
              <a:spLocks/>
            </p:cNvSpPr>
            <p:nvPr>
              <p:custDataLst>
                <p:tags r:id="rId51"/>
              </p:custDataLst>
            </p:nvPr>
          </p:nvSpPr>
          <p:spPr bwMode="gray">
            <a:xfrm>
              <a:off x="2980676" y="3487422"/>
              <a:ext cx="236037" cy="214218"/>
            </a:xfrm>
            <a:custGeom>
              <a:avLst/>
              <a:gdLst>
                <a:gd name="T0" fmla="*/ 15 w 244"/>
                <a:gd name="T1" fmla="*/ 100 h 222"/>
                <a:gd name="T2" fmla="*/ 16 w 244"/>
                <a:gd name="T3" fmla="*/ 128 h 222"/>
                <a:gd name="T4" fmla="*/ 30 w 244"/>
                <a:gd name="T5" fmla="*/ 149 h 222"/>
                <a:gd name="T6" fmla="*/ 37 w 244"/>
                <a:gd name="T7" fmla="*/ 193 h 222"/>
                <a:gd name="T8" fmla="*/ 51 w 244"/>
                <a:gd name="T9" fmla="*/ 205 h 222"/>
                <a:gd name="T10" fmla="*/ 84 w 244"/>
                <a:gd name="T11" fmla="*/ 206 h 222"/>
                <a:gd name="T12" fmla="*/ 144 w 244"/>
                <a:gd name="T13" fmla="*/ 199 h 222"/>
                <a:gd name="T14" fmla="*/ 166 w 244"/>
                <a:gd name="T15" fmla="*/ 194 h 222"/>
                <a:gd name="T16" fmla="*/ 177 w 244"/>
                <a:gd name="T17" fmla="*/ 182 h 222"/>
                <a:gd name="T18" fmla="*/ 192 w 244"/>
                <a:gd name="T19" fmla="*/ 167 h 222"/>
                <a:gd name="T20" fmla="*/ 207 w 244"/>
                <a:gd name="T21" fmla="*/ 152 h 222"/>
                <a:gd name="T22" fmla="*/ 216 w 244"/>
                <a:gd name="T23" fmla="*/ 139 h 222"/>
                <a:gd name="T24" fmla="*/ 243 w 244"/>
                <a:gd name="T25" fmla="*/ 112 h 222"/>
                <a:gd name="T26" fmla="*/ 244 w 244"/>
                <a:gd name="T27" fmla="*/ 83 h 222"/>
                <a:gd name="T28" fmla="*/ 235 w 244"/>
                <a:gd name="T29" fmla="*/ 71 h 222"/>
                <a:gd name="T30" fmla="*/ 241 w 244"/>
                <a:gd name="T31" fmla="*/ 52 h 222"/>
                <a:gd name="T32" fmla="*/ 231 w 244"/>
                <a:gd name="T33" fmla="*/ 41 h 222"/>
                <a:gd name="T34" fmla="*/ 231 w 244"/>
                <a:gd name="T35" fmla="*/ 22 h 222"/>
                <a:gd name="T36" fmla="*/ 223 w 244"/>
                <a:gd name="T37" fmla="*/ 14 h 222"/>
                <a:gd name="T38" fmla="*/ 213 w 244"/>
                <a:gd name="T39" fmla="*/ 2 h 222"/>
                <a:gd name="T40" fmla="*/ 191 w 244"/>
                <a:gd name="T41" fmla="*/ 3 h 222"/>
                <a:gd name="T42" fmla="*/ 169 w 244"/>
                <a:gd name="T43" fmla="*/ 11 h 222"/>
                <a:gd name="T44" fmla="*/ 163 w 244"/>
                <a:gd name="T45" fmla="*/ 26 h 222"/>
                <a:gd name="T46" fmla="*/ 156 w 244"/>
                <a:gd name="T47" fmla="*/ 37 h 222"/>
                <a:gd name="T48" fmla="*/ 157 w 244"/>
                <a:gd name="T49" fmla="*/ 40 h 222"/>
                <a:gd name="T50" fmla="*/ 145 w 244"/>
                <a:gd name="T51" fmla="*/ 47 h 222"/>
                <a:gd name="T52" fmla="*/ 132 w 244"/>
                <a:gd name="T53" fmla="*/ 50 h 222"/>
                <a:gd name="T54" fmla="*/ 115 w 244"/>
                <a:gd name="T55" fmla="*/ 56 h 222"/>
                <a:gd name="T56" fmla="*/ 91 w 244"/>
                <a:gd name="T57" fmla="*/ 64 h 222"/>
                <a:gd name="T58" fmla="*/ 70 w 244"/>
                <a:gd name="T59" fmla="*/ 77 h 222"/>
                <a:gd name="T60" fmla="*/ 64 w 244"/>
                <a:gd name="T61" fmla="*/ 89 h 222"/>
                <a:gd name="T62" fmla="*/ 52 w 244"/>
                <a:gd name="T63" fmla="*/ 106 h 222"/>
                <a:gd name="T64" fmla="*/ 36 w 244"/>
                <a:gd name="T65" fmla="*/ 111 h 222"/>
                <a:gd name="T66" fmla="*/ 24 w 244"/>
                <a:gd name="T67" fmla="*/ 110 h 222"/>
                <a:gd name="T68" fmla="*/ 15 w 244"/>
                <a:gd name="T69" fmla="*/ 10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4" h="222">
                  <a:moveTo>
                    <a:pt x="15" y="100"/>
                  </a:moveTo>
                  <a:cubicBezTo>
                    <a:pt x="0" y="102"/>
                    <a:pt x="7" y="122"/>
                    <a:pt x="16" y="128"/>
                  </a:cubicBezTo>
                  <a:cubicBezTo>
                    <a:pt x="22" y="138"/>
                    <a:pt x="20" y="143"/>
                    <a:pt x="30" y="149"/>
                  </a:cubicBezTo>
                  <a:cubicBezTo>
                    <a:pt x="33" y="164"/>
                    <a:pt x="22" y="185"/>
                    <a:pt x="37" y="193"/>
                  </a:cubicBezTo>
                  <a:cubicBezTo>
                    <a:pt x="40" y="203"/>
                    <a:pt x="41" y="203"/>
                    <a:pt x="51" y="205"/>
                  </a:cubicBezTo>
                  <a:cubicBezTo>
                    <a:pt x="53" y="222"/>
                    <a:pt x="73" y="208"/>
                    <a:pt x="84" y="206"/>
                  </a:cubicBezTo>
                  <a:cubicBezTo>
                    <a:pt x="103" y="197"/>
                    <a:pt x="167" y="216"/>
                    <a:pt x="144" y="199"/>
                  </a:cubicBezTo>
                  <a:cubicBezTo>
                    <a:pt x="155" y="191"/>
                    <a:pt x="138" y="202"/>
                    <a:pt x="166" y="194"/>
                  </a:cubicBezTo>
                  <a:cubicBezTo>
                    <a:pt x="168" y="193"/>
                    <a:pt x="174" y="184"/>
                    <a:pt x="177" y="182"/>
                  </a:cubicBezTo>
                  <a:cubicBezTo>
                    <a:pt x="181" y="176"/>
                    <a:pt x="186" y="171"/>
                    <a:pt x="192" y="167"/>
                  </a:cubicBezTo>
                  <a:cubicBezTo>
                    <a:pt x="198" y="160"/>
                    <a:pt x="199" y="155"/>
                    <a:pt x="207" y="152"/>
                  </a:cubicBezTo>
                  <a:cubicBezTo>
                    <a:pt x="210" y="148"/>
                    <a:pt x="213" y="143"/>
                    <a:pt x="216" y="139"/>
                  </a:cubicBezTo>
                  <a:cubicBezTo>
                    <a:pt x="217" y="125"/>
                    <a:pt x="229" y="113"/>
                    <a:pt x="243" y="112"/>
                  </a:cubicBezTo>
                  <a:cubicBezTo>
                    <a:pt x="239" y="102"/>
                    <a:pt x="242" y="93"/>
                    <a:pt x="244" y="83"/>
                  </a:cubicBezTo>
                  <a:cubicBezTo>
                    <a:pt x="240" y="78"/>
                    <a:pt x="237" y="77"/>
                    <a:pt x="235" y="71"/>
                  </a:cubicBezTo>
                  <a:cubicBezTo>
                    <a:pt x="234" y="66"/>
                    <a:pt x="243" y="61"/>
                    <a:pt x="241" y="52"/>
                  </a:cubicBezTo>
                  <a:cubicBezTo>
                    <a:pt x="240" y="47"/>
                    <a:pt x="233" y="46"/>
                    <a:pt x="231" y="41"/>
                  </a:cubicBezTo>
                  <a:cubicBezTo>
                    <a:pt x="229" y="36"/>
                    <a:pt x="232" y="26"/>
                    <a:pt x="231" y="22"/>
                  </a:cubicBezTo>
                  <a:cubicBezTo>
                    <a:pt x="230" y="18"/>
                    <a:pt x="226" y="17"/>
                    <a:pt x="223" y="14"/>
                  </a:cubicBezTo>
                  <a:cubicBezTo>
                    <a:pt x="222" y="6"/>
                    <a:pt x="221" y="5"/>
                    <a:pt x="213" y="2"/>
                  </a:cubicBezTo>
                  <a:cubicBezTo>
                    <a:pt x="208" y="0"/>
                    <a:pt x="198" y="2"/>
                    <a:pt x="191" y="3"/>
                  </a:cubicBezTo>
                  <a:cubicBezTo>
                    <a:pt x="184" y="4"/>
                    <a:pt x="174" y="7"/>
                    <a:pt x="169" y="11"/>
                  </a:cubicBezTo>
                  <a:cubicBezTo>
                    <a:pt x="166" y="16"/>
                    <a:pt x="166" y="21"/>
                    <a:pt x="163" y="26"/>
                  </a:cubicBezTo>
                  <a:cubicBezTo>
                    <a:pt x="161" y="30"/>
                    <a:pt x="157" y="35"/>
                    <a:pt x="156" y="37"/>
                  </a:cubicBezTo>
                  <a:cubicBezTo>
                    <a:pt x="155" y="39"/>
                    <a:pt x="159" y="38"/>
                    <a:pt x="157" y="40"/>
                  </a:cubicBezTo>
                  <a:cubicBezTo>
                    <a:pt x="155" y="42"/>
                    <a:pt x="149" y="45"/>
                    <a:pt x="145" y="47"/>
                  </a:cubicBezTo>
                  <a:cubicBezTo>
                    <a:pt x="141" y="53"/>
                    <a:pt x="139" y="49"/>
                    <a:pt x="132" y="50"/>
                  </a:cubicBezTo>
                  <a:cubicBezTo>
                    <a:pt x="126" y="55"/>
                    <a:pt x="122" y="59"/>
                    <a:pt x="115" y="56"/>
                  </a:cubicBezTo>
                  <a:cubicBezTo>
                    <a:pt x="108" y="49"/>
                    <a:pt x="99" y="59"/>
                    <a:pt x="91" y="64"/>
                  </a:cubicBezTo>
                  <a:cubicBezTo>
                    <a:pt x="86" y="70"/>
                    <a:pt x="76" y="73"/>
                    <a:pt x="70" y="77"/>
                  </a:cubicBezTo>
                  <a:cubicBezTo>
                    <a:pt x="64" y="81"/>
                    <a:pt x="67" y="84"/>
                    <a:pt x="64" y="89"/>
                  </a:cubicBezTo>
                  <a:cubicBezTo>
                    <a:pt x="61" y="94"/>
                    <a:pt x="55" y="102"/>
                    <a:pt x="52" y="106"/>
                  </a:cubicBezTo>
                  <a:cubicBezTo>
                    <a:pt x="47" y="110"/>
                    <a:pt x="41" y="110"/>
                    <a:pt x="36" y="111"/>
                  </a:cubicBezTo>
                  <a:cubicBezTo>
                    <a:pt x="31" y="112"/>
                    <a:pt x="27" y="112"/>
                    <a:pt x="24" y="110"/>
                  </a:cubicBezTo>
                  <a:cubicBezTo>
                    <a:pt x="20" y="107"/>
                    <a:pt x="19" y="104"/>
                    <a:pt x="15" y="10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84" name="Freeform 495"/>
            <p:cNvSpPr>
              <a:spLocks/>
            </p:cNvSpPr>
            <p:nvPr>
              <p:custDataLst>
                <p:tags r:id="rId52"/>
              </p:custDataLst>
            </p:nvPr>
          </p:nvSpPr>
          <p:spPr bwMode="gray">
            <a:xfrm>
              <a:off x="3131422" y="3587589"/>
              <a:ext cx="41654" cy="49588"/>
            </a:xfrm>
            <a:custGeom>
              <a:avLst/>
              <a:gdLst>
                <a:gd name="T0" fmla="*/ 21 w 43"/>
                <a:gd name="T1" fmla="*/ 5 h 51"/>
                <a:gd name="T2" fmla="*/ 7 w 43"/>
                <a:gd name="T3" fmla="*/ 12 h 51"/>
                <a:gd name="T4" fmla="*/ 9 w 43"/>
                <a:gd name="T5" fmla="*/ 23 h 51"/>
                <a:gd name="T6" fmla="*/ 10 w 43"/>
                <a:gd name="T7" fmla="*/ 39 h 51"/>
                <a:gd name="T8" fmla="*/ 36 w 43"/>
                <a:gd name="T9" fmla="*/ 27 h 51"/>
                <a:gd name="T10" fmla="*/ 25 w 43"/>
                <a:gd name="T11" fmla="*/ 0 h 51"/>
                <a:gd name="T12" fmla="*/ 21 w 43"/>
                <a:gd name="T13" fmla="*/ 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51">
                  <a:moveTo>
                    <a:pt x="21" y="5"/>
                  </a:moveTo>
                  <a:cubicBezTo>
                    <a:pt x="12" y="7"/>
                    <a:pt x="16" y="10"/>
                    <a:pt x="7" y="12"/>
                  </a:cubicBezTo>
                  <a:cubicBezTo>
                    <a:pt x="0" y="16"/>
                    <a:pt x="3" y="20"/>
                    <a:pt x="9" y="23"/>
                  </a:cubicBezTo>
                  <a:cubicBezTo>
                    <a:pt x="9" y="28"/>
                    <a:pt x="6" y="36"/>
                    <a:pt x="10" y="39"/>
                  </a:cubicBezTo>
                  <a:cubicBezTo>
                    <a:pt x="24" y="51"/>
                    <a:pt x="28" y="30"/>
                    <a:pt x="36" y="27"/>
                  </a:cubicBezTo>
                  <a:cubicBezTo>
                    <a:pt x="43" y="13"/>
                    <a:pt x="39" y="6"/>
                    <a:pt x="25" y="0"/>
                  </a:cubicBezTo>
                  <a:cubicBezTo>
                    <a:pt x="23" y="1"/>
                    <a:pt x="8" y="8"/>
                    <a:pt x="21" y="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85" name="Freeform 496"/>
            <p:cNvSpPr>
              <a:spLocks/>
            </p:cNvSpPr>
            <p:nvPr>
              <p:custDataLst>
                <p:tags r:id="rId53"/>
              </p:custDataLst>
            </p:nvPr>
          </p:nvSpPr>
          <p:spPr bwMode="gray">
            <a:xfrm>
              <a:off x="2915220" y="3408081"/>
              <a:ext cx="148763" cy="187441"/>
            </a:xfrm>
            <a:custGeom>
              <a:avLst/>
              <a:gdLst>
                <a:gd name="T0" fmla="*/ 75 w 154"/>
                <a:gd name="T1" fmla="*/ 191 h 194"/>
                <a:gd name="T2" fmla="*/ 60 w 154"/>
                <a:gd name="T3" fmla="*/ 179 h 194"/>
                <a:gd name="T4" fmla="*/ 53 w 154"/>
                <a:gd name="T5" fmla="*/ 165 h 194"/>
                <a:gd name="T6" fmla="*/ 47 w 154"/>
                <a:gd name="T7" fmla="*/ 120 h 194"/>
                <a:gd name="T8" fmla="*/ 24 w 154"/>
                <a:gd name="T9" fmla="*/ 51 h 194"/>
                <a:gd name="T10" fmla="*/ 8 w 154"/>
                <a:gd name="T11" fmla="*/ 24 h 194"/>
                <a:gd name="T12" fmla="*/ 0 w 154"/>
                <a:gd name="T13" fmla="*/ 11 h 194"/>
                <a:gd name="T14" fmla="*/ 24 w 154"/>
                <a:gd name="T15" fmla="*/ 0 h 194"/>
                <a:gd name="T16" fmla="*/ 39 w 154"/>
                <a:gd name="T17" fmla="*/ 11 h 194"/>
                <a:gd name="T18" fmla="*/ 101 w 154"/>
                <a:gd name="T19" fmla="*/ 8 h 194"/>
                <a:gd name="T20" fmla="*/ 107 w 154"/>
                <a:gd name="T21" fmla="*/ 12 h 194"/>
                <a:gd name="T22" fmla="*/ 141 w 154"/>
                <a:gd name="T23" fmla="*/ 20 h 194"/>
                <a:gd name="T24" fmla="*/ 125 w 154"/>
                <a:gd name="T25" fmla="*/ 84 h 194"/>
                <a:gd name="T26" fmla="*/ 128 w 154"/>
                <a:gd name="T27" fmla="*/ 131 h 194"/>
                <a:gd name="T28" fmla="*/ 137 w 154"/>
                <a:gd name="T29" fmla="*/ 156 h 194"/>
                <a:gd name="T30" fmla="*/ 131 w 154"/>
                <a:gd name="T31" fmla="*/ 167 h 194"/>
                <a:gd name="T32" fmla="*/ 111 w 154"/>
                <a:gd name="T33" fmla="*/ 192 h 194"/>
                <a:gd name="T34" fmla="*/ 81 w 154"/>
                <a:gd name="T35" fmla="*/ 185 h 194"/>
                <a:gd name="T36" fmla="*/ 75 w 154"/>
                <a:gd name="T37" fmla="*/ 191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4" h="194">
                  <a:moveTo>
                    <a:pt x="75" y="191"/>
                  </a:moveTo>
                  <a:cubicBezTo>
                    <a:pt x="70" y="184"/>
                    <a:pt x="69" y="181"/>
                    <a:pt x="60" y="179"/>
                  </a:cubicBezTo>
                  <a:cubicBezTo>
                    <a:pt x="59" y="173"/>
                    <a:pt x="56" y="170"/>
                    <a:pt x="53" y="165"/>
                  </a:cubicBezTo>
                  <a:cubicBezTo>
                    <a:pt x="51" y="150"/>
                    <a:pt x="55" y="133"/>
                    <a:pt x="47" y="120"/>
                  </a:cubicBezTo>
                  <a:cubicBezTo>
                    <a:pt x="45" y="82"/>
                    <a:pt x="41" y="80"/>
                    <a:pt x="24" y="51"/>
                  </a:cubicBezTo>
                  <a:cubicBezTo>
                    <a:pt x="22" y="38"/>
                    <a:pt x="18" y="32"/>
                    <a:pt x="8" y="24"/>
                  </a:cubicBezTo>
                  <a:cubicBezTo>
                    <a:pt x="6" y="19"/>
                    <a:pt x="3" y="15"/>
                    <a:pt x="0" y="11"/>
                  </a:cubicBezTo>
                  <a:cubicBezTo>
                    <a:pt x="3" y="3"/>
                    <a:pt x="16" y="4"/>
                    <a:pt x="24" y="0"/>
                  </a:cubicBezTo>
                  <a:cubicBezTo>
                    <a:pt x="29" y="2"/>
                    <a:pt x="34" y="9"/>
                    <a:pt x="39" y="11"/>
                  </a:cubicBezTo>
                  <a:cubicBezTo>
                    <a:pt x="52" y="13"/>
                    <a:pt x="84" y="7"/>
                    <a:pt x="101" y="8"/>
                  </a:cubicBezTo>
                  <a:cubicBezTo>
                    <a:pt x="112" y="8"/>
                    <a:pt x="100" y="10"/>
                    <a:pt x="107" y="12"/>
                  </a:cubicBezTo>
                  <a:cubicBezTo>
                    <a:pt x="114" y="14"/>
                    <a:pt x="138" y="8"/>
                    <a:pt x="141" y="20"/>
                  </a:cubicBezTo>
                  <a:cubicBezTo>
                    <a:pt x="140" y="43"/>
                    <a:pt x="154" y="81"/>
                    <a:pt x="125" y="84"/>
                  </a:cubicBezTo>
                  <a:cubicBezTo>
                    <a:pt x="123" y="103"/>
                    <a:pt x="127" y="117"/>
                    <a:pt x="128" y="131"/>
                  </a:cubicBezTo>
                  <a:cubicBezTo>
                    <a:pt x="130" y="143"/>
                    <a:pt x="137" y="150"/>
                    <a:pt x="137" y="156"/>
                  </a:cubicBezTo>
                  <a:cubicBezTo>
                    <a:pt x="137" y="162"/>
                    <a:pt x="135" y="161"/>
                    <a:pt x="131" y="167"/>
                  </a:cubicBezTo>
                  <a:cubicBezTo>
                    <a:pt x="127" y="173"/>
                    <a:pt x="119" y="189"/>
                    <a:pt x="111" y="192"/>
                  </a:cubicBezTo>
                  <a:cubicBezTo>
                    <a:pt x="93" y="191"/>
                    <a:pt x="92" y="194"/>
                    <a:pt x="81" y="185"/>
                  </a:cubicBezTo>
                  <a:cubicBezTo>
                    <a:pt x="77" y="186"/>
                    <a:pt x="66" y="187"/>
                    <a:pt x="75" y="19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86" name="Freeform 497"/>
            <p:cNvSpPr>
              <a:spLocks/>
            </p:cNvSpPr>
            <p:nvPr>
              <p:custDataLst>
                <p:tags r:id="rId54"/>
              </p:custDataLst>
            </p:nvPr>
          </p:nvSpPr>
          <p:spPr bwMode="gray">
            <a:xfrm>
              <a:off x="3034231" y="3414032"/>
              <a:ext cx="143804" cy="155705"/>
            </a:xfrm>
            <a:custGeom>
              <a:avLst/>
              <a:gdLst>
                <a:gd name="T0" fmla="*/ 20 w 149"/>
                <a:gd name="T1" fmla="*/ 11 h 161"/>
                <a:gd name="T2" fmla="*/ 20 w 149"/>
                <a:gd name="T3" fmla="*/ 21 h 161"/>
                <a:gd name="T4" fmla="*/ 20 w 149"/>
                <a:gd name="T5" fmla="*/ 35 h 161"/>
                <a:gd name="T6" fmla="*/ 20 w 149"/>
                <a:gd name="T7" fmla="*/ 48 h 161"/>
                <a:gd name="T8" fmla="*/ 18 w 149"/>
                <a:gd name="T9" fmla="*/ 69 h 161"/>
                <a:gd name="T10" fmla="*/ 3 w 149"/>
                <a:gd name="T11" fmla="*/ 84 h 161"/>
                <a:gd name="T12" fmla="*/ 2 w 149"/>
                <a:gd name="T13" fmla="*/ 94 h 161"/>
                <a:gd name="T14" fmla="*/ 3 w 149"/>
                <a:gd name="T15" fmla="*/ 123 h 161"/>
                <a:gd name="T16" fmla="*/ 14 w 149"/>
                <a:gd name="T17" fmla="*/ 147 h 161"/>
                <a:gd name="T18" fmla="*/ 32 w 149"/>
                <a:gd name="T19" fmla="*/ 144 h 161"/>
                <a:gd name="T20" fmla="*/ 47 w 149"/>
                <a:gd name="T21" fmla="*/ 129 h 161"/>
                <a:gd name="T22" fmla="*/ 66 w 149"/>
                <a:gd name="T23" fmla="*/ 131 h 161"/>
                <a:gd name="T24" fmla="*/ 80 w 149"/>
                <a:gd name="T25" fmla="*/ 128 h 161"/>
                <a:gd name="T26" fmla="*/ 98 w 149"/>
                <a:gd name="T27" fmla="*/ 117 h 161"/>
                <a:gd name="T28" fmla="*/ 107 w 149"/>
                <a:gd name="T29" fmla="*/ 104 h 161"/>
                <a:gd name="T30" fmla="*/ 116 w 149"/>
                <a:gd name="T31" fmla="*/ 89 h 161"/>
                <a:gd name="T32" fmla="*/ 134 w 149"/>
                <a:gd name="T33" fmla="*/ 81 h 161"/>
                <a:gd name="T34" fmla="*/ 138 w 149"/>
                <a:gd name="T35" fmla="*/ 78 h 161"/>
                <a:gd name="T36" fmla="*/ 137 w 149"/>
                <a:gd name="T37" fmla="*/ 68 h 161"/>
                <a:gd name="T38" fmla="*/ 114 w 149"/>
                <a:gd name="T39" fmla="*/ 63 h 161"/>
                <a:gd name="T40" fmla="*/ 99 w 149"/>
                <a:gd name="T41" fmla="*/ 42 h 161"/>
                <a:gd name="T42" fmla="*/ 84 w 149"/>
                <a:gd name="T43" fmla="*/ 24 h 161"/>
                <a:gd name="T44" fmla="*/ 74 w 149"/>
                <a:gd name="T45" fmla="*/ 9 h 161"/>
                <a:gd name="T46" fmla="*/ 36 w 149"/>
                <a:gd name="T47" fmla="*/ 3 h 161"/>
                <a:gd name="T48" fmla="*/ 24 w 149"/>
                <a:gd name="T49" fmla="*/ 9 h 161"/>
                <a:gd name="T50" fmla="*/ 20 w 149"/>
                <a:gd name="T51" fmla="*/ 1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9" h="161">
                  <a:moveTo>
                    <a:pt x="20" y="11"/>
                  </a:moveTo>
                  <a:cubicBezTo>
                    <a:pt x="19" y="13"/>
                    <a:pt x="20" y="15"/>
                    <a:pt x="20" y="21"/>
                  </a:cubicBezTo>
                  <a:cubicBezTo>
                    <a:pt x="20" y="25"/>
                    <a:pt x="20" y="31"/>
                    <a:pt x="20" y="35"/>
                  </a:cubicBezTo>
                  <a:cubicBezTo>
                    <a:pt x="20" y="39"/>
                    <a:pt x="20" y="42"/>
                    <a:pt x="20" y="48"/>
                  </a:cubicBezTo>
                  <a:cubicBezTo>
                    <a:pt x="20" y="54"/>
                    <a:pt x="21" y="63"/>
                    <a:pt x="18" y="69"/>
                  </a:cubicBezTo>
                  <a:cubicBezTo>
                    <a:pt x="16" y="74"/>
                    <a:pt x="5" y="79"/>
                    <a:pt x="3" y="84"/>
                  </a:cubicBezTo>
                  <a:cubicBezTo>
                    <a:pt x="2" y="88"/>
                    <a:pt x="0" y="86"/>
                    <a:pt x="2" y="94"/>
                  </a:cubicBezTo>
                  <a:cubicBezTo>
                    <a:pt x="2" y="100"/>
                    <a:pt x="1" y="114"/>
                    <a:pt x="3" y="123"/>
                  </a:cubicBezTo>
                  <a:cubicBezTo>
                    <a:pt x="5" y="132"/>
                    <a:pt x="9" y="144"/>
                    <a:pt x="14" y="147"/>
                  </a:cubicBezTo>
                  <a:cubicBezTo>
                    <a:pt x="16" y="161"/>
                    <a:pt x="22" y="150"/>
                    <a:pt x="32" y="144"/>
                  </a:cubicBezTo>
                  <a:cubicBezTo>
                    <a:pt x="38" y="143"/>
                    <a:pt x="41" y="131"/>
                    <a:pt x="47" y="129"/>
                  </a:cubicBezTo>
                  <a:cubicBezTo>
                    <a:pt x="53" y="127"/>
                    <a:pt x="61" y="131"/>
                    <a:pt x="66" y="131"/>
                  </a:cubicBezTo>
                  <a:cubicBezTo>
                    <a:pt x="71" y="131"/>
                    <a:pt x="75" y="130"/>
                    <a:pt x="80" y="128"/>
                  </a:cubicBezTo>
                  <a:cubicBezTo>
                    <a:pt x="90" y="126"/>
                    <a:pt x="90" y="122"/>
                    <a:pt x="98" y="117"/>
                  </a:cubicBezTo>
                  <a:cubicBezTo>
                    <a:pt x="101" y="113"/>
                    <a:pt x="105" y="109"/>
                    <a:pt x="107" y="104"/>
                  </a:cubicBezTo>
                  <a:cubicBezTo>
                    <a:pt x="108" y="95"/>
                    <a:pt x="108" y="94"/>
                    <a:pt x="116" y="89"/>
                  </a:cubicBezTo>
                  <a:cubicBezTo>
                    <a:pt x="120" y="82"/>
                    <a:pt x="126" y="83"/>
                    <a:pt x="134" y="81"/>
                  </a:cubicBezTo>
                  <a:cubicBezTo>
                    <a:pt x="135" y="80"/>
                    <a:pt x="136" y="79"/>
                    <a:pt x="138" y="78"/>
                  </a:cubicBezTo>
                  <a:cubicBezTo>
                    <a:pt x="147" y="74"/>
                    <a:pt x="149" y="70"/>
                    <a:pt x="137" y="68"/>
                  </a:cubicBezTo>
                  <a:cubicBezTo>
                    <a:pt x="129" y="65"/>
                    <a:pt x="122" y="66"/>
                    <a:pt x="114" y="63"/>
                  </a:cubicBezTo>
                  <a:cubicBezTo>
                    <a:pt x="113" y="45"/>
                    <a:pt x="114" y="47"/>
                    <a:pt x="99" y="42"/>
                  </a:cubicBezTo>
                  <a:cubicBezTo>
                    <a:pt x="91" y="36"/>
                    <a:pt x="94" y="28"/>
                    <a:pt x="84" y="24"/>
                  </a:cubicBezTo>
                  <a:cubicBezTo>
                    <a:pt x="80" y="18"/>
                    <a:pt x="81" y="12"/>
                    <a:pt x="74" y="9"/>
                  </a:cubicBezTo>
                  <a:cubicBezTo>
                    <a:pt x="62" y="11"/>
                    <a:pt x="48" y="5"/>
                    <a:pt x="36" y="3"/>
                  </a:cubicBezTo>
                  <a:cubicBezTo>
                    <a:pt x="31" y="0"/>
                    <a:pt x="24" y="9"/>
                    <a:pt x="24" y="9"/>
                  </a:cubicBezTo>
                  <a:cubicBezTo>
                    <a:pt x="23" y="10"/>
                    <a:pt x="20" y="11"/>
                    <a:pt x="20" y="1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87" name="Freeform 498"/>
            <p:cNvSpPr>
              <a:spLocks/>
            </p:cNvSpPr>
            <p:nvPr>
              <p:custDataLst>
                <p:tags r:id="rId55"/>
              </p:custDataLst>
            </p:nvPr>
          </p:nvSpPr>
          <p:spPr bwMode="gray">
            <a:xfrm>
              <a:off x="3367459" y="3332708"/>
              <a:ext cx="108101" cy="206284"/>
            </a:xfrm>
            <a:custGeom>
              <a:avLst/>
              <a:gdLst>
                <a:gd name="T0" fmla="*/ 15 w 112"/>
                <a:gd name="T1" fmla="*/ 204 h 213"/>
                <a:gd name="T2" fmla="*/ 3 w 112"/>
                <a:gd name="T3" fmla="*/ 179 h 213"/>
                <a:gd name="T4" fmla="*/ 14 w 112"/>
                <a:gd name="T5" fmla="*/ 140 h 213"/>
                <a:gd name="T6" fmla="*/ 12 w 112"/>
                <a:gd name="T7" fmla="*/ 98 h 213"/>
                <a:gd name="T8" fmla="*/ 47 w 112"/>
                <a:gd name="T9" fmla="*/ 56 h 213"/>
                <a:gd name="T10" fmla="*/ 59 w 112"/>
                <a:gd name="T11" fmla="*/ 44 h 213"/>
                <a:gd name="T12" fmla="*/ 69 w 112"/>
                <a:gd name="T13" fmla="*/ 32 h 213"/>
                <a:gd name="T14" fmla="*/ 80 w 112"/>
                <a:gd name="T15" fmla="*/ 18 h 213"/>
                <a:gd name="T16" fmla="*/ 90 w 112"/>
                <a:gd name="T17" fmla="*/ 0 h 213"/>
                <a:gd name="T18" fmla="*/ 101 w 112"/>
                <a:gd name="T19" fmla="*/ 17 h 213"/>
                <a:gd name="T20" fmla="*/ 110 w 112"/>
                <a:gd name="T21" fmla="*/ 56 h 213"/>
                <a:gd name="T22" fmla="*/ 102 w 112"/>
                <a:gd name="T23" fmla="*/ 68 h 213"/>
                <a:gd name="T24" fmla="*/ 95 w 112"/>
                <a:gd name="T25" fmla="*/ 90 h 213"/>
                <a:gd name="T26" fmla="*/ 80 w 112"/>
                <a:gd name="T27" fmla="*/ 129 h 213"/>
                <a:gd name="T28" fmla="*/ 74 w 112"/>
                <a:gd name="T29" fmla="*/ 159 h 213"/>
                <a:gd name="T30" fmla="*/ 66 w 112"/>
                <a:gd name="T31" fmla="*/ 186 h 213"/>
                <a:gd name="T32" fmla="*/ 33 w 112"/>
                <a:gd name="T33" fmla="*/ 210 h 213"/>
                <a:gd name="T34" fmla="*/ 15 w 112"/>
                <a:gd name="T35" fmla="*/ 20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2" h="213">
                  <a:moveTo>
                    <a:pt x="15" y="204"/>
                  </a:moveTo>
                  <a:cubicBezTo>
                    <a:pt x="9" y="195"/>
                    <a:pt x="12" y="181"/>
                    <a:pt x="3" y="179"/>
                  </a:cubicBezTo>
                  <a:cubicBezTo>
                    <a:pt x="0" y="163"/>
                    <a:pt x="0" y="148"/>
                    <a:pt x="14" y="140"/>
                  </a:cubicBezTo>
                  <a:cubicBezTo>
                    <a:pt x="21" y="128"/>
                    <a:pt x="18" y="110"/>
                    <a:pt x="12" y="98"/>
                  </a:cubicBezTo>
                  <a:cubicBezTo>
                    <a:pt x="16" y="66"/>
                    <a:pt x="15" y="61"/>
                    <a:pt x="47" y="56"/>
                  </a:cubicBezTo>
                  <a:cubicBezTo>
                    <a:pt x="52" y="52"/>
                    <a:pt x="54" y="48"/>
                    <a:pt x="59" y="44"/>
                  </a:cubicBezTo>
                  <a:cubicBezTo>
                    <a:pt x="62" y="39"/>
                    <a:pt x="64" y="36"/>
                    <a:pt x="69" y="32"/>
                  </a:cubicBezTo>
                  <a:cubicBezTo>
                    <a:pt x="73" y="25"/>
                    <a:pt x="72" y="21"/>
                    <a:pt x="80" y="18"/>
                  </a:cubicBezTo>
                  <a:cubicBezTo>
                    <a:pt x="85" y="12"/>
                    <a:pt x="83" y="5"/>
                    <a:pt x="90" y="0"/>
                  </a:cubicBezTo>
                  <a:cubicBezTo>
                    <a:pt x="99" y="3"/>
                    <a:pt x="96" y="9"/>
                    <a:pt x="101" y="17"/>
                  </a:cubicBezTo>
                  <a:cubicBezTo>
                    <a:pt x="103" y="31"/>
                    <a:pt x="105" y="43"/>
                    <a:pt x="110" y="56"/>
                  </a:cubicBezTo>
                  <a:cubicBezTo>
                    <a:pt x="112" y="66"/>
                    <a:pt x="107" y="60"/>
                    <a:pt x="102" y="68"/>
                  </a:cubicBezTo>
                  <a:cubicBezTo>
                    <a:pt x="105" y="78"/>
                    <a:pt x="103" y="84"/>
                    <a:pt x="95" y="90"/>
                  </a:cubicBezTo>
                  <a:cubicBezTo>
                    <a:pt x="94" y="103"/>
                    <a:pt x="91" y="120"/>
                    <a:pt x="80" y="129"/>
                  </a:cubicBezTo>
                  <a:cubicBezTo>
                    <a:pt x="79" y="140"/>
                    <a:pt x="81" y="150"/>
                    <a:pt x="74" y="159"/>
                  </a:cubicBezTo>
                  <a:cubicBezTo>
                    <a:pt x="72" y="169"/>
                    <a:pt x="71" y="177"/>
                    <a:pt x="66" y="186"/>
                  </a:cubicBezTo>
                  <a:cubicBezTo>
                    <a:pt x="64" y="211"/>
                    <a:pt x="57" y="206"/>
                    <a:pt x="33" y="210"/>
                  </a:cubicBezTo>
                  <a:cubicBezTo>
                    <a:pt x="25" y="213"/>
                    <a:pt x="20" y="209"/>
                    <a:pt x="15" y="20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88" name="Freeform 499"/>
            <p:cNvSpPr>
              <a:spLocks/>
            </p:cNvSpPr>
            <p:nvPr>
              <p:custDataLst>
                <p:tags r:id="rId56"/>
              </p:custDataLst>
            </p:nvPr>
          </p:nvSpPr>
          <p:spPr bwMode="gray">
            <a:xfrm>
              <a:off x="3190927" y="3544943"/>
              <a:ext cx="28761" cy="23802"/>
            </a:xfrm>
            <a:custGeom>
              <a:avLst/>
              <a:gdLst>
                <a:gd name="T0" fmla="*/ 18 w 30"/>
                <a:gd name="T1" fmla="*/ 0 h 25"/>
                <a:gd name="T2" fmla="*/ 5 w 30"/>
                <a:gd name="T3" fmla="*/ 23 h 25"/>
                <a:gd name="T4" fmla="*/ 20 w 30"/>
                <a:gd name="T5" fmla="*/ 21 h 25"/>
                <a:gd name="T6" fmla="*/ 18 w 30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25">
                  <a:moveTo>
                    <a:pt x="18" y="0"/>
                  </a:moveTo>
                  <a:cubicBezTo>
                    <a:pt x="0" y="3"/>
                    <a:pt x="3" y="3"/>
                    <a:pt x="5" y="23"/>
                  </a:cubicBezTo>
                  <a:cubicBezTo>
                    <a:pt x="10" y="22"/>
                    <a:pt x="17" y="25"/>
                    <a:pt x="20" y="21"/>
                  </a:cubicBezTo>
                  <a:cubicBezTo>
                    <a:pt x="30" y="7"/>
                    <a:pt x="9" y="6"/>
                    <a:pt x="18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89" name="Freeform 500"/>
            <p:cNvSpPr>
              <a:spLocks/>
            </p:cNvSpPr>
            <p:nvPr>
              <p:custDataLst>
                <p:tags r:id="rId57"/>
              </p:custDataLst>
            </p:nvPr>
          </p:nvSpPr>
          <p:spPr bwMode="gray">
            <a:xfrm>
              <a:off x="3104645" y="2674185"/>
              <a:ext cx="168598" cy="178515"/>
            </a:xfrm>
            <a:custGeom>
              <a:avLst/>
              <a:gdLst>
                <a:gd name="T0" fmla="*/ 8 w 175"/>
                <a:gd name="T1" fmla="*/ 178 h 184"/>
                <a:gd name="T2" fmla="*/ 151 w 175"/>
                <a:gd name="T3" fmla="*/ 174 h 184"/>
                <a:gd name="T4" fmla="*/ 157 w 175"/>
                <a:gd name="T5" fmla="*/ 145 h 184"/>
                <a:gd name="T6" fmla="*/ 149 w 175"/>
                <a:gd name="T7" fmla="*/ 111 h 184"/>
                <a:gd name="T8" fmla="*/ 131 w 175"/>
                <a:gd name="T9" fmla="*/ 79 h 184"/>
                <a:gd name="T10" fmla="*/ 119 w 175"/>
                <a:gd name="T11" fmla="*/ 51 h 184"/>
                <a:gd name="T12" fmla="*/ 122 w 175"/>
                <a:gd name="T13" fmla="*/ 43 h 184"/>
                <a:gd name="T14" fmla="*/ 127 w 175"/>
                <a:gd name="T15" fmla="*/ 61 h 184"/>
                <a:gd name="T16" fmla="*/ 136 w 175"/>
                <a:gd name="T17" fmla="*/ 79 h 184"/>
                <a:gd name="T18" fmla="*/ 145 w 175"/>
                <a:gd name="T19" fmla="*/ 28 h 184"/>
                <a:gd name="T20" fmla="*/ 115 w 175"/>
                <a:gd name="T21" fmla="*/ 24 h 184"/>
                <a:gd name="T22" fmla="*/ 100 w 175"/>
                <a:gd name="T23" fmla="*/ 10 h 184"/>
                <a:gd name="T24" fmla="*/ 70 w 175"/>
                <a:gd name="T25" fmla="*/ 27 h 184"/>
                <a:gd name="T26" fmla="*/ 41 w 175"/>
                <a:gd name="T27" fmla="*/ 15 h 184"/>
                <a:gd name="T28" fmla="*/ 7 w 175"/>
                <a:gd name="T29" fmla="*/ 13 h 184"/>
                <a:gd name="T30" fmla="*/ 1 w 175"/>
                <a:gd name="T31" fmla="*/ 27 h 184"/>
                <a:gd name="T32" fmla="*/ 5 w 175"/>
                <a:gd name="T33" fmla="*/ 106 h 184"/>
                <a:gd name="T34" fmla="*/ 4 w 175"/>
                <a:gd name="T35" fmla="*/ 177 h 184"/>
                <a:gd name="T36" fmla="*/ 8 w 175"/>
                <a:gd name="T37" fmla="*/ 17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5" h="184">
                  <a:moveTo>
                    <a:pt x="8" y="178"/>
                  </a:moveTo>
                  <a:cubicBezTo>
                    <a:pt x="34" y="173"/>
                    <a:pt x="127" y="184"/>
                    <a:pt x="151" y="174"/>
                  </a:cubicBezTo>
                  <a:cubicBezTo>
                    <a:pt x="175" y="169"/>
                    <a:pt x="157" y="155"/>
                    <a:pt x="157" y="145"/>
                  </a:cubicBezTo>
                  <a:cubicBezTo>
                    <a:pt x="157" y="135"/>
                    <a:pt x="153" y="122"/>
                    <a:pt x="149" y="111"/>
                  </a:cubicBezTo>
                  <a:cubicBezTo>
                    <a:pt x="147" y="99"/>
                    <a:pt x="137" y="89"/>
                    <a:pt x="131" y="79"/>
                  </a:cubicBezTo>
                  <a:cubicBezTo>
                    <a:pt x="130" y="67"/>
                    <a:pt x="129" y="57"/>
                    <a:pt x="119" y="51"/>
                  </a:cubicBezTo>
                  <a:cubicBezTo>
                    <a:pt x="118" y="48"/>
                    <a:pt x="119" y="42"/>
                    <a:pt x="122" y="43"/>
                  </a:cubicBezTo>
                  <a:cubicBezTo>
                    <a:pt x="124" y="44"/>
                    <a:pt x="126" y="58"/>
                    <a:pt x="127" y="61"/>
                  </a:cubicBezTo>
                  <a:cubicBezTo>
                    <a:pt x="128" y="68"/>
                    <a:pt x="128" y="77"/>
                    <a:pt x="136" y="79"/>
                  </a:cubicBezTo>
                  <a:cubicBezTo>
                    <a:pt x="162" y="76"/>
                    <a:pt x="151" y="81"/>
                    <a:pt x="145" y="28"/>
                  </a:cubicBezTo>
                  <a:cubicBezTo>
                    <a:pt x="144" y="18"/>
                    <a:pt x="125" y="24"/>
                    <a:pt x="115" y="24"/>
                  </a:cubicBezTo>
                  <a:cubicBezTo>
                    <a:pt x="109" y="20"/>
                    <a:pt x="106" y="15"/>
                    <a:pt x="100" y="10"/>
                  </a:cubicBezTo>
                  <a:cubicBezTo>
                    <a:pt x="87" y="13"/>
                    <a:pt x="82" y="21"/>
                    <a:pt x="70" y="27"/>
                  </a:cubicBezTo>
                  <a:cubicBezTo>
                    <a:pt x="60" y="24"/>
                    <a:pt x="51" y="17"/>
                    <a:pt x="41" y="15"/>
                  </a:cubicBezTo>
                  <a:cubicBezTo>
                    <a:pt x="30" y="9"/>
                    <a:pt x="21" y="12"/>
                    <a:pt x="7" y="13"/>
                  </a:cubicBezTo>
                  <a:cubicBezTo>
                    <a:pt x="0" y="15"/>
                    <a:pt x="1" y="0"/>
                    <a:pt x="1" y="27"/>
                  </a:cubicBezTo>
                  <a:cubicBezTo>
                    <a:pt x="0" y="42"/>
                    <a:pt x="5" y="81"/>
                    <a:pt x="5" y="106"/>
                  </a:cubicBezTo>
                  <a:cubicBezTo>
                    <a:pt x="5" y="131"/>
                    <a:pt x="3" y="165"/>
                    <a:pt x="4" y="177"/>
                  </a:cubicBezTo>
                  <a:cubicBezTo>
                    <a:pt x="9" y="174"/>
                    <a:pt x="13" y="179"/>
                    <a:pt x="8" y="17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90" name="Freeform 501"/>
            <p:cNvSpPr>
              <a:spLocks/>
            </p:cNvSpPr>
            <p:nvPr>
              <p:custDataLst>
                <p:tags r:id="rId58"/>
              </p:custDataLst>
            </p:nvPr>
          </p:nvSpPr>
          <p:spPr bwMode="gray">
            <a:xfrm>
              <a:off x="2508602" y="2746583"/>
              <a:ext cx="140829" cy="113060"/>
            </a:xfrm>
            <a:custGeom>
              <a:avLst/>
              <a:gdLst>
                <a:gd name="T0" fmla="*/ 118 w 146"/>
                <a:gd name="T1" fmla="*/ 0 h 117"/>
                <a:gd name="T2" fmla="*/ 62 w 146"/>
                <a:gd name="T3" fmla="*/ 2 h 117"/>
                <a:gd name="T4" fmla="*/ 54 w 146"/>
                <a:gd name="T5" fmla="*/ 4 h 117"/>
                <a:gd name="T6" fmla="*/ 50 w 146"/>
                <a:gd name="T7" fmla="*/ 24 h 117"/>
                <a:gd name="T8" fmla="*/ 32 w 146"/>
                <a:gd name="T9" fmla="*/ 30 h 117"/>
                <a:gd name="T10" fmla="*/ 22 w 146"/>
                <a:gd name="T11" fmla="*/ 60 h 117"/>
                <a:gd name="T12" fmla="*/ 4 w 146"/>
                <a:gd name="T13" fmla="*/ 92 h 117"/>
                <a:gd name="T14" fmla="*/ 3 w 146"/>
                <a:gd name="T15" fmla="*/ 114 h 117"/>
                <a:gd name="T16" fmla="*/ 19 w 146"/>
                <a:gd name="T17" fmla="*/ 108 h 117"/>
                <a:gd name="T18" fmla="*/ 43 w 146"/>
                <a:gd name="T19" fmla="*/ 106 h 117"/>
                <a:gd name="T20" fmla="*/ 58 w 146"/>
                <a:gd name="T21" fmla="*/ 108 h 117"/>
                <a:gd name="T22" fmla="*/ 60 w 146"/>
                <a:gd name="T23" fmla="*/ 90 h 117"/>
                <a:gd name="T24" fmla="*/ 60 w 146"/>
                <a:gd name="T25" fmla="*/ 76 h 117"/>
                <a:gd name="T26" fmla="*/ 72 w 146"/>
                <a:gd name="T27" fmla="*/ 72 h 117"/>
                <a:gd name="T28" fmla="*/ 76 w 146"/>
                <a:gd name="T29" fmla="*/ 66 h 117"/>
                <a:gd name="T30" fmla="*/ 75 w 146"/>
                <a:gd name="T31" fmla="*/ 52 h 117"/>
                <a:gd name="T32" fmla="*/ 75 w 146"/>
                <a:gd name="T33" fmla="*/ 46 h 117"/>
                <a:gd name="T34" fmla="*/ 78 w 146"/>
                <a:gd name="T35" fmla="*/ 33 h 117"/>
                <a:gd name="T36" fmla="*/ 88 w 146"/>
                <a:gd name="T37" fmla="*/ 30 h 117"/>
                <a:gd name="T38" fmla="*/ 106 w 146"/>
                <a:gd name="T39" fmla="*/ 34 h 117"/>
                <a:gd name="T40" fmla="*/ 130 w 146"/>
                <a:gd name="T41" fmla="*/ 30 h 117"/>
                <a:gd name="T42" fmla="*/ 138 w 146"/>
                <a:gd name="T43" fmla="*/ 21 h 117"/>
                <a:gd name="T44" fmla="*/ 118 w 146"/>
                <a:gd name="T4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6" h="117">
                  <a:moveTo>
                    <a:pt x="118" y="0"/>
                  </a:moveTo>
                  <a:cubicBezTo>
                    <a:pt x="99" y="1"/>
                    <a:pt x="81" y="1"/>
                    <a:pt x="62" y="2"/>
                  </a:cubicBezTo>
                  <a:cubicBezTo>
                    <a:pt x="59" y="2"/>
                    <a:pt x="56" y="2"/>
                    <a:pt x="54" y="4"/>
                  </a:cubicBezTo>
                  <a:cubicBezTo>
                    <a:pt x="50" y="10"/>
                    <a:pt x="55" y="20"/>
                    <a:pt x="50" y="24"/>
                  </a:cubicBezTo>
                  <a:cubicBezTo>
                    <a:pt x="45" y="28"/>
                    <a:pt x="32" y="30"/>
                    <a:pt x="32" y="30"/>
                  </a:cubicBezTo>
                  <a:cubicBezTo>
                    <a:pt x="28" y="42"/>
                    <a:pt x="35" y="56"/>
                    <a:pt x="22" y="60"/>
                  </a:cubicBezTo>
                  <a:cubicBezTo>
                    <a:pt x="15" y="71"/>
                    <a:pt x="11" y="81"/>
                    <a:pt x="4" y="92"/>
                  </a:cubicBezTo>
                  <a:cubicBezTo>
                    <a:pt x="0" y="98"/>
                    <a:pt x="3" y="114"/>
                    <a:pt x="3" y="114"/>
                  </a:cubicBezTo>
                  <a:cubicBezTo>
                    <a:pt x="6" y="117"/>
                    <a:pt x="12" y="109"/>
                    <a:pt x="19" y="108"/>
                  </a:cubicBezTo>
                  <a:cubicBezTo>
                    <a:pt x="26" y="107"/>
                    <a:pt x="37" y="106"/>
                    <a:pt x="43" y="106"/>
                  </a:cubicBezTo>
                  <a:cubicBezTo>
                    <a:pt x="49" y="106"/>
                    <a:pt x="55" y="111"/>
                    <a:pt x="58" y="108"/>
                  </a:cubicBezTo>
                  <a:cubicBezTo>
                    <a:pt x="63" y="94"/>
                    <a:pt x="63" y="100"/>
                    <a:pt x="60" y="90"/>
                  </a:cubicBezTo>
                  <a:cubicBezTo>
                    <a:pt x="61" y="85"/>
                    <a:pt x="57" y="80"/>
                    <a:pt x="60" y="76"/>
                  </a:cubicBezTo>
                  <a:cubicBezTo>
                    <a:pt x="62" y="73"/>
                    <a:pt x="68" y="74"/>
                    <a:pt x="72" y="72"/>
                  </a:cubicBezTo>
                  <a:cubicBezTo>
                    <a:pt x="73" y="67"/>
                    <a:pt x="75" y="68"/>
                    <a:pt x="76" y="66"/>
                  </a:cubicBezTo>
                  <a:cubicBezTo>
                    <a:pt x="76" y="62"/>
                    <a:pt x="75" y="57"/>
                    <a:pt x="75" y="52"/>
                  </a:cubicBezTo>
                  <a:cubicBezTo>
                    <a:pt x="75" y="49"/>
                    <a:pt x="75" y="49"/>
                    <a:pt x="75" y="46"/>
                  </a:cubicBezTo>
                  <a:cubicBezTo>
                    <a:pt x="75" y="43"/>
                    <a:pt x="76" y="36"/>
                    <a:pt x="78" y="33"/>
                  </a:cubicBezTo>
                  <a:cubicBezTo>
                    <a:pt x="80" y="30"/>
                    <a:pt x="83" y="30"/>
                    <a:pt x="88" y="30"/>
                  </a:cubicBezTo>
                  <a:cubicBezTo>
                    <a:pt x="93" y="30"/>
                    <a:pt x="99" y="34"/>
                    <a:pt x="106" y="34"/>
                  </a:cubicBezTo>
                  <a:cubicBezTo>
                    <a:pt x="113" y="34"/>
                    <a:pt x="125" y="32"/>
                    <a:pt x="130" y="30"/>
                  </a:cubicBezTo>
                  <a:cubicBezTo>
                    <a:pt x="133" y="21"/>
                    <a:pt x="146" y="27"/>
                    <a:pt x="138" y="21"/>
                  </a:cubicBezTo>
                  <a:cubicBezTo>
                    <a:pt x="133" y="13"/>
                    <a:pt x="121" y="8"/>
                    <a:pt x="118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91" name="Freeform 502"/>
            <p:cNvSpPr>
              <a:spLocks/>
            </p:cNvSpPr>
            <p:nvPr>
              <p:custDataLst>
                <p:tags r:id="rId59"/>
              </p:custDataLst>
            </p:nvPr>
          </p:nvSpPr>
          <p:spPr bwMode="gray">
            <a:xfrm>
              <a:off x="2564140" y="2616664"/>
              <a:ext cx="166614" cy="132895"/>
            </a:xfrm>
            <a:custGeom>
              <a:avLst/>
              <a:gdLst>
                <a:gd name="T0" fmla="*/ 0 w 173"/>
                <a:gd name="T1" fmla="*/ 138 h 138"/>
                <a:gd name="T2" fmla="*/ 27 w 173"/>
                <a:gd name="T3" fmla="*/ 124 h 138"/>
                <a:gd name="T4" fmla="*/ 39 w 173"/>
                <a:gd name="T5" fmla="*/ 114 h 138"/>
                <a:gd name="T6" fmla="*/ 54 w 173"/>
                <a:gd name="T7" fmla="*/ 63 h 138"/>
                <a:gd name="T8" fmla="*/ 72 w 173"/>
                <a:gd name="T9" fmla="*/ 42 h 138"/>
                <a:gd name="T10" fmla="*/ 90 w 173"/>
                <a:gd name="T11" fmla="*/ 30 h 138"/>
                <a:gd name="T12" fmla="*/ 102 w 173"/>
                <a:gd name="T13" fmla="*/ 15 h 138"/>
                <a:gd name="T14" fmla="*/ 108 w 173"/>
                <a:gd name="T15" fmla="*/ 0 h 138"/>
                <a:gd name="T16" fmla="*/ 144 w 173"/>
                <a:gd name="T17" fmla="*/ 4 h 138"/>
                <a:gd name="T18" fmla="*/ 168 w 173"/>
                <a:gd name="T19" fmla="*/ 12 h 138"/>
                <a:gd name="T20" fmla="*/ 171 w 173"/>
                <a:gd name="T21" fmla="*/ 57 h 138"/>
                <a:gd name="T22" fmla="*/ 154 w 173"/>
                <a:gd name="T23" fmla="*/ 64 h 138"/>
                <a:gd name="T24" fmla="*/ 145 w 173"/>
                <a:gd name="T25" fmla="*/ 76 h 138"/>
                <a:gd name="T26" fmla="*/ 133 w 173"/>
                <a:gd name="T27" fmla="*/ 85 h 138"/>
                <a:gd name="T28" fmla="*/ 118 w 173"/>
                <a:gd name="T29" fmla="*/ 96 h 138"/>
                <a:gd name="T30" fmla="*/ 104 w 173"/>
                <a:gd name="T31" fmla="*/ 108 h 138"/>
                <a:gd name="T32" fmla="*/ 85 w 173"/>
                <a:gd name="T33" fmla="*/ 109 h 138"/>
                <a:gd name="T34" fmla="*/ 61 w 173"/>
                <a:gd name="T35" fmla="*/ 133 h 138"/>
                <a:gd name="T36" fmla="*/ 0 w 173"/>
                <a:gd name="T37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3" h="138">
                  <a:moveTo>
                    <a:pt x="0" y="138"/>
                  </a:moveTo>
                  <a:cubicBezTo>
                    <a:pt x="6" y="135"/>
                    <a:pt x="21" y="128"/>
                    <a:pt x="27" y="124"/>
                  </a:cubicBezTo>
                  <a:cubicBezTo>
                    <a:pt x="31" y="118"/>
                    <a:pt x="31" y="115"/>
                    <a:pt x="39" y="114"/>
                  </a:cubicBezTo>
                  <a:cubicBezTo>
                    <a:pt x="60" y="104"/>
                    <a:pt x="42" y="80"/>
                    <a:pt x="54" y="63"/>
                  </a:cubicBezTo>
                  <a:cubicBezTo>
                    <a:pt x="56" y="53"/>
                    <a:pt x="61" y="44"/>
                    <a:pt x="72" y="42"/>
                  </a:cubicBezTo>
                  <a:cubicBezTo>
                    <a:pt x="77" y="36"/>
                    <a:pt x="82" y="32"/>
                    <a:pt x="90" y="30"/>
                  </a:cubicBezTo>
                  <a:cubicBezTo>
                    <a:pt x="97" y="27"/>
                    <a:pt x="98" y="21"/>
                    <a:pt x="102" y="15"/>
                  </a:cubicBezTo>
                  <a:cubicBezTo>
                    <a:pt x="103" y="9"/>
                    <a:pt x="104" y="5"/>
                    <a:pt x="108" y="0"/>
                  </a:cubicBezTo>
                  <a:cubicBezTo>
                    <a:pt x="121" y="1"/>
                    <a:pt x="131" y="3"/>
                    <a:pt x="144" y="4"/>
                  </a:cubicBezTo>
                  <a:cubicBezTo>
                    <a:pt x="154" y="5"/>
                    <a:pt x="163" y="3"/>
                    <a:pt x="168" y="12"/>
                  </a:cubicBezTo>
                  <a:cubicBezTo>
                    <a:pt x="172" y="20"/>
                    <a:pt x="173" y="48"/>
                    <a:pt x="171" y="57"/>
                  </a:cubicBezTo>
                  <a:cubicBezTo>
                    <a:pt x="169" y="66"/>
                    <a:pt x="158" y="61"/>
                    <a:pt x="154" y="64"/>
                  </a:cubicBezTo>
                  <a:cubicBezTo>
                    <a:pt x="149" y="68"/>
                    <a:pt x="148" y="71"/>
                    <a:pt x="145" y="76"/>
                  </a:cubicBezTo>
                  <a:cubicBezTo>
                    <a:pt x="143" y="84"/>
                    <a:pt x="140" y="84"/>
                    <a:pt x="133" y="85"/>
                  </a:cubicBezTo>
                  <a:cubicBezTo>
                    <a:pt x="127" y="89"/>
                    <a:pt x="124" y="92"/>
                    <a:pt x="118" y="96"/>
                  </a:cubicBezTo>
                  <a:cubicBezTo>
                    <a:pt x="113" y="100"/>
                    <a:pt x="109" y="106"/>
                    <a:pt x="104" y="108"/>
                  </a:cubicBezTo>
                  <a:cubicBezTo>
                    <a:pt x="99" y="110"/>
                    <a:pt x="92" y="105"/>
                    <a:pt x="85" y="109"/>
                  </a:cubicBezTo>
                  <a:cubicBezTo>
                    <a:pt x="77" y="113"/>
                    <a:pt x="62" y="133"/>
                    <a:pt x="61" y="133"/>
                  </a:cubicBezTo>
                  <a:cubicBezTo>
                    <a:pt x="44" y="134"/>
                    <a:pt x="17" y="138"/>
                    <a:pt x="0" y="13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92" name="Freeform 503"/>
            <p:cNvSpPr>
              <a:spLocks/>
            </p:cNvSpPr>
            <p:nvPr>
              <p:custDataLst>
                <p:tags r:id="rId60"/>
              </p:custDataLst>
            </p:nvPr>
          </p:nvSpPr>
          <p:spPr bwMode="gray">
            <a:xfrm>
              <a:off x="3249441" y="2677161"/>
              <a:ext cx="295542" cy="252897"/>
            </a:xfrm>
            <a:custGeom>
              <a:avLst/>
              <a:gdLst>
                <a:gd name="T0" fmla="*/ 7 w 306"/>
                <a:gd name="T1" fmla="*/ 45 h 262"/>
                <a:gd name="T2" fmla="*/ 23 w 306"/>
                <a:gd name="T3" fmla="*/ 45 h 262"/>
                <a:gd name="T4" fmla="*/ 37 w 306"/>
                <a:gd name="T5" fmla="*/ 36 h 262"/>
                <a:gd name="T6" fmla="*/ 35 w 306"/>
                <a:gd name="T7" fmla="*/ 15 h 262"/>
                <a:gd name="T8" fmla="*/ 37 w 306"/>
                <a:gd name="T9" fmla="*/ 6 h 262"/>
                <a:gd name="T10" fmla="*/ 59 w 306"/>
                <a:gd name="T11" fmla="*/ 3 h 262"/>
                <a:gd name="T12" fmla="*/ 79 w 306"/>
                <a:gd name="T13" fmla="*/ 1 h 262"/>
                <a:gd name="T14" fmla="*/ 94 w 306"/>
                <a:gd name="T15" fmla="*/ 7 h 262"/>
                <a:gd name="T16" fmla="*/ 106 w 306"/>
                <a:gd name="T17" fmla="*/ 18 h 262"/>
                <a:gd name="T18" fmla="*/ 121 w 306"/>
                <a:gd name="T19" fmla="*/ 24 h 262"/>
                <a:gd name="T20" fmla="*/ 128 w 306"/>
                <a:gd name="T21" fmla="*/ 36 h 262"/>
                <a:gd name="T22" fmla="*/ 128 w 306"/>
                <a:gd name="T23" fmla="*/ 39 h 262"/>
                <a:gd name="T24" fmla="*/ 139 w 306"/>
                <a:gd name="T25" fmla="*/ 43 h 262"/>
                <a:gd name="T26" fmla="*/ 154 w 306"/>
                <a:gd name="T27" fmla="*/ 48 h 262"/>
                <a:gd name="T28" fmla="*/ 185 w 306"/>
                <a:gd name="T29" fmla="*/ 52 h 262"/>
                <a:gd name="T30" fmla="*/ 200 w 306"/>
                <a:gd name="T31" fmla="*/ 58 h 262"/>
                <a:gd name="T32" fmla="*/ 214 w 306"/>
                <a:gd name="T33" fmla="*/ 81 h 262"/>
                <a:gd name="T34" fmla="*/ 223 w 306"/>
                <a:gd name="T35" fmla="*/ 94 h 262"/>
                <a:gd name="T36" fmla="*/ 235 w 306"/>
                <a:gd name="T37" fmla="*/ 111 h 262"/>
                <a:gd name="T38" fmla="*/ 247 w 306"/>
                <a:gd name="T39" fmla="*/ 129 h 262"/>
                <a:gd name="T40" fmla="*/ 254 w 306"/>
                <a:gd name="T41" fmla="*/ 156 h 262"/>
                <a:gd name="T42" fmla="*/ 280 w 306"/>
                <a:gd name="T43" fmla="*/ 162 h 262"/>
                <a:gd name="T44" fmla="*/ 302 w 306"/>
                <a:gd name="T45" fmla="*/ 163 h 262"/>
                <a:gd name="T46" fmla="*/ 304 w 306"/>
                <a:gd name="T47" fmla="*/ 177 h 262"/>
                <a:gd name="T48" fmla="*/ 296 w 306"/>
                <a:gd name="T49" fmla="*/ 193 h 262"/>
                <a:gd name="T50" fmla="*/ 281 w 306"/>
                <a:gd name="T51" fmla="*/ 204 h 262"/>
                <a:gd name="T52" fmla="*/ 274 w 306"/>
                <a:gd name="T53" fmla="*/ 210 h 262"/>
                <a:gd name="T54" fmla="*/ 257 w 306"/>
                <a:gd name="T55" fmla="*/ 214 h 262"/>
                <a:gd name="T56" fmla="*/ 236 w 306"/>
                <a:gd name="T57" fmla="*/ 223 h 262"/>
                <a:gd name="T58" fmla="*/ 208 w 306"/>
                <a:gd name="T59" fmla="*/ 224 h 262"/>
                <a:gd name="T60" fmla="*/ 197 w 306"/>
                <a:gd name="T61" fmla="*/ 228 h 262"/>
                <a:gd name="T62" fmla="*/ 191 w 306"/>
                <a:gd name="T63" fmla="*/ 231 h 262"/>
                <a:gd name="T64" fmla="*/ 182 w 306"/>
                <a:gd name="T65" fmla="*/ 249 h 262"/>
                <a:gd name="T66" fmla="*/ 169 w 306"/>
                <a:gd name="T67" fmla="*/ 262 h 262"/>
                <a:gd name="T68" fmla="*/ 137 w 306"/>
                <a:gd name="T69" fmla="*/ 246 h 262"/>
                <a:gd name="T70" fmla="*/ 113 w 306"/>
                <a:gd name="T71" fmla="*/ 247 h 262"/>
                <a:gd name="T72" fmla="*/ 107 w 306"/>
                <a:gd name="T73" fmla="*/ 238 h 262"/>
                <a:gd name="T74" fmla="*/ 83 w 306"/>
                <a:gd name="T75" fmla="*/ 208 h 262"/>
                <a:gd name="T76" fmla="*/ 68 w 306"/>
                <a:gd name="T77" fmla="*/ 192 h 262"/>
                <a:gd name="T78" fmla="*/ 61 w 306"/>
                <a:gd name="T79" fmla="*/ 154 h 262"/>
                <a:gd name="T80" fmla="*/ 37 w 306"/>
                <a:gd name="T81" fmla="*/ 127 h 262"/>
                <a:gd name="T82" fmla="*/ 31 w 306"/>
                <a:gd name="T83" fmla="*/ 120 h 262"/>
                <a:gd name="T84" fmla="*/ 20 w 306"/>
                <a:gd name="T85" fmla="*/ 96 h 262"/>
                <a:gd name="T86" fmla="*/ 8 w 306"/>
                <a:gd name="T87" fmla="*/ 78 h 262"/>
                <a:gd name="T88" fmla="*/ 1 w 306"/>
                <a:gd name="T89" fmla="*/ 60 h 262"/>
                <a:gd name="T90" fmla="*/ 7 w 306"/>
                <a:gd name="T91" fmla="*/ 45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6" h="262">
                  <a:moveTo>
                    <a:pt x="7" y="45"/>
                  </a:moveTo>
                  <a:cubicBezTo>
                    <a:pt x="14" y="46"/>
                    <a:pt x="17" y="49"/>
                    <a:pt x="23" y="45"/>
                  </a:cubicBezTo>
                  <a:cubicBezTo>
                    <a:pt x="27" y="38"/>
                    <a:pt x="29" y="37"/>
                    <a:pt x="37" y="36"/>
                  </a:cubicBezTo>
                  <a:cubicBezTo>
                    <a:pt x="48" y="30"/>
                    <a:pt x="44" y="20"/>
                    <a:pt x="35" y="15"/>
                  </a:cubicBezTo>
                  <a:cubicBezTo>
                    <a:pt x="34" y="12"/>
                    <a:pt x="32" y="7"/>
                    <a:pt x="37" y="6"/>
                  </a:cubicBezTo>
                  <a:cubicBezTo>
                    <a:pt x="44" y="4"/>
                    <a:pt x="59" y="3"/>
                    <a:pt x="59" y="3"/>
                  </a:cubicBezTo>
                  <a:cubicBezTo>
                    <a:pt x="67" y="0"/>
                    <a:pt x="71" y="0"/>
                    <a:pt x="79" y="1"/>
                  </a:cubicBezTo>
                  <a:cubicBezTo>
                    <a:pt x="84" y="4"/>
                    <a:pt x="88" y="6"/>
                    <a:pt x="94" y="7"/>
                  </a:cubicBezTo>
                  <a:cubicBezTo>
                    <a:pt x="100" y="10"/>
                    <a:pt x="106" y="18"/>
                    <a:pt x="106" y="18"/>
                  </a:cubicBezTo>
                  <a:cubicBezTo>
                    <a:pt x="109" y="24"/>
                    <a:pt x="115" y="20"/>
                    <a:pt x="121" y="24"/>
                  </a:cubicBezTo>
                  <a:cubicBezTo>
                    <a:pt x="122" y="31"/>
                    <a:pt x="122" y="33"/>
                    <a:pt x="128" y="36"/>
                  </a:cubicBezTo>
                  <a:cubicBezTo>
                    <a:pt x="129" y="38"/>
                    <a:pt x="126" y="38"/>
                    <a:pt x="128" y="39"/>
                  </a:cubicBezTo>
                  <a:cubicBezTo>
                    <a:pt x="130" y="40"/>
                    <a:pt x="135" y="42"/>
                    <a:pt x="139" y="43"/>
                  </a:cubicBezTo>
                  <a:cubicBezTo>
                    <a:pt x="144" y="45"/>
                    <a:pt x="149" y="46"/>
                    <a:pt x="154" y="48"/>
                  </a:cubicBezTo>
                  <a:cubicBezTo>
                    <a:pt x="166" y="57"/>
                    <a:pt x="152" y="48"/>
                    <a:pt x="185" y="52"/>
                  </a:cubicBezTo>
                  <a:cubicBezTo>
                    <a:pt x="190" y="53"/>
                    <a:pt x="195" y="57"/>
                    <a:pt x="200" y="58"/>
                  </a:cubicBezTo>
                  <a:cubicBezTo>
                    <a:pt x="202" y="70"/>
                    <a:pt x="203" y="76"/>
                    <a:pt x="214" y="81"/>
                  </a:cubicBezTo>
                  <a:cubicBezTo>
                    <a:pt x="222" y="91"/>
                    <a:pt x="219" y="87"/>
                    <a:pt x="223" y="94"/>
                  </a:cubicBezTo>
                  <a:cubicBezTo>
                    <a:pt x="224" y="107"/>
                    <a:pt x="224" y="106"/>
                    <a:pt x="235" y="111"/>
                  </a:cubicBezTo>
                  <a:cubicBezTo>
                    <a:pt x="239" y="118"/>
                    <a:pt x="241" y="125"/>
                    <a:pt x="247" y="129"/>
                  </a:cubicBezTo>
                  <a:cubicBezTo>
                    <a:pt x="250" y="137"/>
                    <a:pt x="245" y="151"/>
                    <a:pt x="254" y="156"/>
                  </a:cubicBezTo>
                  <a:cubicBezTo>
                    <a:pt x="259" y="161"/>
                    <a:pt x="272" y="161"/>
                    <a:pt x="280" y="162"/>
                  </a:cubicBezTo>
                  <a:cubicBezTo>
                    <a:pt x="288" y="163"/>
                    <a:pt x="298" y="160"/>
                    <a:pt x="302" y="163"/>
                  </a:cubicBezTo>
                  <a:cubicBezTo>
                    <a:pt x="306" y="166"/>
                    <a:pt x="305" y="172"/>
                    <a:pt x="304" y="177"/>
                  </a:cubicBezTo>
                  <a:cubicBezTo>
                    <a:pt x="303" y="182"/>
                    <a:pt x="300" y="188"/>
                    <a:pt x="296" y="193"/>
                  </a:cubicBezTo>
                  <a:cubicBezTo>
                    <a:pt x="293" y="201"/>
                    <a:pt x="286" y="201"/>
                    <a:pt x="281" y="204"/>
                  </a:cubicBezTo>
                  <a:cubicBezTo>
                    <a:pt x="277" y="207"/>
                    <a:pt x="278" y="208"/>
                    <a:pt x="274" y="210"/>
                  </a:cubicBezTo>
                  <a:cubicBezTo>
                    <a:pt x="270" y="212"/>
                    <a:pt x="263" y="212"/>
                    <a:pt x="257" y="214"/>
                  </a:cubicBezTo>
                  <a:cubicBezTo>
                    <a:pt x="245" y="223"/>
                    <a:pt x="254" y="222"/>
                    <a:pt x="236" y="223"/>
                  </a:cubicBezTo>
                  <a:cubicBezTo>
                    <a:pt x="227" y="225"/>
                    <a:pt x="214" y="223"/>
                    <a:pt x="208" y="224"/>
                  </a:cubicBezTo>
                  <a:cubicBezTo>
                    <a:pt x="202" y="225"/>
                    <a:pt x="200" y="227"/>
                    <a:pt x="197" y="228"/>
                  </a:cubicBezTo>
                  <a:cubicBezTo>
                    <a:pt x="194" y="231"/>
                    <a:pt x="193" y="228"/>
                    <a:pt x="191" y="231"/>
                  </a:cubicBezTo>
                  <a:cubicBezTo>
                    <a:pt x="189" y="234"/>
                    <a:pt x="186" y="244"/>
                    <a:pt x="182" y="249"/>
                  </a:cubicBezTo>
                  <a:cubicBezTo>
                    <a:pt x="179" y="254"/>
                    <a:pt x="174" y="259"/>
                    <a:pt x="169" y="262"/>
                  </a:cubicBezTo>
                  <a:cubicBezTo>
                    <a:pt x="154" y="259"/>
                    <a:pt x="149" y="248"/>
                    <a:pt x="137" y="246"/>
                  </a:cubicBezTo>
                  <a:cubicBezTo>
                    <a:pt x="129" y="246"/>
                    <a:pt x="121" y="248"/>
                    <a:pt x="113" y="247"/>
                  </a:cubicBezTo>
                  <a:cubicBezTo>
                    <a:pt x="112" y="247"/>
                    <a:pt x="107" y="238"/>
                    <a:pt x="107" y="238"/>
                  </a:cubicBezTo>
                  <a:cubicBezTo>
                    <a:pt x="101" y="228"/>
                    <a:pt x="93" y="214"/>
                    <a:pt x="83" y="208"/>
                  </a:cubicBezTo>
                  <a:cubicBezTo>
                    <a:pt x="80" y="201"/>
                    <a:pt x="75" y="196"/>
                    <a:pt x="68" y="192"/>
                  </a:cubicBezTo>
                  <a:cubicBezTo>
                    <a:pt x="58" y="175"/>
                    <a:pt x="64" y="186"/>
                    <a:pt x="61" y="154"/>
                  </a:cubicBezTo>
                  <a:cubicBezTo>
                    <a:pt x="60" y="142"/>
                    <a:pt x="45" y="133"/>
                    <a:pt x="37" y="127"/>
                  </a:cubicBezTo>
                  <a:cubicBezTo>
                    <a:pt x="36" y="124"/>
                    <a:pt x="32" y="123"/>
                    <a:pt x="31" y="120"/>
                  </a:cubicBezTo>
                  <a:cubicBezTo>
                    <a:pt x="27" y="107"/>
                    <a:pt x="34" y="98"/>
                    <a:pt x="20" y="96"/>
                  </a:cubicBezTo>
                  <a:cubicBezTo>
                    <a:pt x="18" y="88"/>
                    <a:pt x="14" y="83"/>
                    <a:pt x="8" y="78"/>
                  </a:cubicBezTo>
                  <a:cubicBezTo>
                    <a:pt x="7" y="72"/>
                    <a:pt x="5" y="65"/>
                    <a:pt x="1" y="60"/>
                  </a:cubicBezTo>
                  <a:cubicBezTo>
                    <a:pt x="1" y="55"/>
                    <a:pt x="0" y="45"/>
                    <a:pt x="7" y="4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93" name="Freeform 504"/>
            <p:cNvSpPr>
              <a:spLocks/>
            </p:cNvSpPr>
            <p:nvPr>
              <p:custDataLst>
                <p:tags r:id="rId61"/>
              </p:custDataLst>
            </p:nvPr>
          </p:nvSpPr>
          <p:spPr bwMode="gray">
            <a:xfrm>
              <a:off x="3240515" y="2656334"/>
              <a:ext cx="70415" cy="70415"/>
            </a:xfrm>
            <a:custGeom>
              <a:avLst/>
              <a:gdLst>
                <a:gd name="T0" fmla="*/ 8 w 73"/>
                <a:gd name="T1" fmla="*/ 70 h 73"/>
                <a:gd name="T2" fmla="*/ 31 w 73"/>
                <a:gd name="T3" fmla="*/ 67 h 73"/>
                <a:gd name="T4" fmla="*/ 41 w 73"/>
                <a:gd name="T5" fmla="*/ 56 h 73"/>
                <a:gd name="T6" fmla="*/ 50 w 73"/>
                <a:gd name="T7" fmla="*/ 58 h 73"/>
                <a:gd name="T8" fmla="*/ 46 w 73"/>
                <a:gd name="T9" fmla="*/ 37 h 73"/>
                <a:gd name="T10" fmla="*/ 57 w 73"/>
                <a:gd name="T11" fmla="*/ 26 h 73"/>
                <a:gd name="T12" fmla="*/ 70 w 73"/>
                <a:gd name="T13" fmla="*/ 28 h 73"/>
                <a:gd name="T14" fmla="*/ 64 w 73"/>
                <a:gd name="T15" fmla="*/ 17 h 73"/>
                <a:gd name="T16" fmla="*/ 58 w 73"/>
                <a:gd name="T17" fmla="*/ 2 h 73"/>
                <a:gd name="T18" fmla="*/ 46 w 73"/>
                <a:gd name="T19" fmla="*/ 5 h 73"/>
                <a:gd name="T20" fmla="*/ 38 w 73"/>
                <a:gd name="T21" fmla="*/ 14 h 73"/>
                <a:gd name="T22" fmla="*/ 41 w 73"/>
                <a:gd name="T23" fmla="*/ 14 h 73"/>
                <a:gd name="T24" fmla="*/ 26 w 73"/>
                <a:gd name="T25" fmla="*/ 11 h 73"/>
                <a:gd name="T26" fmla="*/ 16 w 73"/>
                <a:gd name="T27" fmla="*/ 22 h 73"/>
                <a:gd name="T28" fmla="*/ 4 w 73"/>
                <a:gd name="T29" fmla="*/ 44 h 73"/>
                <a:gd name="T30" fmla="*/ 5 w 73"/>
                <a:gd name="T31" fmla="*/ 65 h 73"/>
                <a:gd name="T32" fmla="*/ 8 w 73"/>
                <a:gd name="T33" fmla="*/ 7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" h="73">
                  <a:moveTo>
                    <a:pt x="8" y="70"/>
                  </a:moveTo>
                  <a:cubicBezTo>
                    <a:pt x="22" y="64"/>
                    <a:pt x="0" y="73"/>
                    <a:pt x="31" y="67"/>
                  </a:cubicBezTo>
                  <a:cubicBezTo>
                    <a:pt x="36" y="66"/>
                    <a:pt x="38" y="57"/>
                    <a:pt x="41" y="56"/>
                  </a:cubicBezTo>
                  <a:cubicBezTo>
                    <a:pt x="44" y="55"/>
                    <a:pt x="49" y="61"/>
                    <a:pt x="50" y="58"/>
                  </a:cubicBezTo>
                  <a:cubicBezTo>
                    <a:pt x="53" y="51"/>
                    <a:pt x="51" y="43"/>
                    <a:pt x="46" y="37"/>
                  </a:cubicBezTo>
                  <a:cubicBezTo>
                    <a:pt x="47" y="32"/>
                    <a:pt x="53" y="27"/>
                    <a:pt x="57" y="26"/>
                  </a:cubicBezTo>
                  <a:cubicBezTo>
                    <a:pt x="61" y="25"/>
                    <a:pt x="69" y="29"/>
                    <a:pt x="70" y="28"/>
                  </a:cubicBezTo>
                  <a:cubicBezTo>
                    <a:pt x="73" y="24"/>
                    <a:pt x="66" y="21"/>
                    <a:pt x="64" y="17"/>
                  </a:cubicBezTo>
                  <a:cubicBezTo>
                    <a:pt x="62" y="13"/>
                    <a:pt x="61" y="4"/>
                    <a:pt x="58" y="2"/>
                  </a:cubicBezTo>
                  <a:cubicBezTo>
                    <a:pt x="55" y="0"/>
                    <a:pt x="49" y="3"/>
                    <a:pt x="46" y="5"/>
                  </a:cubicBezTo>
                  <a:cubicBezTo>
                    <a:pt x="44" y="6"/>
                    <a:pt x="39" y="12"/>
                    <a:pt x="38" y="14"/>
                  </a:cubicBezTo>
                  <a:cubicBezTo>
                    <a:pt x="37" y="17"/>
                    <a:pt x="43" y="11"/>
                    <a:pt x="41" y="14"/>
                  </a:cubicBezTo>
                  <a:cubicBezTo>
                    <a:pt x="41" y="14"/>
                    <a:pt x="27" y="12"/>
                    <a:pt x="26" y="11"/>
                  </a:cubicBezTo>
                  <a:cubicBezTo>
                    <a:pt x="21" y="14"/>
                    <a:pt x="19" y="17"/>
                    <a:pt x="16" y="22"/>
                  </a:cubicBezTo>
                  <a:cubicBezTo>
                    <a:pt x="14" y="38"/>
                    <a:pt x="18" y="42"/>
                    <a:pt x="4" y="44"/>
                  </a:cubicBezTo>
                  <a:cubicBezTo>
                    <a:pt x="4" y="51"/>
                    <a:pt x="4" y="58"/>
                    <a:pt x="5" y="65"/>
                  </a:cubicBezTo>
                  <a:cubicBezTo>
                    <a:pt x="5" y="67"/>
                    <a:pt x="8" y="70"/>
                    <a:pt x="8" y="7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94" name="Freeform 505"/>
            <p:cNvSpPr>
              <a:spLocks/>
            </p:cNvSpPr>
            <p:nvPr>
              <p:custDataLst>
                <p:tags r:id="rId62"/>
              </p:custDataLst>
            </p:nvPr>
          </p:nvSpPr>
          <p:spPr bwMode="gray">
            <a:xfrm>
              <a:off x="2581001" y="3043117"/>
              <a:ext cx="70415" cy="51571"/>
            </a:xfrm>
            <a:custGeom>
              <a:avLst/>
              <a:gdLst>
                <a:gd name="T0" fmla="*/ 51 w 73"/>
                <a:gd name="T1" fmla="*/ 17 h 53"/>
                <a:gd name="T2" fmla="*/ 47 w 73"/>
                <a:gd name="T3" fmla="*/ 11 h 53"/>
                <a:gd name="T4" fmla="*/ 36 w 73"/>
                <a:gd name="T5" fmla="*/ 11 h 53"/>
                <a:gd name="T6" fmla="*/ 18 w 73"/>
                <a:gd name="T7" fmla="*/ 0 h 53"/>
                <a:gd name="T8" fmla="*/ 7 w 73"/>
                <a:gd name="T9" fmla="*/ 11 h 53"/>
                <a:gd name="T10" fmla="*/ 1 w 73"/>
                <a:gd name="T11" fmla="*/ 23 h 53"/>
                <a:gd name="T12" fmla="*/ 15 w 73"/>
                <a:gd name="T13" fmla="*/ 27 h 53"/>
                <a:gd name="T14" fmla="*/ 27 w 73"/>
                <a:gd name="T15" fmla="*/ 35 h 53"/>
                <a:gd name="T16" fmla="*/ 43 w 73"/>
                <a:gd name="T17" fmla="*/ 49 h 53"/>
                <a:gd name="T18" fmla="*/ 55 w 73"/>
                <a:gd name="T19" fmla="*/ 53 h 53"/>
                <a:gd name="T20" fmla="*/ 55 w 73"/>
                <a:gd name="T21" fmla="*/ 31 h 53"/>
                <a:gd name="T22" fmla="*/ 51 w 73"/>
                <a:gd name="T23" fmla="*/ 1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3" h="53">
                  <a:moveTo>
                    <a:pt x="51" y="17"/>
                  </a:moveTo>
                  <a:cubicBezTo>
                    <a:pt x="50" y="15"/>
                    <a:pt x="49" y="11"/>
                    <a:pt x="47" y="11"/>
                  </a:cubicBezTo>
                  <a:cubicBezTo>
                    <a:pt x="44" y="9"/>
                    <a:pt x="41" y="13"/>
                    <a:pt x="36" y="11"/>
                  </a:cubicBezTo>
                  <a:cubicBezTo>
                    <a:pt x="31" y="9"/>
                    <a:pt x="23" y="0"/>
                    <a:pt x="18" y="0"/>
                  </a:cubicBezTo>
                  <a:cubicBezTo>
                    <a:pt x="13" y="0"/>
                    <a:pt x="10" y="7"/>
                    <a:pt x="7" y="11"/>
                  </a:cubicBezTo>
                  <a:cubicBezTo>
                    <a:pt x="7" y="12"/>
                    <a:pt x="0" y="21"/>
                    <a:pt x="1" y="23"/>
                  </a:cubicBezTo>
                  <a:cubicBezTo>
                    <a:pt x="4" y="27"/>
                    <a:pt x="11" y="25"/>
                    <a:pt x="15" y="27"/>
                  </a:cubicBezTo>
                  <a:cubicBezTo>
                    <a:pt x="19" y="29"/>
                    <a:pt x="27" y="35"/>
                    <a:pt x="27" y="35"/>
                  </a:cubicBezTo>
                  <a:cubicBezTo>
                    <a:pt x="29" y="38"/>
                    <a:pt x="40" y="47"/>
                    <a:pt x="43" y="49"/>
                  </a:cubicBezTo>
                  <a:cubicBezTo>
                    <a:pt x="47" y="51"/>
                    <a:pt x="55" y="53"/>
                    <a:pt x="55" y="53"/>
                  </a:cubicBezTo>
                  <a:cubicBezTo>
                    <a:pt x="73" y="49"/>
                    <a:pt x="65" y="38"/>
                    <a:pt x="55" y="31"/>
                  </a:cubicBezTo>
                  <a:cubicBezTo>
                    <a:pt x="52" y="22"/>
                    <a:pt x="54" y="27"/>
                    <a:pt x="51" y="1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95" name="Freeform 510"/>
            <p:cNvSpPr>
              <a:spLocks/>
            </p:cNvSpPr>
            <p:nvPr>
              <p:custDataLst>
                <p:tags r:id="rId63"/>
              </p:custDataLst>
            </p:nvPr>
          </p:nvSpPr>
          <p:spPr bwMode="gray">
            <a:xfrm>
              <a:off x="2834889" y="2379635"/>
              <a:ext cx="73390" cy="45621"/>
            </a:xfrm>
            <a:custGeom>
              <a:avLst/>
              <a:gdLst>
                <a:gd name="T0" fmla="*/ 13 w 76"/>
                <a:gd name="T1" fmla="*/ 12 h 48"/>
                <a:gd name="T2" fmla="*/ 47 w 76"/>
                <a:gd name="T3" fmla="*/ 4 h 48"/>
                <a:gd name="T4" fmla="*/ 67 w 76"/>
                <a:gd name="T5" fmla="*/ 7 h 48"/>
                <a:gd name="T6" fmla="*/ 76 w 76"/>
                <a:gd name="T7" fmla="*/ 18 h 48"/>
                <a:gd name="T8" fmla="*/ 64 w 76"/>
                <a:gd name="T9" fmla="*/ 25 h 48"/>
                <a:gd name="T10" fmla="*/ 56 w 76"/>
                <a:gd name="T11" fmla="*/ 31 h 48"/>
                <a:gd name="T12" fmla="*/ 41 w 76"/>
                <a:gd name="T13" fmla="*/ 39 h 48"/>
                <a:gd name="T14" fmla="*/ 29 w 76"/>
                <a:gd name="T15" fmla="*/ 43 h 48"/>
                <a:gd name="T16" fmla="*/ 4 w 76"/>
                <a:gd name="T17" fmla="*/ 34 h 48"/>
                <a:gd name="T18" fmla="*/ 2 w 76"/>
                <a:gd name="T19" fmla="*/ 18 h 48"/>
                <a:gd name="T20" fmla="*/ 13 w 76"/>
                <a:gd name="T21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48">
                  <a:moveTo>
                    <a:pt x="13" y="12"/>
                  </a:moveTo>
                  <a:cubicBezTo>
                    <a:pt x="37" y="4"/>
                    <a:pt x="23" y="0"/>
                    <a:pt x="47" y="4"/>
                  </a:cubicBezTo>
                  <a:cubicBezTo>
                    <a:pt x="53" y="5"/>
                    <a:pt x="70" y="1"/>
                    <a:pt x="67" y="7"/>
                  </a:cubicBezTo>
                  <a:cubicBezTo>
                    <a:pt x="72" y="9"/>
                    <a:pt x="76" y="15"/>
                    <a:pt x="76" y="18"/>
                  </a:cubicBezTo>
                  <a:cubicBezTo>
                    <a:pt x="76" y="21"/>
                    <a:pt x="67" y="23"/>
                    <a:pt x="64" y="25"/>
                  </a:cubicBezTo>
                  <a:cubicBezTo>
                    <a:pt x="61" y="27"/>
                    <a:pt x="60" y="29"/>
                    <a:pt x="56" y="31"/>
                  </a:cubicBezTo>
                  <a:cubicBezTo>
                    <a:pt x="52" y="33"/>
                    <a:pt x="45" y="37"/>
                    <a:pt x="41" y="39"/>
                  </a:cubicBezTo>
                  <a:cubicBezTo>
                    <a:pt x="37" y="41"/>
                    <a:pt x="35" y="44"/>
                    <a:pt x="29" y="43"/>
                  </a:cubicBezTo>
                  <a:cubicBezTo>
                    <a:pt x="23" y="48"/>
                    <a:pt x="9" y="38"/>
                    <a:pt x="4" y="34"/>
                  </a:cubicBezTo>
                  <a:cubicBezTo>
                    <a:pt x="0" y="30"/>
                    <a:pt x="0" y="22"/>
                    <a:pt x="2" y="18"/>
                  </a:cubicBezTo>
                  <a:cubicBezTo>
                    <a:pt x="7" y="14"/>
                    <a:pt x="18" y="17"/>
                    <a:pt x="13" y="1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96" name="Freeform 511"/>
            <p:cNvSpPr>
              <a:spLocks/>
            </p:cNvSpPr>
            <p:nvPr>
              <p:custDataLst>
                <p:tags r:id="rId64"/>
              </p:custDataLst>
            </p:nvPr>
          </p:nvSpPr>
          <p:spPr bwMode="gray">
            <a:xfrm>
              <a:off x="2789268" y="2290378"/>
              <a:ext cx="48596" cy="56530"/>
            </a:xfrm>
            <a:custGeom>
              <a:avLst/>
              <a:gdLst>
                <a:gd name="T0" fmla="*/ 20 w 51"/>
                <a:gd name="T1" fmla="*/ 5 h 59"/>
                <a:gd name="T2" fmla="*/ 47 w 51"/>
                <a:gd name="T3" fmla="*/ 17 h 59"/>
                <a:gd name="T4" fmla="*/ 50 w 51"/>
                <a:gd name="T5" fmla="*/ 29 h 59"/>
                <a:gd name="T6" fmla="*/ 48 w 51"/>
                <a:gd name="T7" fmla="*/ 59 h 59"/>
                <a:gd name="T8" fmla="*/ 26 w 51"/>
                <a:gd name="T9" fmla="*/ 39 h 59"/>
                <a:gd name="T10" fmla="*/ 6 w 51"/>
                <a:gd name="T11" fmla="*/ 25 h 59"/>
                <a:gd name="T12" fmla="*/ 10 w 51"/>
                <a:gd name="T13" fmla="*/ 7 h 59"/>
                <a:gd name="T14" fmla="*/ 12 w 51"/>
                <a:gd name="T15" fmla="*/ 1 h 59"/>
                <a:gd name="T16" fmla="*/ 22 w 51"/>
                <a:gd name="T17" fmla="*/ 3 h 59"/>
                <a:gd name="T18" fmla="*/ 28 w 51"/>
                <a:gd name="T19" fmla="*/ 5 h 59"/>
                <a:gd name="T20" fmla="*/ 20 w 51"/>
                <a:gd name="T21" fmla="*/ 5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" h="59">
                  <a:moveTo>
                    <a:pt x="20" y="5"/>
                  </a:moveTo>
                  <a:cubicBezTo>
                    <a:pt x="27" y="7"/>
                    <a:pt x="40" y="15"/>
                    <a:pt x="47" y="17"/>
                  </a:cubicBezTo>
                  <a:cubicBezTo>
                    <a:pt x="51" y="24"/>
                    <a:pt x="47" y="21"/>
                    <a:pt x="50" y="29"/>
                  </a:cubicBezTo>
                  <a:cubicBezTo>
                    <a:pt x="47" y="38"/>
                    <a:pt x="49" y="50"/>
                    <a:pt x="48" y="59"/>
                  </a:cubicBezTo>
                  <a:cubicBezTo>
                    <a:pt x="26" y="55"/>
                    <a:pt x="42" y="49"/>
                    <a:pt x="26" y="39"/>
                  </a:cubicBezTo>
                  <a:cubicBezTo>
                    <a:pt x="23" y="31"/>
                    <a:pt x="14" y="28"/>
                    <a:pt x="6" y="25"/>
                  </a:cubicBezTo>
                  <a:cubicBezTo>
                    <a:pt x="0" y="16"/>
                    <a:pt x="3" y="14"/>
                    <a:pt x="10" y="7"/>
                  </a:cubicBezTo>
                  <a:cubicBezTo>
                    <a:pt x="11" y="5"/>
                    <a:pt x="10" y="2"/>
                    <a:pt x="12" y="1"/>
                  </a:cubicBezTo>
                  <a:cubicBezTo>
                    <a:pt x="15" y="0"/>
                    <a:pt x="19" y="2"/>
                    <a:pt x="22" y="3"/>
                  </a:cubicBezTo>
                  <a:cubicBezTo>
                    <a:pt x="24" y="4"/>
                    <a:pt x="29" y="4"/>
                    <a:pt x="28" y="5"/>
                  </a:cubicBezTo>
                  <a:cubicBezTo>
                    <a:pt x="26" y="7"/>
                    <a:pt x="23" y="5"/>
                    <a:pt x="20" y="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97" name="Freeform 512"/>
            <p:cNvSpPr>
              <a:spLocks/>
            </p:cNvSpPr>
            <p:nvPr>
              <p:custDataLst>
                <p:tags r:id="rId65"/>
              </p:custDataLst>
            </p:nvPr>
          </p:nvSpPr>
          <p:spPr bwMode="gray">
            <a:xfrm>
              <a:off x="3502337" y="2480794"/>
              <a:ext cx="198350" cy="142812"/>
            </a:xfrm>
            <a:custGeom>
              <a:avLst/>
              <a:gdLst>
                <a:gd name="T0" fmla="*/ 16 w 205"/>
                <a:gd name="T1" fmla="*/ 112 h 148"/>
                <a:gd name="T2" fmla="*/ 13 w 205"/>
                <a:gd name="T3" fmla="*/ 72 h 148"/>
                <a:gd name="T4" fmla="*/ 1 w 205"/>
                <a:gd name="T5" fmla="*/ 55 h 148"/>
                <a:gd name="T6" fmla="*/ 10 w 205"/>
                <a:gd name="T7" fmla="*/ 24 h 148"/>
                <a:gd name="T8" fmla="*/ 35 w 205"/>
                <a:gd name="T9" fmla="*/ 28 h 148"/>
                <a:gd name="T10" fmla="*/ 48 w 205"/>
                <a:gd name="T11" fmla="*/ 28 h 148"/>
                <a:gd name="T12" fmla="*/ 61 w 205"/>
                <a:gd name="T13" fmla="*/ 34 h 148"/>
                <a:gd name="T14" fmla="*/ 72 w 205"/>
                <a:gd name="T15" fmla="*/ 27 h 148"/>
                <a:gd name="T16" fmla="*/ 85 w 205"/>
                <a:gd name="T17" fmla="*/ 12 h 148"/>
                <a:gd name="T18" fmla="*/ 108 w 205"/>
                <a:gd name="T19" fmla="*/ 12 h 148"/>
                <a:gd name="T20" fmla="*/ 112 w 205"/>
                <a:gd name="T21" fmla="*/ 30 h 148"/>
                <a:gd name="T22" fmla="*/ 133 w 205"/>
                <a:gd name="T23" fmla="*/ 34 h 148"/>
                <a:gd name="T24" fmla="*/ 144 w 205"/>
                <a:gd name="T25" fmla="*/ 46 h 148"/>
                <a:gd name="T26" fmla="*/ 145 w 205"/>
                <a:gd name="T27" fmla="*/ 60 h 148"/>
                <a:gd name="T28" fmla="*/ 171 w 205"/>
                <a:gd name="T29" fmla="*/ 81 h 148"/>
                <a:gd name="T30" fmla="*/ 195 w 205"/>
                <a:gd name="T31" fmla="*/ 94 h 148"/>
                <a:gd name="T32" fmla="*/ 205 w 205"/>
                <a:gd name="T33" fmla="*/ 105 h 148"/>
                <a:gd name="T34" fmla="*/ 186 w 205"/>
                <a:gd name="T35" fmla="*/ 111 h 148"/>
                <a:gd name="T36" fmla="*/ 177 w 205"/>
                <a:gd name="T37" fmla="*/ 130 h 148"/>
                <a:gd name="T38" fmla="*/ 163 w 205"/>
                <a:gd name="T39" fmla="*/ 139 h 148"/>
                <a:gd name="T40" fmla="*/ 151 w 205"/>
                <a:gd name="T41" fmla="*/ 148 h 148"/>
                <a:gd name="T42" fmla="*/ 130 w 205"/>
                <a:gd name="T43" fmla="*/ 141 h 148"/>
                <a:gd name="T44" fmla="*/ 112 w 205"/>
                <a:gd name="T45" fmla="*/ 123 h 148"/>
                <a:gd name="T46" fmla="*/ 100 w 205"/>
                <a:gd name="T47" fmla="*/ 114 h 148"/>
                <a:gd name="T48" fmla="*/ 82 w 205"/>
                <a:gd name="T49" fmla="*/ 105 h 148"/>
                <a:gd name="T50" fmla="*/ 59 w 205"/>
                <a:gd name="T51" fmla="*/ 100 h 148"/>
                <a:gd name="T52" fmla="*/ 39 w 205"/>
                <a:gd name="T53" fmla="*/ 102 h 148"/>
                <a:gd name="T54" fmla="*/ 24 w 205"/>
                <a:gd name="T55" fmla="*/ 106 h 148"/>
                <a:gd name="T56" fmla="*/ 16 w 205"/>
                <a:gd name="T57" fmla="*/ 11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05" h="148">
                  <a:moveTo>
                    <a:pt x="16" y="112"/>
                  </a:moveTo>
                  <a:cubicBezTo>
                    <a:pt x="22" y="99"/>
                    <a:pt x="21" y="83"/>
                    <a:pt x="13" y="72"/>
                  </a:cubicBezTo>
                  <a:cubicBezTo>
                    <a:pt x="12" y="65"/>
                    <a:pt x="5" y="61"/>
                    <a:pt x="1" y="55"/>
                  </a:cubicBezTo>
                  <a:cubicBezTo>
                    <a:pt x="2" y="44"/>
                    <a:pt x="0" y="31"/>
                    <a:pt x="10" y="24"/>
                  </a:cubicBezTo>
                  <a:cubicBezTo>
                    <a:pt x="16" y="20"/>
                    <a:pt x="29" y="26"/>
                    <a:pt x="35" y="28"/>
                  </a:cubicBezTo>
                  <a:cubicBezTo>
                    <a:pt x="41" y="29"/>
                    <a:pt x="44" y="27"/>
                    <a:pt x="48" y="28"/>
                  </a:cubicBezTo>
                  <a:cubicBezTo>
                    <a:pt x="56" y="30"/>
                    <a:pt x="57" y="34"/>
                    <a:pt x="61" y="34"/>
                  </a:cubicBezTo>
                  <a:cubicBezTo>
                    <a:pt x="65" y="34"/>
                    <a:pt x="68" y="31"/>
                    <a:pt x="72" y="27"/>
                  </a:cubicBezTo>
                  <a:cubicBezTo>
                    <a:pt x="73" y="11"/>
                    <a:pt x="72" y="16"/>
                    <a:pt x="85" y="12"/>
                  </a:cubicBezTo>
                  <a:cubicBezTo>
                    <a:pt x="92" y="14"/>
                    <a:pt x="101" y="9"/>
                    <a:pt x="108" y="12"/>
                  </a:cubicBezTo>
                  <a:cubicBezTo>
                    <a:pt x="118" y="25"/>
                    <a:pt x="100" y="0"/>
                    <a:pt x="112" y="30"/>
                  </a:cubicBezTo>
                  <a:cubicBezTo>
                    <a:pt x="113" y="32"/>
                    <a:pt x="130" y="34"/>
                    <a:pt x="133" y="34"/>
                  </a:cubicBezTo>
                  <a:cubicBezTo>
                    <a:pt x="137" y="38"/>
                    <a:pt x="141" y="41"/>
                    <a:pt x="144" y="46"/>
                  </a:cubicBezTo>
                  <a:cubicBezTo>
                    <a:pt x="144" y="51"/>
                    <a:pt x="143" y="56"/>
                    <a:pt x="145" y="60"/>
                  </a:cubicBezTo>
                  <a:cubicBezTo>
                    <a:pt x="146" y="62"/>
                    <a:pt x="168" y="80"/>
                    <a:pt x="171" y="81"/>
                  </a:cubicBezTo>
                  <a:cubicBezTo>
                    <a:pt x="177" y="89"/>
                    <a:pt x="185" y="92"/>
                    <a:pt x="195" y="94"/>
                  </a:cubicBezTo>
                  <a:cubicBezTo>
                    <a:pt x="200" y="98"/>
                    <a:pt x="204" y="98"/>
                    <a:pt x="205" y="105"/>
                  </a:cubicBezTo>
                  <a:cubicBezTo>
                    <a:pt x="199" y="109"/>
                    <a:pt x="193" y="109"/>
                    <a:pt x="186" y="111"/>
                  </a:cubicBezTo>
                  <a:cubicBezTo>
                    <a:pt x="175" y="118"/>
                    <a:pt x="182" y="117"/>
                    <a:pt x="177" y="130"/>
                  </a:cubicBezTo>
                  <a:cubicBezTo>
                    <a:pt x="175" y="135"/>
                    <a:pt x="163" y="139"/>
                    <a:pt x="163" y="139"/>
                  </a:cubicBezTo>
                  <a:cubicBezTo>
                    <a:pt x="159" y="145"/>
                    <a:pt x="158" y="147"/>
                    <a:pt x="151" y="148"/>
                  </a:cubicBezTo>
                  <a:cubicBezTo>
                    <a:pt x="139" y="147"/>
                    <a:pt x="139" y="146"/>
                    <a:pt x="130" y="141"/>
                  </a:cubicBezTo>
                  <a:cubicBezTo>
                    <a:pt x="128" y="131"/>
                    <a:pt x="120" y="128"/>
                    <a:pt x="112" y="123"/>
                  </a:cubicBezTo>
                  <a:cubicBezTo>
                    <a:pt x="108" y="117"/>
                    <a:pt x="107" y="115"/>
                    <a:pt x="100" y="114"/>
                  </a:cubicBezTo>
                  <a:cubicBezTo>
                    <a:pt x="94" y="110"/>
                    <a:pt x="89" y="106"/>
                    <a:pt x="82" y="105"/>
                  </a:cubicBezTo>
                  <a:cubicBezTo>
                    <a:pt x="75" y="103"/>
                    <a:pt x="66" y="100"/>
                    <a:pt x="59" y="100"/>
                  </a:cubicBezTo>
                  <a:cubicBezTo>
                    <a:pt x="52" y="100"/>
                    <a:pt x="45" y="101"/>
                    <a:pt x="39" y="102"/>
                  </a:cubicBezTo>
                  <a:cubicBezTo>
                    <a:pt x="34" y="103"/>
                    <a:pt x="29" y="105"/>
                    <a:pt x="24" y="106"/>
                  </a:cubicBezTo>
                  <a:cubicBezTo>
                    <a:pt x="17" y="109"/>
                    <a:pt x="20" y="107"/>
                    <a:pt x="16" y="11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98" name="Freeform 513"/>
            <p:cNvSpPr>
              <a:spLocks/>
            </p:cNvSpPr>
            <p:nvPr>
              <p:custDataLst>
                <p:tags r:id="rId66"/>
              </p:custDataLst>
            </p:nvPr>
          </p:nvSpPr>
          <p:spPr bwMode="gray">
            <a:xfrm>
              <a:off x="3056049" y="2134673"/>
              <a:ext cx="106118" cy="69423"/>
            </a:xfrm>
            <a:custGeom>
              <a:avLst/>
              <a:gdLst>
                <a:gd name="T0" fmla="*/ 46 w 110"/>
                <a:gd name="T1" fmla="*/ 8 h 72"/>
                <a:gd name="T2" fmla="*/ 34 w 110"/>
                <a:gd name="T3" fmla="*/ 29 h 72"/>
                <a:gd name="T4" fmla="*/ 13 w 110"/>
                <a:gd name="T5" fmla="*/ 22 h 72"/>
                <a:gd name="T6" fmla="*/ 0 w 110"/>
                <a:gd name="T7" fmla="*/ 50 h 72"/>
                <a:gd name="T8" fmla="*/ 52 w 110"/>
                <a:gd name="T9" fmla="*/ 49 h 72"/>
                <a:gd name="T10" fmla="*/ 81 w 110"/>
                <a:gd name="T11" fmla="*/ 70 h 72"/>
                <a:gd name="T12" fmla="*/ 100 w 110"/>
                <a:gd name="T13" fmla="*/ 61 h 72"/>
                <a:gd name="T14" fmla="*/ 100 w 110"/>
                <a:gd name="T15" fmla="*/ 11 h 72"/>
                <a:gd name="T16" fmla="*/ 87 w 110"/>
                <a:gd name="T17" fmla="*/ 17 h 72"/>
                <a:gd name="T18" fmla="*/ 66 w 110"/>
                <a:gd name="T19" fmla="*/ 10 h 72"/>
                <a:gd name="T20" fmla="*/ 46 w 110"/>
                <a:gd name="T21" fmla="*/ 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0" h="72">
                  <a:moveTo>
                    <a:pt x="46" y="8"/>
                  </a:moveTo>
                  <a:cubicBezTo>
                    <a:pt x="45" y="21"/>
                    <a:pt x="47" y="26"/>
                    <a:pt x="34" y="29"/>
                  </a:cubicBezTo>
                  <a:cubicBezTo>
                    <a:pt x="26" y="28"/>
                    <a:pt x="21" y="23"/>
                    <a:pt x="13" y="22"/>
                  </a:cubicBezTo>
                  <a:cubicBezTo>
                    <a:pt x="0" y="15"/>
                    <a:pt x="7" y="40"/>
                    <a:pt x="0" y="50"/>
                  </a:cubicBezTo>
                  <a:cubicBezTo>
                    <a:pt x="6" y="56"/>
                    <a:pt x="35" y="47"/>
                    <a:pt x="52" y="49"/>
                  </a:cubicBezTo>
                  <a:cubicBezTo>
                    <a:pt x="65" y="52"/>
                    <a:pt x="73" y="68"/>
                    <a:pt x="81" y="70"/>
                  </a:cubicBezTo>
                  <a:cubicBezTo>
                    <a:pt x="89" y="72"/>
                    <a:pt x="97" y="71"/>
                    <a:pt x="100" y="61"/>
                  </a:cubicBezTo>
                  <a:cubicBezTo>
                    <a:pt x="109" y="46"/>
                    <a:pt x="110" y="27"/>
                    <a:pt x="100" y="11"/>
                  </a:cubicBezTo>
                  <a:cubicBezTo>
                    <a:pt x="95" y="13"/>
                    <a:pt x="91" y="14"/>
                    <a:pt x="87" y="17"/>
                  </a:cubicBezTo>
                  <a:cubicBezTo>
                    <a:pt x="77" y="16"/>
                    <a:pt x="73" y="17"/>
                    <a:pt x="66" y="10"/>
                  </a:cubicBezTo>
                  <a:cubicBezTo>
                    <a:pt x="62" y="0"/>
                    <a:pt x="55" y="5"/>
                    <a:pt x="46" y="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99" name="Freeform 514"/>
            <p:cNvSpPr>
              <a:spLocks/>
            </p:cNvSpPr>
            <p:nvPr>
              <p:custDataLst>
                <p:tags r:id="rId67"/>
              </p:custDataLst>
            </p:nvPr>
          </p:nvSpPr>
          <p:spPr bwMode="gray">
            <a:xfrm>
              <a:off x="3051091" y="2182277"/>
              <a:ext cx="83307" cy="60497"/>
            </a:xfrm>
            <a:custGeom>
              <a:avLst/>
              <a:gdLst>
                <a:gd name="T0" fmla="*/ 8 w 86"/>
                <a:gd name="T1" fmla="*/ 4 h 63"/>
                <a:gd name="T2" fmla="*/ 5 w 86"/>
                <a:gd name="T3" fmla="*/ 25 h 63"/>
                <a:gd name="T4" fmla="*/ 26 w 86"/>
                <a:gd name="T5" fmla="*/ 45 h 63"/>
                <a:gd name="T6" fmla="*/ 30 w 86"/>
                <a:gd name="T7" fmla="*/ 58 h 63"/>
                <a:gd name="T8" fmla="*/ 47 w 86"/>
                <a:gd name="T9" fmla="*/ 63 h 63"/>
                <a:gd name="T10" fmla="*/ 66 w 86"/>
                <a:gd name="T11" fmla="*/ 58 h 63"/>
                <a:gd name="T12" fmla="*/ 72 w 86"/>
                <a:gd name="T13" fmla="*/ 46 h 63"/>
                <a:gd name="T14" fmla="*/ 86 w 86"/>
                <a:gd name="T15" fmla="*/ 28 h 63"/>
                <a:gd name="T16" fmla="*/ 78 w 86"/>
                <a:gd name="T17" fmla="*/ 16 h 63"/>
                <a:gd name="T18" fmla="*/ 63 w 86"/>
                <a:gd name="T19" fmla="*/ 3 h 63"/>
                <a:gd name="T20" fmla="*/ 41 w 86"/>
                <a:gd name="T21" fmla="*/ 1 h 63"/>
                <a:gd name="T22" fmla="*/ 8 w 86"/>
                <a:gd name="T23" fmla="*/ 4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" h="63">
                  <a:moveTo>
                    <a:pt x="8" y="4"/>
                  </a:moveTo>
                  <a:cubicBezTo>
                    <a:pt x="0" y="7"/>
                    <a:pt x="2" y="18"/>
                    <a:pt x="5" y="25"/>
                  </a:cubicBezTo>
                  <a:cubicBezTo>
                    <a:pt x="8" y="32"/>
                    <a:pt x="22" y="40"/>
                    <a:pt x="26" y="45"/>
                  </a:cubicBezTo>
                  <a:cubicBezTo>
                    <a:pt x="31" y="51"/>
                    <a:pt x="24" y="54"/>
                    <a:pt x="30" y="58"/>
                  </a:cubicBezTo>
                  <a:cubicBezTo>
                    <a:pt x="33" y="61"/>
                    <a:pt x="41" y="63"/>
                    <a:pt x="47" y="63"/>
                  </a:cubicBezTo>
                  <a:cubicBezTo>
                    <a:pt x="53" y="63"/>
                    <a:pt x="62" y="61"/>
                    <a:pt x="66" y="58"/>
                  </a:cubicBezTo>
                  <a:cubicBezTo>
                    <a:pt x="70" y="56"/>
                    <a:pt x="71" y="50"/>
                    <a:pt x="72" y="46"/>
                  </a:cubicBezTo>
                  <a:cubicBezTo>
                    <a:pt x="73" y="40"/>
                    <a:pt x="83" y="33"/>
                    <a:pt x="86" y="28"/>
                  </a:cubicBezTo>
                  <a:cubicBezTo>
                    <a:pt x="83" y="22"/>
                    <a:pt x="84" y="20"/>
                    <a:pt x="78" y="16"/>
                  </a:cubicBezTo>
                  <a:cubicBezTo>
                    <a:pt x="74" y="11"/>
                    <a:pt x="68" y="6"/>
                    <a:pt x="63" y="3"/>
                  </a:cubicBezTo>
                  <a:cubicBezTo>
                    <a:pt x="57" y="1"/>
                    <a:pt x="50" y="0"/>
                    <a:pt x="41" y="1"/>
                  </a:cubicBezTo>
                  <a:cubicBezTo>
                    <a:pt x="32" y="1"/>
                    <a:pt x="15" y="3"/>
                    <a:pt x="8" y="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00" name="Freeform 515"/>
            <p:cNvSpPr>
              <a:spLocks/>
            </p:cNvSpPr>
            <p:nvPr>
              <p:custDataLst>
                <p:tags r:id="rId68"/>
              </p:custDataLst>
            </p:nvPr>
          </p:nvSpPr>
          <p:spPr bwMode="gray">
            <a:xfrm>
              <a:off x="3083818" y="2192194"/>
              <a:ext cx="123969" cy="113060"/>
            </a:xfrm>
            <a:custGeom>
              <a:avLst/>
              <a:gdLst>
                <a:gd name="T0" fmla="*/ 11 w 128"/>
                <a:gd name="T1" fmla="*/ 54 h 117"/>
                <a:gd name="T2" fmla="*/ 2 w 128"/>
                <a:gd name="T3" fmla="*/ 92 h 117"/>
                <a:gd name="T4" fmla="*/ 10 w 128"/>
                <a:gd name="T5" fmla="*/ 114 h 117"/>
                <a:gd name="T6" fmla="*/ 22 w 128"/>
                <a:gd name="T7" fmla="*/ 110 h 117"/>
                <a:gd name="T8" fmla="*/ 61 w 128"/>
                <a:gd name="T9" fmla="*/ 110 h 117"/>
                <a:gd name="T10" fmla="*/ 83 w 128"/>
                <a:gd name="T11" fmla="*/ 114 h 117"/>
                <a:gd name="T12" fmla="*/ 107 w 128"/>
                <a:gd name="T13" fmla="*/ 109 h 117"/>
                <a:gd name="T14" fmla="*/ 118 w 128"/>
                <a:gd name="T15" fmla="*/ 102 h 117"/>
                <a:gd name="T16" fmla="*/ 124 w 128"/>
                <a:gd name="T17" fmla="*/ 84 h 117"/>
                <a:gd name="T18" fmla="*/ 122 w 128"/>
                <a:gd name="T19" fmla="*/ 68 h 117"/>
                <a:gd name="T20" fmla="*/ 119 w 128"/>
                <a:gd name="T21" fmla="*/ 51 h 117"/>
                <a:gd name="T22" fmla="*/ 104 w 128"/>
                <a:gd name="T23" fmla="*/ 23 h 117"/>
                <a:gd name="T24" fmla="*/ 91 w 128"/>
                <a:gd name="T25" fmla="*/ 6 h 117"/>
                <a:gd name="T26" fmla="*/ 74 w 128"/>
                <a:gd name="T27" fmla="*/ 2 h 117"/>
                <a:gd name="T28" fmla="*/ 56 w 128"/>
                <a:gd name="T29" fmla="*/ 15 h 117"/>
                <a:gd name="T30" fmla="*/ 44 w 128"/>
                <a:gd name="T31" fmla="*/ 26 h 117"/>
                <a:gd name="T32" fmla="*/ 41 w 128"/>
                <a:gd name="T33" fmla="*/ 37 h 117"/>
                <a:gd name="T34" fmla="*/ 35 w 128"/>
                <a:gd name="T35" fmla="*/ 48 h 117"/>
                <a:gd name="T36" fmla="*/ 23 w 128"/>
                <a:gd name="T37" fmla="*/ 53 h 117"/>
                <a:gd name="T38" fmla="*/ 11 w 128"/>
                <a:gd name="T39" fmla="*/ 54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8" h="117">
                  <a:moveTo>
                    <a:pt x="11" y="54"/>
                  </a:moveTo>
                  <a:cubicBezTo>
                    <a:pt x="8" y="67"/>
                    <a:pt x="14" y="85"/>
                    <a:pt x="2" y="92"/>
                  </a:cubicBezTo>
                  <a:cubicBezTo>
                    <a:pt x="2" y="100"/>
                    <a:pt x="0" y="111"/>
                    <a:pt x="10" y="114"/>
                  </a:cubicBezTo>
                  <a:cubicBezTo>
                    <a:pt x="13" y="117"/>
                    <a:pt x="14" y="111"/>
                    <a:pt x="22" y="110"/>
                  </a:cubicBezTo>
                  <a:cubicBezTo>
                    <a:pt x="30" y="109"/>
                    <a:pt x="51" y="109"/>
                    <a:pt x="61" y="110"/>
                  </a:cubicBezTo>
                  <a:cubicBezTo>
                    <a:pt x="68" y="114"/>
                    <a:pt x="76" y="109"/>
                    <a:pt x="83" y="114"/>
                  </a:cubicBezTo>
                  <a:cubicBezTo>
                    <a:pt x="91" y="114"/>
                    <a:pt x="101" y="111"/>
                    <a:pt x="107" y="109"/>
                  </a:cubicBezTo>
                  <a:cubicBezTo>
                    <a:pt x="113" y="107"/>
                    <a:pt x="115" y="106"/>
                    <a:pt x="118" y="102"/>
                  </a:cubicBezTo>
                  <a:cubicBezTo>
                    <a:pt x="119" y="94"/>
                    <a:pt x="128" y="89"/>
                    <a:pt x="124" y="84"/>
                  </a:cubicBezTo>
                  <a:cubicBezTo>
                    <a:pt x="122" y="76"/>
                    <a:pt x="118" y="75"/>
                    <a:pt x="122" y="68"/>
                  </a:cubicBezTo>
                  <a:cubicBezTo>
                    <a:pt x="119" y="62"/>
                    <a:pt x="121" y="57"/>
                    <a:pt x="119" y="51"/>
                  </a:cubicBezTo>
                  <a:cubicBezTo>
                    <a:pt x="117" y="40"/>
                    <a:pt x="116" y="25"/>
                    <a:pt x="104" y="23"/>
                  </a:cubicBezTo>
                  <a:cubicBezTo>
                    <a:pt x="98" y="19"/>
                    <a:pt x="91" y="6"/>
                    <a:pt x="91" y="6"/>
                  </a:cubicBezTo>
                  <a:cubicBezTo>
                    <a:pt x="87" y="0"/>
                    <a:pt x="81" y="3"/>
                    <a:pt x="74" y="2"/>
                  </a:cubicBezTo>
                  <a:cubicBezTo>
                    <a:pt x="67" y="6"/>
                    <a:pt x="64" y="14"/>
                    <a:pt x="56" y="15"/>
                  </a:cubicBezTo>
                  <a:cubicBezTo>
                    <a:pt x="53" y="20"/>
                    <a:pt x="47" y="21"/>
                    <a:pt x="44" y="26"/>
                  </a:cubicBezTo>
                  <a:cubicBezTo>
                    <a:pt x="42" y="30"/>
                    <a:pt x="42" y="33"/>
                    <a:pt x="41" y="37"/>
                  </a:cubicBezTo>
                  <a:cubicBezTo>
                    <a:pt x="40" y="41"/>
                    <a:pt x="38" y="45"/>
                    <a:pt x="35" y="48"/>
                  </a:cubicBezTo>
                  <a:cubicBezTo>
                    <a:pt x="26" y="47"/>
                    <a:pt x="27" y="52"/>
                    <a:pt x="23" y="53"/>
                  </a:cubicBezTo>
                  <a:cubicBezTo>
                    <a:pt x="19" y="54"/>
                    <a:pt x="13" y="54"/>
                    <a:pt x="11" y="5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01" name="Freeform 516"/>
            <p:cNvSpPr>
              <a:spLocks/>
            </p:cNvSpPr>
            <p:nvPr>
              <p:custDataLst>
                <p:tags r:id="rId69"/>
              </p:custDataLst>
            </p:nvPr>
          </p:nvSpPr>
          <p:spPr bwMode="gray">
            <a:xfrm>
              <a:off x="2832905" y="2228889"/>
              <a:ext cx="124961" cy="160664"/>
            </a:xfrm>
            <a:custGeom>
              <a:avLst/>
              <a:gdLst>
                <a:gd name="T0" fmla="*/ 3 w 129"/>
                <a:gd name="T1" fmla="*/ 127 h 167"/>
                <a:gd name="T2" fmla="*/ 4 w 129"/>
                <a:gd name="T3" fmla="*/ 109 h 167"/>
                <a:gd name="T4" fmla="*/ 3 w 129"/>
                <a:gd name="T5" fmla="*/ 88 h 167"/>
                <a:gd name="T6" fmla="*/ 7 w 129"/>
                <a:gd name="T7" fmla="*/ 69 h 167"/>
                <a:gd name="T8" fmla="*/ 15 w 129"/>
                <a:gd name="T9" fmla="*/ 52 h 167"/>
                <a:gd name="T10" fmla="*/ 24 w 129"/>
                <a:gd name="T11" fmla="*/ 28 h 167"/>
                <a:gd name="T12" fmla="*/ 52 w 129"/>
                <a:gd name="T13" fmla="*/ 22 h 167"/>
                <a:gd name="T14" fmla="*/ 57 w 129"/>
                <a:gd name="T15" fmla="*/ 0 h 167"/>
                <a:gd name="T16" fmla="*/ 75 w 129"/>
                <a:gd name="T17" fmla="*/ 13 h 167"/>
                <a:gd name="T18" fmla="*/ 87 w 129"/>
                <a:gd name="T19" fmla="*/ 21 h 167"/>
                <a:gd name="T20" fmla="*/ 114 w 129"/>
                <a:gd name="T21" fmla="*/ 13 h 167"/>
                <a:gd name="T22" fmla="*/ 123 w 129"/>
                <a:gd name="T23" fmla="*/ 27 h 167"/>
                <a:gd name="T24" fmla="*/ 129 w 129"/>
                <a:gd name="T25" fmla="*/ 58 h 167"/>
                <a:gd name="T26" fmla="*/ 126 w 129"/>
                <a:gd name="T27" fmla="*/ 88 h 167"/>
                <a:gd name="T28" fmla="*/ 111 w 129"/>
                <a:gd name="T29" fmla="*/ 100 h 167"/>
                <a:gd name="T30" fmla="*/ 97 w 129"/>
                <a:gd name="T31" fmla="*/ 108 h 167"/>
                <a:gd name="T32" fmla="*/ 97 w 129"/>
                <a:gd name="T33" fmla="*/ 120 h 167"/>
                <a:gd name="T34" fmla="*/ 111 w 129"/>
                <a:gd name="T35" fmla="*/ 129 h 167"/>
                <a:gd name="T36" fmla="*/ 103 w 129"/>
                <a:gd name="T37" fmla="*/ 156 h 167"/>
                <a:gd name="T38" fmla="*/ 96 w 129"/>
                <a:gd name="T39" fmla="*/ 165 h 167"/>
                <a:gd name="T40" fmla="*/ 76 w 129"/>
                <a:gd name="T41" fmla="*/ 166 h 167"/>
                <a:gd name="T42" fmla="*/ 28 w 129"/>
                <a:gd name="T43" fmla="*/ 159 h 167"/>
                <a:gd name="T44" fmla="*/ 30 w 129"/>
                <a:gd name="T45" fmla="*/ 141 h 167"/>
                <a:gd name="T46" fmla="*/ 16 w 129"/>
                <a:gd name="T47" fmla="*/ 129 h 167"/>
                <a:gd name="T48" fmla="*/ 3 w 129"/>
                <a:gd name="T49" fmla="*/ 12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9" h="167">
                  <a:moveTo>
                    <a:pt x="3" y="127"/>
                  </a:moveTo>
                  <a:cubicBezTo>
                    <a:pt x="0" y="123"/>
                    <a:pt x="3" y="119"/>
                    <a:pt x="4" y="109"/>
                  </a:cubicBezTo>
                  <a:cubicBezTo>
                    <a:pt x="4" y="103"/>
                    <a:pt x="2" y="95"/>
                    <a:pt x="3" y="88"/>
                  </a:cubicBezTo>
                  <a:cubicBezTo>
                    <a:pt x="4" y="81"/>
                    <a:pt x="5" y="75"/>
                    <a:pt x="7" y="69"/>
                  </a:cubicBezTo>
                  <a:cubicBezTo>
                    <a:pt x="8" y="59"/>
                    <a:pt x="10" y="58"/>
                    <a:pt x="15" y="52"/>
                  </a:cubicBezTo>
                  <a:cubicBezTo>
                    <a:pt x="18" y="45"/>
                    <a:pt x="18" y="33"/>
                    <a:pt x="24" y="28"/>
                  </a:cubicBezTo>
                  <a:cubicBezTo>
                    <a:pt x="28" y="17"/>
                    <a:pt x="39" y="24"/>
                    <a:pt x="52" y="22"/>
                  </a:cubicBezTo>
                  <a:cubicBezTo>
                    <a:pt x="54" y="14"/>
                    <a:pt x="46" y="2"/>
                    <a:pt x="57" y="0"/>
                  </a:cubicBezTo>
                  <a:cubicBezTo>
                    <a:pt x="70" y="1"/>
                    <a:pt x="68" y="4"/>
                    <a:pt x="75" y="13"/>
                  </a:cubicBezTo>
                  <a:cubicBezTo>
                    <a:pt x="77" y="22"/>
                    <a:pt x="78" y="22"/>
                    <a:pt x="87" y="21"/>
                  </a:cubicBezTo>
                  <a:cubicBezTo>
                    <a:pt x="95" y="8"/>
                    <a:pt x="92" y="12"/>
                    <a:pt x="114" y="13"/>
                  </a:cubicBezTo>
                  <a:cubicBezTo>
                    <a:pt x="115" y="20"/>
                    <a:pt x="120" y="20"/>
                    <a:pt x="123" y="27"/>
                  </a:cubicBezTo>
                  <a:cubicBezTo>
                    <a:pt x="124" y="37"/>
                    <a:pt x="124" y="49"/>
                    <a:pt x="129" y="58"/>
                  </a:cubicBezTo>
                  <a:cubicBezTo>
                    <a:pt x="129" y="69"/>
                    <a:pt x="129" y="81"/>
                    <a:pt x="126" y="88"/>
                  </a:cubicBezTo>
                  <a:cubicBezTo>
                    <a:pt x="123" y="95"/>
                    <a:pt x="116" y="97"/>
                    <a:pt x="111" y="100"/>
                  </a:cubicBezTo>
                  <a:cubicBezTo>
                    <a:pt x="104" y="105"/>
                    <a:pt x="102" y="100"/>
                    <a:pt x="97" y="108"/>
                  </a:cubicBezTo>
                  <a:cubicBezTo>
                    <a:pt x="96" y="111"/>
                    <a:pt x="95" y="116"/>
                    <a:pt x="97" y="120"/>
                  </a:cubicBezTo>
                  <a:cubicBezTo>
                    <a:pt x="99" y="124"/>
                    <a:pt x="110" y="123"/>
                    <a:pt x="111" y="129"/>
                  </a:cubicBezTo>
                  <a:cubicBezTo>
                    <a:pt x="113" y="142"/>
                    <a:pt x="108" y="145"/>
                    <a:pt x="103" y="156"/>
                  </a:cubicBezTo>
                  <a:cubicBezTo>
                    <a:pt x="100" y="162"/>
                    <a:pt x="100" y="163"/>
                    <a:pt x="96" y="165"/>
                  </a:cubicBezTo>
                  <a:cubicBezTo>
                    <a:pt x="92" y="167"/>
                    <a:pt x="87" y="167"/>
                    <a:pt x="76" y="166"/>
                  </a:cubicBezTo>
                  <a:cubicBezTo>
                    <a:pt x="60" y="154"/>
                    <a:pt x="59" y="160"/>
                    <a:pt x="28" y="159"/>
                  </a:cubicBezTo>
                  <a:cubicBezTo>
                    <a:pt x="20" y="155"/>
                    <a:pt x="32" y="146"/>
                    <a:pt x="30" y="141"/>
                  </a:cubicBezTo>
                  <a:cubicBezTo>
                    <a:pt x="28" y="136"/>
                    <a:pt x="20" y="131"/>
                    <a:pt x="16" y="129"/>
                  </a:cubicBezTo>
                  <a:cubicBezTo>
                    <a:pt x="11" y="126"/>
                    <a:pt x="3" y="131"/>
                    <a:pt x="3" y="12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02" name="Freeform 517"/>
            <p:cNvSpPr>
              <a:spLocks/>
            </p:cNvSpPr>
            <p:nvPr>
              <p:custDataLst>
                <p:tags r:id="rId70"/>
              </p:custDataLst>
            </p:nvPr>
          </p:nvSpPr>
          <p:spPr bwMode="gray">
            <a:xfrm>
              <a:off x="2806128" y="2245749"/>
              <a:ext cx="54547" cy="61489"/>
            </a:xfrm>
            <a:custGeom>
              <a:avLst/>
              <a:gdLst>
                <a:gd name="T0" fmla="*/ 7 w 56"/>
                <a:gd name="T1" fmla="*/ 52 h 63"/>
                <a:gd name="T2" fmla="*/ 10 w 56"/>
                <a:gd name="T3" fmla="*/ 35 h 63"/>
                <a:gd name="T4" fmla="*/ 14 w 56"/>
                <a:gd name="T5" fmla="*/ 17 h 63"/>
                <a:gd name="T6" fmla="*/ 50 w 56"/>
                <a:gd name="T7" fmla="*/ 9 h 63"/>
                <a:gd name="T8" fmla="*/ 44 w 56"/>
                <a:gd name="T9" fmla="*/ 27 h 63"/>
                <a:gd name="T10" fmla="*/ 38 w 56"/>
                <a:gd name="T11" fmla="*/ 46 h 63"/>
                <a:gd name="T12" fmla="*/ 28 w 56"/>
                <a:gd name="T13" fmla="*/ 63 h 63"/>
                <a:gd name="T14" fmla="*/ 7 w 56"/>
                <a:gd name="T15" fmla="*/ 5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63">
                  <a:moveTo>
                    <a:pt x="7" y="52"/>
                  </a:moveTo>
                  <a:cubicBezTo>
                    <a:pt x="12" y="38"/>
                    <a:pt x="0" y="41"/>
                    <a:pt x="10" y="35"/>
                  </a:cubicBezTo>
                  <a:cubicBezTo>
                    <a:pt x="15" y="28"/>
                    <a:pt x="17" y="25"/>
                    <a:pt x="14" y="17"/>
                  </a:cubicBezTo>
                  <a:cubicBezTo>
                    <a:pt x="20" y="0"/>
                    <a:pt x="32" y="8"/>
                    <a:pt x="50" y="9"/>
                  </a:cubicBezTo>
                  <a:cubicBezTo>
                    <a:pt x="56" y="11"/>
                    <a:pt x="46" y="21"/>
                    <a:pt x="44" y="27"/>
                  </a:cubicBezTo>
                  <a:cubicBezTo>
                    <a:pt x="42" y="33"/>
                    <a:pt x="33" y="40"/>
                    <a:pt x="38" y="46"/>
                  </a:cubicBezTo>
                  <a:cubicBezTo>
                    <a:pt x="33" y="54"/>
                    <a:pt x="37" y="60"/>
                    <a:pt x="28" y="63"/>
                  </a:cubicBezTo>
                  <a:cubicBezTo>
                    <a:pt x="18" y="60"/>
                    <a:pt x="14" y="59"/>
                    <a:pt x="7" y="5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03" name="Freeform 519"/>
            <p:cNvSpPr>
              <a:spLocks/>
            </p:cNvSpPr>
            <p:nvPr>
              <p:custDataLst>
                <p:tags r:id="rId71"/>
              </p:custDataLst>
            </p:nvPr>
          </p:nvSpPr>
          <p:spPr bwMode="gray">
            <a:xfrm>
              <a:off x="3028063" y="2507521"/>
              <a:ext cx="94433" cy="110338"/>
            </a:xfrm>
            <a:custGeom>
              <a:avLst/>
              <a:gdLst/>
              <a:ahLst/>
              <a:cxnLst/>
              <a:rect l="l" t="t" r="r" b="b"/>
              <a:pathLst>
                <a:path w="151160" h="176619">
                  <a:moveTo>
                    <a:pt x="89546" y="145463"/>
                  </a:moveTo>
                  <a:cubicBezTo>
                    <a:pt x="123434" y="150106"/>
                    <a:pt x="109571" y="162485"/>
                    <a:pt x="151160" y="167128"/>
                  </a:cubicBezTo>
                  <a:cubicBezTo>
                    <a:pt x="131136" y="181055"/>
                    <a:pt x="128055" y="176413"/>
                    <a:pt x="98788" y="173318"/>
                  </a:cubicBezTo>
                  <a:cubicBezTo>
                    <a:pt x="88006" y="165580"/>
                    <a:pt x="81844" y="167128"/>
                    <a:pt x="77223" y="154748"/>
                  </a:cubicBezTo>
                  <a:cubicBezTo>
                    <a:pt x="88006" y="151653"/>
                    <a:pt x="84925" y="154748"/>
                    <a:pt x="89546" y="145463"/>
                  </a:cubicBezTo>
                  <a:close/>
                  <a:moveTo>
                    <a:pt x="108031" y="0"/>
                  </a:moveTo>
                  <a:cubicBezTo>
                    <a:pt x="92627" y="15475"/>
                    <a:pt x="106490" y="-3095"/>
                    <a:pt x="111111" y="12380"/>
                  </a:cubicBezTo>
                  <a:cubicBezTo>
                    <a:pt x="106490" y="29402"/>
                    <a:pt x="64900" y="44877"/>
                    <a:pt x="54118" y="63446"/>
                  </a:cubicBezTo>
                  <a:cubicBezTo>
                    <a:pt x="44876" y="78921"/>
                    <a:pt x="55658" y="100586"/>
                    <a:pt x="54118" y="109871"/>
                  </a:cubicBezTo>
                  <a:cubicBezTo>
                    <a:pt x="52578" y="119155"/>
                    <a:pt x="47957" y="126893"/>
                    <a:pt x="40255" y="117608"/>
                  </a:cubicBezTo>
                  <a:cubicBezTo>
                    <a:pt x="12529" y="99038"/>
                    <a:pt x="9448" y="89753"/>
                    <a:pt x="3286" y="55709"/>
                  </a:cubicBezTo>
                  <a:cubicBezTo>
                    <a:pt x="1746" y="49519"/>
                    <a:pt x="-179" y="47585"/>
                    <a:pt x="13" y="46618"/>
                  </a:cubicBezTo>
                  <a:lnTo>
                    <a:pt x="9448" y="43329"/>
                  </a:lnTo>
                  <a:cubicBezTo>
                    <a:pt x="15609" y="41782"/>
                    <a:pt x="29472" y="49519"/>
                    <a:pt x="37174" y="44877"/>
                  </a:cubicBezTo>
                  <a:cubicBezTo>
                    <a:pt x="44876" y="40234"/>
                    <a:pt x="52578" y="18570"/>
                    <a:pt x="58739" y="13927"/>
                  </a:cubicBezTo>
                  <a:cubicBezTo>
                    <a:pt x="58739" y="13927"/>
                    <a:pt x="64900" y="9285"/>
                    <a:pt x="71062" y="6190"/>
                  </a:cubicBezTo>
                  <a:cubicBezTo>
                    <a:pt x="81845" y="0"/>
                    <a:pt x="95708" y="4642"/>
                    <a:pt x="108031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04" name="Freeform 521"/>
            <p:cNvSpPr>
              <a:spLocks/>
            </p:cNvSpPr>
            <p:nvPr>
              <p:custDataLst>
                <p:tags r:id="rId72"/>
              </p:custDataLst>
            </p:nvPr>
          </p:nvSpPr>
          <p:spPr bwMode="gray">
            <a:xfrm>
              <a:off x="3713581" y="2526415"/>
              <a:ext cx="117027" cy="77357"/>
            </a:xfrm>
            <a:custGeom>
              <a:avLst/>
              <a:gdLst>
                <a:gd name="T0" fmla="*/ 98 w 121"/>
                <a:gd name="T1" fmla="*/ 26 h 81"/>
                <a:gd name="T2" fmla="*/ 98 w 121"/>
                <a:gd name="T3" fmla="*/ 40 h 81"/>
                <a:gd name="T4" fmla="*/ 109 w 121"/>
                <a:gd name="T5" fmla="*/ 34 h 81"/>
                <a:gd name="T6" fmla="*/ 113 w 121"/>
                <a:gd name="T7" fmla="*/ 46 h 81"/>
                <a:gd name="T8" fmla="*/ 119 w 121"/>
                <a:gd name="T9" fmla="*/ 62 h 81"/>
                <a:gd name="T10" fmla="*/ 101 w 121"/>
                <a:gd name="T11" fmla="*/ 68 h 81"/>
                <a:gd name="T12" fmla="*/ 80 w 121"/>
                <a:gd name="T13" fmla="*/ 74 h 81"/>
                <a:gd name="T14" fmla="*/ 64 w 121"/>
                <a:gd name="T15" fmla="*/ 77 h 81"/>
                <a:gd name="T16" fmla="*/ 62 w 121"/>
                <a:gd name="T17" fmla="*/ 52 h 81"/>
                <a:gd name="T18" fmla="*/ 58 w 121"/>
                <a:gd name="T19" fmla="*/ 40 h 81"/>
                <a:gd name="T20" fmla="*/ 44 w 121"/>
                <a:gd name="T21" fmla="*/ 58 h 81"/>
                <a:gd name="T22" fmla="*/ 32 w 121"/>
                <a:gd name="T23" fmla="*/ 64 h 81"/>
                <a:gd name="T24" fmla="*/ 11 w 121"/>
                <a:gd name="T25" fmla="*/ 67 h 81"/>
                <a:gd name="T26" fmla="*/ 8 w 121"/>
                <a:gd name="T27" fmla="*/ 53 h 81"/>
                <a:gd name="T28" fmla="*/ 8 w 121"/>
                <a:gd name="T29" fmla="*/ 39 h 81"/>
                <a:gd name="T30" fmla="*/ 2 w 121"/>
                <a:gd name="T31" fmla="*/ 25 h 81"/>
                <a:gd name="T32" fmla="*/ 20 w 121"/>
                <a:gd name="T33" fmla="*/ 11 h 81"/>
                <a:gd name="T34" fmla="*/ 28 w 121"/>
                <a:gd name="T35" fmla="*/ 1 h 81"/>
                <a:gd name="T36" fmla="*/ 37 w 121"/>
                <a:gd name="T37" fmla="*/ 4 h 81"/>
                <a:gd name="T38" fmla="*/ 50 w 121"/>
                <a:gd name="T39" fmla="*/ 19 h 81"/>
                <a:gd name="T40" fmla="*/ 52 w 121"/>
                <a:gd name="T41" fmla="*/ 32 h 81"/>
                <a:gd name="T42" fmla="*/ 58 w 121"/>
                <a:gd name="T43" fmla="*/ 23 h 81"/>
                <a:gd name="T44" fmla="*/ 79 w 121"/>
                <a:gd name="T45" fmla="*/ 26 h 81"/>
                <a:gd name="T46" fmla="*/ 98 w 121"/>
                <a:gd name="T47" fmla="*/ 2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21" h="81">
                  <a:moveTo>
                    <a:pt x="98" y="26"/>
                  </a:moveTo>
                  <a:cubicBezTo>
                    <a:pt x="101" y="28"/>
                    <a:pt x="96" y="39"/>
                    <a:pt x="98" y="40"/>
                  </a:cubicBezTo>
                  <a:cubicBezTo>
                    <a:pt x="100" y="41"/>
                    <a:pt x="107" y="33"/>
                    <a:pt x="109" y="34"/>
                  </a:cubicBezTo>
                  <a:cubicBezTo>
                    <a:pt x="111" y="35"/>
                    <a:pt x="111" y="41"/>
                    <a:pt x="113" y="46"/>
                  </a:cubicBezTo>
                  <a:cubicBezTo>
                    <a:pt x="115" y="51"/>
                    <a:pt x="121" y="58"/>
                    <a:pt x="119" y="62"/>
                  </a:cubicBezTo>
                  <a:cubicBezTo>
                    <a:pt x="117" y="66"/>
                    <a:pt x="107" y="66"/>
                    <a:pt x="101" y="68"/>
                  </a:cubicBezTo>
                  <a:cubicBezTo>
                    <a:pt x="95" y="70"/>
                    <a:pt x="86" y="73"/>
                    <a:pt x="80" y="74"/>
                  </a:cubicBezTo>
                  <a:cubicBezTo>
                    <a:pt x="74" y="75"/>
                    <a:pt x="67" y="81"/>
                    <a:pt x="64" y="77"/>
                  </a:cubicBezTo>
                  <a:cubicBezTo>
                    <a:pt x="61" y="73"/>
                    <a:pt x="63" y="58"/>
                    <a:pt x="62" y="52"/>
                  </a:cubicBezTo>
                  <a:cubicBezTo>
                    <a:pt x="61" y="46"/>
                    <a:pt x="61" y="39"/>
                    <a:pt x="58" y="40"/>
                  </a:cubicBezTo>
                  <a:cubicBezTo>
                    <a:pt x="55" y="41"/>
                    <a:pt x="48" y="54"/>
                    <a:pt x="44" y="58"/>
                  </a:cubicBezTo>
                  <a:cubicBezTo>
                    <a:pt x="40" y="62"/>
                    <a:pt x="37" y="63"/>
                    <a:pt x="32" y="64"/>
                  </a:cubicBezTo>
                  <a:cubicBezTo>
                    <a:pt x="27" y="65"/>
                    <a:pt x="15" y="69"/>
                    <a:pt x="11" y="67"/>
                  </a:cubicBezTo>
                  <a:cubicBezTo>
                    <a:pt x="7" y="65"/>
                    <a:pt x="8" y="58"/>
                    <a:pt x="8" y="53"/>
                  </a:cubicBezTo>
                  <a:cubicBezTo>
                    <a:pt x="8" y="48"/>
                    <a:pt x="9" y="44"/>
                    <a:pt x="8" y="39"/>
                  </a:cubicBezTo>
                  <a:cubicBezTo>
                    <a:pt x="7" y="34"/>
                    <a:pt x="0" y="30"/>
                    <a:pt x="2" y="25"/>
                  </a:cubicBezTo>
                  <a:cubicBezTo>
                    <a:pt x="4" y="20"/>
                    <a:pt x="16" y="15"/>
                    <a:pt x="20" y="11"/>
                  </a:cubicBezTo>
                  <a:cubicBezTo>
                    <a:pt x="24" y="7"/>
                    <a:pt x="25" y="2"/>
                    <a:pt x="28" y="1"/>
                  </a:cubicBezTo>
                  <a:cubicBezTo>
                    <a:pt x="31" y="0"/>
                    <a:pt x="33" y="1"/>
                    <a:pt x="37" y="4"/>
                  </a:cubicBezTo>
                  <a:cubicBezTo>
                    <a:pt x="41" y="7"/>
                    <a:pt x="48" y="14"/>
                    <a:pt x="50" y="19"/>
                  </a:cubicBezTo>
                  <a:cubicBezTo>
                    <a:pt x="52" y="24"/>
                    <a:pt x="51" y="31"/>
                    <a:pt x="52" y="32"/>
                  </a:cubicBezTo>
                  <a:cubicBezTo>
                    <a:pt x="53" y="33"/>
                    <a:pt x="54" y="24"/>
                    <a:pt x="58" y="23"/>
                  </a:cubicBezTo>
                  <a:cubicBezTo>
                    <a:pt x="62" y="22"/>
                    <a:pt x="73" y="26"/>
                    <a:pt x="79" y="26"/>
                  </a:cubicBezTo>
                  <a:cubicBezTo>
                    <a:pt x="85" y="26"/>
                    <a:pt x="95" y="24"/>
                    <a:pt x="98" y="2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05" name="Freeform 522"/>
            <p:cNvSpPr>
              <a:spLocks/>
            </p:cNvSpPr>
            <p:nvPr>
              <p:custDataLst>
                <p:tags r:id="rId73"/>
              </p:custDataLst>
            </p:nvPr>
          </p:nvSpPr>
          <p:spPr bwMode="gray">
            <a:xfrm>
              <a:off x="2583975" y="2207071"/>
              <a:ext cx="73390" cy="106118"/>
            </a:xfrm>
            <a:custGeom>
              <a:avLst/>
              <a:gdLst>
                <a:gd name="T0" fmla="*/ 40 w 76"/>
                <a:gd name="T1" fmla="*/ 41 h 110"/>
                <a:gd name="T2" fmla="*/ 66 w 76"/>
                <a:gd name="T3" fmla="*/ 55 h 110"/>
                <a:gd name="T4" fmla="*/ 73 w 76"/>
                <a:gd name="T5" fmla="*/ 91 h 110"/>
                <a:gd name="T6" fmla="*/ 51 w 76"/>
                <a:gd name="T7" fmla="*/ 103 h 110"/>
                <a:gd name="T8" fmla="*/ 36 w 76"/>
                <a:gd name="T9" fmla="*/ 103 h 110"/>
                <a:gd name="T10" fmla="*/ 16 w 76"/>
                <a:gd name="T11" fmla="*/ 91 h 110"/>
                <a:gd name="T12" fmla="*/ 15 w 76"/>
                <a:gd name="T13" fmla="*/ 82 h 110"/>
                <a:gd name="T14" fmla="*/ 28 w 76"/>
                <a:gd name="T15" fmla="*/ 64 h 110"/>
                <a:gd name="T16" fmla="*/ 12 w 76"/>
                <a:gd name="T17" fmla="*/ 53 h 110"/>
                <a:gd name="T18" fmla="*/ 3 w 76"/>
                <a:gd name="T19" fmla="*/ 37 h 110"/>
                <a:gd name="T20" fmla="*/ 30 w 76"/>
                <a:gd name="T21" fmla="*/ 25 h 110"/>
                <a:gd name="T22" fmla="*/ 21 w 76"/>
                <a:gd name="T23" fmla="*/ 8 h 110"/>
                <a:gd name="T24" fmla="*/ 55 w 76"/>
                <a:gd name="T25" fmla="*/ 2 h 110"/>
                <a:gd name="T26" fmla="*/ 43 w 76"/>
                <a:gd name="T27" fmla="*/ 19 h 110"/>
                <a:gd name="T28" fmla="*/ 40 w 76"/>
                <a:gd name="T29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6" h="110">
                  <a:moveTo>
                    <a:pt x="40" y="41"/>
                  </a:moveTo>
                  <a:cubicBezTo>
                    <a:pt x="46" y="45"/>
                    <a:pt x="61" y="47"/>
                    <a:pt x="66" y="55"/>
                  </a:cubicBezTo>
                  <a:cubicBezTo>
                    <a:pt x="71" y="63"/>
                    <a:pt x="76" y="83"/>
                    <a:pt x="73" y="91"/>
                  </a:cubicBezTo>
                  <a:cubicBezTo>
                    <a:pt x="66" y="94"/>
                    <a:pt x="59" y="101"/>
                    <a:pt x="51" y="103"/>
                  </a:cubicBezTo>
                  <a:cubicBezTo>
                    <a:pt x="50" y="110"/>
                    <a:pt x="42" y="100"/>
                    <a:pt x="36" y="103"/>
                  </a:cubicBezTo>
                  <a:cubicBezTo>
                    <a:pt x="13" y="99"/>
                    <a:pt x="23" y="104"/>
                    <a:pt x="16" y="91"/>
                  </a:cubicBezTo>
                  <a:cubicBezTo>
                    <a:pt x="15" y="84"/>
                    <a:pt x="6" y="84"/>
                    <a:pt x="15" y="82"/>
                  </a:cubicBezTo>
                  <a:cubicBezTo>
                    <a:pt x="21" y="72"/>
                    <a:pt x="18" y="72"/>
                    <a:pt x="28" y="64"/>
                  </a:cubicBezTo>
                  <a:cubicBezTo>
                    <a:pt x="26" y="52"/>
                    <a:pt x="17" y="62"/>
                    <a:pt x="12" y="53"/>
                  </a:cubicBezTo>
                  <a:cubicBezTo>
                    <a:pt x="10" y="48"/>
                    <a:pt x="0" y="42"/>
                    <a:pt x="3" y="37"/>
                  </a:cubicBezTo>
                  <a:cubicBezTo>
                    <a:pt x="6" y="32"/>
                    <a:pt x="27" y="30"/>
                    <a:pt x="30" y="25"/>
                  </a:cubicBezTo>
                  <a:cubicBezTo>
                    <a:pt x="33" y="20"/>
                    <a:pt x="17" y="12"/>
                    <a:pt x="21" y="8"/>
                  </a:cubicBezTo>
                  <a:cubicBezTo>
                    <a:pt x="25" y="4"/>
                    <a:pt x="52" y="0"/>
                    <a:pt x="55" y="2"/>
                  </a:cubicBezTo>
                  <a:cubicBezTo>
                    <a:pt x="58" y="4"/>
                    <a:pt x="45" y="13"/>
                    <a:pt x="43" y="19"/>
                  </a:cubicBezTo>
                  <a:cubicBezTo>
                    <a:pt x="41" y="25"/>
                    <a:pt x="31" y="37"/>
                    <a:pt x="40" y="4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06" name="Freeform 528"/>
            <p:cNvSpPr>
              <a:spLocks/>
            </p:cNvSpPr>
            <p:nvPr>
              <p:custDataLst>
                <p:tags r:id="rId74"/>
              </p:custDataLst>
            </p:nvPr>
          </p:nvSpPr>
          <p:spPr bwMode="gray">
            <a:xfrm>
              <a:off x="2624638" y="2466910"/>
              <a:ext cx="176532" cy="142812"/>
            </a:xfrm>
            <a:custGeom>
              <a:avLst/>
              <a:gdLst>
                <a:gd name="T0" fmla="*/ 9 w 183"/>
                <a:gd name="T1" fmla="*/ 5 h 148"/>
                <a:gd name="T2" fmla="*/ 54 w 183"/>
                <a:gd name="T3" fmla="*/ 3 h 148"/>
                <a:gd name="T4" fmla="*/ 81 w 183"/>
                <a:gd name="T5" fmla="*/ 3 h 148"/>
                <a:gd name="T6" fmla="*/ 156 w 183"/>
                <a:gd name="T7" fmla="*/ 17 h 148"/>
                <a:gd name="T8" fmla="*/ 175 w 183"/>
                <a:gd name="T9" fmla="*/ 27 h 148"/>
                <a:gd name="T10" fmla="*/ 175 w 183"/>
                <a:gd name="T11" fmla="*/ 39 h 148"/>
                <a:gd name="T12" fmla="*/ 154 w 183"/>
                <a:gd name="T13" fmla="*/ 48 h 148"/>
                <a:gd name="T14" fmla="*/ 139 w 183"/>
                <a:gd name="T15" fmla="*/ 62 h 148"/>
                <a:gd name="T16" fmla="*/ 129 w 183"/>
                <a:gd name="T17" fmla="*/ 77 h 148"/>
                <a:gd name="T18" fmla="*/ 132 w 183"/>
                <a:gd name="T19" fmla="*/ 96 h 148"/>
                <a:gd name="T20" fmla="*/ 130 w 183"/>
                <a:gd name="T21" fmla="*/ 102 h 148"/>
                <a:gd name="T22" fmla="*/ 123 w 183"/>
                <a:gd name="T23" fmla="*/ 104 h 148"/>
                <a:gd name="T24" fmla="*/ 112 w 183"/>
                <a:gd name="T25" fmla="*/ 119 h 148"/>
                <a:gd name="T26" fmla="*/ 91 w 183"/>
                <a:gd name="T27" fmla="*/ 134 h 148"/>
                <a:gd name="T28" fmla="*/ 55 w 183"/>
                <a:gd name="T29" fmla="*/ 141 h 148"/>
                <a:gd name="T30" fmla="*/ 43 w 183"/>
                <a:gd name="T31" fmla="*/ 146 h 148"/>
                <a:gd name="T32" fmla="*/ 28 w 183"/>
                <a:gd name="T33" fmla="*/ 131 h 148"/>
                <a:gd name="T34" fmla="*/ 21 w 183"/>
                <a:gd name="T35" fmla="*/ 119 h 148"/>
                <a:gd name="T36" fmla="*/ 27 w 183"/>
                <a:gd name="T37" fmla="*/ 83 h 148"/>
                <a:gd name="T38" fmla="*/ 37 w 183"/>
                <a:gd name="T39" fmla="*/ 42 h 148"/>
                <a:gd name="T40" fmla="*/ 16 w 183"/>
                <a:gd name="T41" fmla="*/ 35 h 148"/>
                <a:gd name="T42" fmla="*/ 4 w 183"/>
                <a:gd name="T43" fmla="*/ 29 h 148"/>
                <a:gd name="T44" fmla="*/ 0 w 183"/>
                <a:gd name="T45" fmla="*/ 12 h 148"/>
                <a:gd name="T46" fmla="*/ 9 w 183"/>
                <a:gd name="T47" fmla="*/ 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3" h="148">
                  <a:moveTo>
                    <a:pt x="9" y="5"/>
                  </a:moveTo>
                  <a:cubicBezTo>
                    <a:pt x="13" y="0"/>
                    <a:pt x="48" y="3"/>
                    <a:pt x="54" y="3"/>
                  </a:cubicBezTo>
                  <a:cubicBezTo>
                    <a:pt x="62" y="9"/>
                    <a:pt x="72" y="7"/>
                    <a:pt x="81" y="3"/>
                  </a:cubicBezTo>
                  <a:cubicBezTo>
                    <a:pt x="113" y="5"/>
                    <a:pt x="122" y="15"/>
                    <a:pt x="156" y="17"/>
                  </a:cubicBezTo>
                  <a:cubicBezTo>
                    <a:pt x="167" y="25"/>
                    <a:pt x="155" y="25"/>
                    <a:pt x="175" y="27"/>
                  </a:cubicBezTo>
                  <a:cubicBezTo>
                    <a:pt x="177" y="34"/>
                    <a:pt x="183" y="37"/>
                    <a:pt x="175" y="39"/>
                  </a:cubicBezTo>
                  <a:cubicBezTo>
                    <a:pt x="171" y="46"/>
                    <a:pt x="162" y="47"/>
                    <a:pt x="154" y="48"/>
                  </a:cubicBezTo>
                  <a:cubicBezTo>
                    <a:pt x="148" y="53"/>
                    <a:pt x="147" y="59"/>
                    <a:pt x="139" y="62"/>
                  </a:cubicBezTo>
                  <a:cubicBezTo>
                    <a:pt x="135" y="68"/>
                    <a:pt x="136" y="74"/>
                    <a:pt x="129" y="77"/>
                  </a:cubicBezTo>
                  <a:cubicBezTo>
                    <a:pt x="123" y="84"/>
                    <a:pt x="125" y="91"/>
                    <a:pt x="132" y="96"/>
                  </a:cubicBezTo>
                  <a:cubicBezTo>
                    <a:pt x="131" y="98"/>
                    <a:pt x="132" y="101"/>
                    <a:pt x="130" y="102"/>
                  </a:cubicBezTo>
                  <a:cubicBezTo>
                    <a:pt x="128" y="104"/>
                    <a:pt x="125" y="102"/>
                    <a:pt x="123" y="104"/>
                  </a:cubicBezTo>
                  <a:cubicBezTo>
                    <a:pt x="115" y="114"/>
                    <a:pt x="125" y="111"/>
                    <a:pt x="112" y="119"/>
                  </a:cubicBezTo>
                  <a:cubicBezTo>
                    <a:pt x="105" y="129"/>
                    <a:pt x="102" y="130"/>
                    <a:pt x="91" y="134"/>
                  </a:cubicBezTo>
                  <a:cubicBezTo>
                    <a:pt x="78" y="144"/>
                    <a:pt x="78" y="140"/>
                    <a:pt x="55" y="141"/>
                  </a:cubicBezTo>
                  <a:cubicBezTo>
                    <a:pt x="48" y="145"/>
                    <a:pt x="52" y="148"/>
                    <a:pt x="43" y="146"/>
                  </a:cubicBezTo>
                  <a:cubicBezTo>
                    <a:pt x="39" y="140"/>
                    <a:pt x="35" y="132"/>
                    <a:pt x="28" y="131"/>
                  </a:cubicBezTo>
                  <a:cubicBezTo>
                    <a:pt x="25" y="126"/>
                    <a:pt x="24" y="124"/>
                    <a:pt x="21" y="119"/>
                  </a:cubicBezTo>
                  <a:cubicBezTo>
                    <a:pt x="28" y="108"/>
                    <a:pt x="21" y="95"/>
                    <a:pt x="27" y="83"/>
                  </a:cubicBezTo>
                  <a:cubicBezTo>
                    <a:pt x="30" y="67"/>
                    <a:pt x="29" y="56"/>
                    <a:pt x="37" y="42"/>
                  </a:cubicBezTo>
                  <a:cubicBezTo>
                    <a:pt x="31" y="34"/>
                    <a:pt x="27" y="36"/>
                    <a:pt x="16" y="35"/>
                  </a:cubicBezTo>
                  <a:cubicBezTo>
                    <a:pt x="11" y="33"/>
                    <a:pt x="9" y="32"/>
                    <a:pt x="4" y="29"/>
                  </a:cubicBezTo>
                  <a:cubicBezTo>
                    <a:pt x="3" y="24"/>
                    <a:pt x="1" y="17"/>
                    <a:pt x="0" y="12"/>
                  </a:cubicBezTo>
                  <a:cubicBezTo>
                    <a:pt x="3" y="10"/>
                    <a:pt x="9" y="8"/>
                    <a:pt x="9" y="8"/>
                  </a:cubicBez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07" name="Freeform 529"/>
            <p:cNvSpPr>
              <a:spLocks/>
            </p:cNvSpPr>
            <p:nvPr>
              <p:custDataLst>
                <p:tags r:id="rId75"/>
              </p:custDataLst>
            </p:nvPr>
          </p:nvSpPr>
          <p:spPr bwMode="gray">
            <a:xfrm>
              <a:off x="3388286" y="2540299"/>
              <a:ext cx="267773" cy="252897"/>
            </a:xfrm>
            <a:custGeom>
              <a:avLst/>
              <a:gdLst>
                <a:gd name="T0" fmla="*/ 5 w 277"/>
                <a:gd name="T1" fmla="*/ 5 h 262"/>
                <a:gd name="T2" fmla="*/ 1 w 277"/>
                <a:gd name="T3" fmla="*/ 37 h 262"/>
                <a:gd name="T4" fmla="*/ 2 w 277"/>
                <a:gd name="T5" fmla="*/ 53 h 262"/>
                <a:gd name="T6" fmla="*/ 15 w 277"/>
                <a:gd name="T7" fmla="*/ 67 h 262"/>
                <a:gd name="T8" fmla="*/ 26 w 277"/>
                <a:gd name="T9" fmla="*/ 77 h 262"/>
                <a:gd name="T10" fmla="*/ 14 w 277"/>
                <a:gd name="T11" fmla="*/ 100 h 262"/>
                <a:gd name="T12" fmla="*/ 28 w 277"/>
                <a:gd name="T13" fmla="*/ 121 h 262"/>
                <a:gd name="T14" fmla="*/ 46 w 277"/>
                <a:gd name="T15" fmla="*/ 139 h 262"/>
                <a:gd name="T16" fmla="*/ 53 w 277"/>
                <a:gd name="T17" fmla="*/ 173 h 262"/>
                <a:gd name="T18" fmla="*/ 85 w 277"/>
                <a:gd name="T19" fmla="*/ 182 h 262"/>
                <a:gd name="T20" fmla="*/ 94 w 277"/>
                <a:gd name="T21" fmla="*/ 208 h 262"/>
                <a:gd name="T22" fmla="*/ 115 w 277"/>
                <a:gd name="T23" fmla="*/ 218 h 262"/>
                <a:gd name="T24" fmla="*/ 119 w 277"/>
                <a:gd name="T25" fmla="*/ 220 h 262"/>
                <a:gd name="T26" fmla="*/ 130 w 277"/>
                <a:gd name="T27" fmla="*/ 221 h 262"/>
                <a:gd name="T28" fmla="*/ 145 w 277"/>
                <a:gd name="T29" fmla="*/ 233 h 262"/>
                <a:gd name="T30" fmla="*/ 173 w 277"/>
                <a:gd name="T31" fmla="*/ 215 h 262"/>
                <a:gd name="T32" fmla="*/ 193 w 277"/>
                <a:gd name="T33" fmla="*/ 221 h 262"/>
                <a:gd name="T34" fmla="*/ 202 w 277"/>
                <a:gd name="T35" fmla="*/ 251 h 262"/>
                <a:gd name="T36" fmla="*/ 236 w 277"/>
                <a:gd name="T37" fmla="*/ 257 h 262"/>
                <a:gd name="T38" fmla="*/ 256 w 277"/>
                <a:gd name="T39" fmla="*/ 241 h 262"/>
                <a:gd name="T40" fmla="*/ 268 w 277"/>
                <a:gd name="T41" fmla="*/ 233 h 262"/>
                <a:gd name="T42" fmla="*/ 277 w 277"/>
                <a:gd name="T43" fmla="*/ 230 h 262"/>
                <a:gd name="T44" fmla="*/ 269 w 277"/>
                <a:gd name="T45" fmla="*/ 208 h 262"/>
                <a:gd name="T46" fmla="*/ 253 w 277"/>
                <a:gd name="T47" fmla="*/ 199 h 262"/>
                <a:gd name="T48" fmla="*/ 248 w 277"/>
                <a:gd name="T49" fmla="*/ 176 h 262"/>
                <a:gd name="T50" fmla="*/ 251 w 277"/>
                <a:gd name="T51" fmla="*/ 164 h 262"/>
                <a:gd name="T52" fmla="*/ 243 w 277"/>
                <a:gd name="T53" fmla="*/ 146 h 262"/>
                <a:gd name="T54" fmla="*/ 239 w 277"/>
                <a:gd name="T55" fmla="*/ 127 h 262"/>
                <a:gd name="T56" fmla="*/ 247 w 277"/>
                <a:gd name="T57" fmla="*/ 80 h 262"/>
                <a:gd name="T58" fmla="*/ 227 w 277"/>
                <a:gd name="T59" fmla="*/ 61 h 262"/>
                <a:gd name="T60" fmla="*/ 209 w 277"/>
                <a:gd name="T61" fmla="*/ 49 h 262"/>
                <a:gd name="T62" fmla="*/ 185 w 277"/>
                <a:gd name="T63" fmla="*/ 40 h 262"/>
                <a:gd name="T64" fmla="*/ 165 w 277"/>
                <a:gd name="T65" fmla="*/ 38 h 262"/>
                <a:gd name="T66" fmla="*/ 146 w 277"/>
                <a:gd name="T67" fmla="*/ 44 h 262"/>
                <a:gd name="T68" fmla="*/ 128 w 277"/>
                <a:gd name="T69" fmla="*/ 52 h 262"/>
                <a:gd name="T70" fmla="*/ 97 w 277"/>
                <a:gd name="T71" fmla="*/ 61 h 262"/>
                <a:gd name="T72" fmla="*/ 73 w 277"/>
                <a:gd name="T73" fmla="*/ 41 h 262"/>
                <a:gd name="T74" fmla="*/ 53 w 277"/>
                <a:gd name="T75" fmla="*/ 19 h 262"/>
                <a:gd name="T76" fmla="*/ 43 w 277"/>
                <a:gd name="T77" fmla="*/ 8 h 262"/>
                <a:gd name="T78" fmla="*/ 31 w 277"/>
                <a:gd name="T79" fmla="*/ 10 h 262"/>
                <a:gd name="T80" fmla="*/ 17 w 277"/>
                <a:gd name="T81" fmla="*/ 8 h 262"/>
                <a:gd name="T82" fmla="*/ 5 w 277"/>
                <a:gd name="T83" fmla="*/ 5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7" h="262">
                  <a:moveTo>
                    <a:pt x="5" y="5"/>
                  </a:moveTo>
                  <a:cubicBezTo>
                    <a:pt x="0" y="9"/>
                    <a:pt x="1" y="28"/>
                    <a:pt x="1" y="37"/>
                  </a:cubicBezTo>
                  <a:cubicBezTo>
                    <a:pt x="1" y="45"/>
                    <a:pt x="0" y="48"/>
                    <a:pt x="2" y="53"/>
                  </a:cubicBezTo>
                  <a:cubicBezTo>
                    <a:pt x="4" y="58"/>
                    <a:pt x="11" y="63"/>
                    <a:pt x="15" y="67"/>
                  </a:cubicBezTo>
                  <a:cubicBezTo>
                    <a:pt x="19" y="71"/>
                    <a:pt x="26" y="72"/>
                    <a:pt x="26" y="77"/>
                  </a:cubicBezTo>
                  <a:cubicBezTo>
                    <a:pt x="18" y="85"/>
                    <a:pt x="25" y="96"/>
                    <a:pt x="14" y="100"/>
                  </a:cubicBezTo>
                  <a:cubicBezTo>
                    <a:pt x="12" y="110"/>
                    <a:pt x="19" y="117"/>
                    <a:pt x="28" y="121"/>
                  </a:cubicBezTo>
                  <a:cubicBezTo>
                    <a:pt x="34" y="129"/>
                    <a:pt x="37" y="135"/>
                    <a:pt x="46" y="139"/>
                  </a:cubicBezTo>
                  <a:cubicBezTo>
                    <a:pt x="54" y="149"/>
                    <a:pt x="45" y="163"/>
                    <a:pt x="53" y="173"/>
                  </a:cubicBezTo>
                  <a:cubicBezTo>
                    <a:pt x="67" y="170"/>
                    <a:pt x="78" y="169"/>
                    <a:pt x="85" y="182"/>
                  </a:cubicBezTo>
                  <a:cubicBezTo>
                    <a:pt x="87" y="192"/>
                    <a:pt x="90" y="199"/>
                    <a:pt x="94" y="208"/>
                  </a:cubicBezTo>
                  <a:cubicBezTo>
                    <a:pt x="96" y="221"/>
                    <a:pt x="104" y="216"/>
                    <a:pt x="115" y="218"/>
                  </a:cubicBezTo>
                  <a:cubicBezTo>
                    <a:pt x="116" y="219"/>
                    <a:pt x="118" y="220"/>
                    <a:pt x="119" y="220"/>
                  </a:cubicBezTo>
                  <a:cubicBezTo>
                    <a:pt x="123" y="221"/>
                    <a:pt x="127" y="220"/>
                    <a:pt x="130" y="221"/>
                  </a:cubicBezTo>
                  <a:cubicBezTo>
                    <a:pt x="136" y="224"/>
                    <a:pt x="134" y="231"/>
                    <a:pt x="145" y="233"/>
                  </a:cubicBezTo>
                  <a:cubicBezTo>
                    <a:pt x="153" y="237"/>
                    <a:pt x="166" y="220"/>
                    <a:pt x="173" y="215"/>
                  </a:cubicBezTo>
                  <a:cubicBezTo>
                    <a:pt x="178" y="216"/>
                    <a:pt x="189" y="218"/>
                    <a:pt x="193" y="221"/>
                  </a:cubicBezTo>
                  <a:cubicBezTo>
                    <a:pt x="198" y="224"/>
                    <a:pt x="190" y="249"/>
                    <a:pt x="202" y="251"/>
                  </a:cubicBezTo>
                  <a:cubicBezTo>
                    <a:pt x="224" y="262"/>
                    <a:pt x="198" y="256"/>
                    <a:pt x="236" y="257"/>
                  </a:cubicBezTo>
                  <a:cubicBezTo>
                    <a:pt x="274" y="255"/>
                    <a:pt x="241" y="262"/>
                    <a:pt x="256" y="241"/>
                  </a:cubicBezTo>
                  <a:cubicBezTo>
                    <a:pt x="262" y="241"/>
                    <a:pt x="266" y="233"/>
                    <a:pt x="268" y="233"/>
                  </a:cubicBezTo>
                  <a:cubicBezTo>
                    <a:pt x="271" y="230"/>
                    <a:pt x="277" y="234"/>
                    <a:pt x="277" y="230"/>
                  </a:cubicBezTo>
                  <a:cubicBezTo>
                    <a:pt x="277" y="226"/>
                    <a:pt x="273" y="213"/>
                    <a:pt x="269" y="208"/>
                  </a:cubicBezTo>
                  <a:cubicBezTo>
                    <a:pt x="268" y="201"/>
                    <a:pt x="258" y="204"/>
                    <a:pt x="253" y="199"/>
                  </a:cubicBezTo>
                  <a:cubicBezTo>
                    <a:pt x="248" y="186"/>
                    <a:pt x="247" y="198"/>
                    <a:pt x="248" y="176"/>
                  </a:cubicBezTo>
                  <a:cubicBezTo>
                    <a:pt x="247" y="170"/>
                    <a:pt x="252" y="168"/>
                    <a:pt x="251" y="164"/>
                  </a:cubicBezTo>
                  <a:cubicBezTo>
                    <a:pt x="250" y="159"/>
                    <a:pt x="245" y="152"/>
                    <a:pt x="243" y="146"/>
                  </a:cubicBezTo>
                  <a:cubicBezTo>
                    <a:pt x="237" y="138"/>
                    <a:pt x="238" y="136"/>
                    <a:pt x="239" y="127"/>
                  </a:cubicBezTo>
                  <a:cubicBezTo>
                    <a:pt x="239" y="117"/>
                    <a:pt x="249" y="91"/>
                    <a:pt x="247" y="80"/>
                  </a:cubicBezTo>
                  <a:cubicBezTo>
                    <a:pt x="245" y="69"/>
                    <a:pt x="233" y="66"/>
                    <a:pt x="227" y="61"/>
                  </a:cubicBezTo>
                  <a:cubicBezTo>
                    <a:pt x="223" y="54"/>
                    <a:pt x="218" y="50"/>
                    <a:pt x="209" y="49"/>
                  </a:cubicBezTo>
                  <a:cubicBezTo>
                    <a:pt x="202" y="46"/>
                    <a:pt x="192" y="41"/>
                    <a:pt x="185" y="40"/>
                  </a:cubicBezTo>
                  <a:cubicBezTo>
                    <a:pt x="177" y="38"/>
                    <a:pt x="171" y="37"/>
                    <a:pt x="165" y="38"/>
                  </a:cubicBezTo>
                  <a:cubicBezTo>
                    <a:pt x="159" y="39"/>
                    <a:pt x="152" y="42"/>
                    <a:pt x="146" y="44"/>
                  </a:cubicBezTo>
                  <a:cubicBezTo>
                    <a:pt x="141" y="48"/>
                    <a:pt x="135" y="51"/>
                    <a:pt x="128" y="52"/>
                  </a:cubicBezTo>
                  <a:cubicBezTo>
                    <a:pt x="120" y="53"/>
                    <a:pt x="106" y="63"/>
                    <a:pt x="97" y="61"/>
                  </a:cubicBezTo>
                  <a:cubicBezTo>
                    <a:pt x="88" y="59"/>
                    <a:pt x="80" y="48"/>
                    <a:pt x="73" y="41"/>
                  </a:cubicBezTo>
                  <a:cubicBezTo>
                    <a:pt x="69" y="35"/>
                    <a:pt x="57" y="24"/>
                    <a:pt x="53" y="19"/>
                  </a:cubicBezTo>
                  <a:cubicBezTo>
                    <a:pt x="48" y="13"/>
                    <a:pt x="50" y="11"/>
                    <a:pt x="43" y="8"/>
                  </a:cubicBezTo>
                  <a:cubicBezTo>
                    <a:pt x="38" y="11"/>
                    <a:pt x="36" y="6"/>
                    <a:pt x="31" y="10"/>
                  </a:cubicBezTo>
                  <a:cubicBezTo>
                    <a:pt x="27" y="4"/>
                    <a:pt x="24" y="11"/>
                    <a:pt x="17" y="8"/>
                  </a:cubicBezTo>
                  <a:cubicBezTo>
                    <a:pt x="11" y="0"/>
                    <a:pt x="12" y="9"/>
                    <a:pt x="5" y="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08" name="Freeform 530"/>
            <p:cNvSpPr>
              <a:spLocks/>
            </p:cNvSpPr>
            <p:nvPr>
              <p:custDataLst>
                <p:tags r:id="rId76"/>
              </p:custDataLst>
            </p:nvPr>
          </p:nvSpPr>
          <p:spPr bwMode="gray">
            <a:xfrm>
              <a:off x="3296053" y="2588895"/>
              <a:ext cx="143804" cy="138845"/>
            </a:xfrm>
            <a:custGeom>
              <a:avLst/>
              <a:gdLst>
                <a:gd name="T0" fmla="*/ 92 w 149"/>
                <a:gd name="T1" fmla="*/ 3 h 144"/>
                <a:gd name="T2" fmla="*/ 76 w 149"/>
                <a:gd name="T3" fmla="*/ 8 h 144"/>
                <a:gd name="T4" fmla="*/ 49 w 149"/>
                <a:gd name="T5" fmla="*/ 5 h 144"/>
                <a:gd name="T6" fmla="*/ 41 w 149"/>
                <a:gd name="T7" fmla="*/ 40 h 144"/>
                <a:gd name="T8" fmla="*/ 32 w 149"/>
                <a:gd name="T9" fmla="*/ 51 h 144"/>
                <a:gd name="T10" fmla="*/ 22 w 149"/>
                <a:gd name="T11" fmla="*/ 66 h 144"/>
                <a:gd name="T12" fmla="*/ 7 w 149"/>
                <a:gd name="T13" fmla="*/ 71 h 144"/>
                <a:gd name="T14" fmla="*/ 20 w 149"/>
                <a:gd name="T15" fmla="*/ 95 h 144"/>
                <a:gd name="T16" fmla="*/ 34 w 149"/>
                <a:gd name="T17" fmla="*/ 95 h 144"/>
                <a:gd name="T18" fmla="*/ 49 w 149"/>
                <a:gd name="T19" fmla="*/ 102 h 144"/>
                <a:gd name="T20" fmla="*/ 58 w 149"/>
                <a:gd name="T21" fmla="*/ 107 h 144"/>
                <a:gd name="T22" fmla="*/ 71 w 149"/>
                <a:gd name="T23" fmla="*/ 117 h 144"/>
                <a:gd name="T24" fmla="*/ 83 w 149"/>
                <a:gd name="T25" fmla="*/ 131 h 144"/>
                <a:gd name="T26" fmla="*/ 97 w 149"/>
                <a:gd name="T27" fmla="*/ 134 h 144"/>
                <a:gd name="T28" fmla="*/ 110 w 149"/>
                <a:gd name="T29" fmla="*/ 143 h 144"/>
                <a:gd name="T30" fmla="*/ 128 w 149"/>
                <a:gd name="T31" fmla="*/ 140 h 144"/>
                <a:gd name="T32" fmla="*/ 146 w 149"/>
                <a:gd name="T33" fmla="*/ 125 h 144"/>
                <a:gd name="T34" fmla="*/ 147 w 149"/>
                <a:gd name="T35" fmla="*/ 114 h 144"/>
                <a:gd name="T36" fmla="*/ 145 w 149"/>
                <a:gd name="T37" fmla="*/ 93 h 144"/>
                <a:gd name="T38" fmla="*/ 122 w 149"/>
                <a:gd name="T39" fmla="*/ 71 h 144"/>
                <a:gd name="T40" fmla="*/ 110 w 149"/>
                <a:gd name="T41" fmla="*/ 59 h 144"/>
                <a:gd name="T42" fmla="*/ 119 w 149"/>
                <a:gd name="T43" fmla="*/ 45 h 144"/>
                <a:gd name="T44" fmla="*/ 119 w 149"/>
                <a:gd name="T45" fmla="*/ 35 h 144"/>
                <a:gd name="T46" fmla="*/ 121 w 149"/>
                <a:gd name="T47" fmla="*/ 23 h 144"/>
                <a:gd name="T48" fmla="*/ 113 w 149"/>
                <a:gd name="T49" fmla="*/ 18 h 144"/>
                <a:gd name="T50" fmla="*/ 103 w 149"/>
                <a:gd name="T51" fmla="*/ 14 h 144"/>
                <a:gd name="T52" fmla="*/ 95 w 149"/>
                <a:gd name="T53" fmla="*/ 6 h 144"/>
                <a:gd name="T54" fmla="*/ 92 w 149"/>
                <a:gd name="T55" fmla="*/ 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9" h="144">
                  <a:moveTo>
                    <a:pt x="92" y="3"/>
                  </a:moveTo>
                  <a:cubicBezTo>
                    <a:pt x="89" y="2"/>
                    <a:pt x="83" y="8"/>
                    <a:pt x="76" y="8"/>
                  </a:cubicBezTo>
                  <a:cubicBezTo>
                    <a:pt x="69" y="8"/>
                    <a:pt x="55" y="0"/>
                    <a:pt x="49" y="5"/>
                  </a:cubicBezTo>
                  <a:cubicBezTo>
                    <a:pt x="41" y="12"/>
                    <a:pt x="44" y="32"/>
                    <a:pt x="41" y="40"/>
                  </a:cubicBezTo>
                  <a:cubicBezTo>
                    <a:pt x="38" y="48"/>
                    <a:pt x="35" y="47"/>
                    <a:pt x="32" y="51"/>
                  </a:cubicBezTo>
                  <a:cubicBezTo>
                    <a:pt x="28" y="55"/>
                    <a:pt x="26" y="63"/>
                    <a:pt x="22" y="66"/>
                  </a:cubicBezTo>
                  <a:cubicBezTo>
                    <a:pt x="18" y="69"/>
                    <a:pt x="7" y="66"/>
                    <a:pt x="7" y="71"/>
                  </a:cubicBezTo>
                  <a:cubicBezTo>
                    <a:pt x="0" y="85"/>
                    <a:pt x="8" y="93"/>
                    <a:pt x="20" y="95"/>
                  </a:cubicBezTo>
                  <a:cubicBezTo>
                    <a:pt x="24" y="100"/>
                    <a:pt x="29" y="94"/>
                    <a:pt x="34" y="95"/>
                  </a:cubicBezTo>
                  <a:cubicBezTo>
                    <a:pt x="39" y="96"/>
                    <a:pt x="45" y="100"/>
                    <a:pt x="49" y="102"/>
                  </a:cubicBezTo>
                  <a:cubicBezTo>
                    <a:pt x="53" y="104"/>
                    <a:pt x="54" y="105"/>
                    <a:pt x="58" y="107"/>
                  </a:cubicBezTo>
                  <a:cubicBezTo>
                    <a:pt x="61" y="110"/>
                    <a:pt x="67" y="113"/>
                    <a:pt x="71" y="117"/>
                  </a:cubicBezTo>
                  <a:cubicBezTo>
                    <a:pt x="75" y="121"/>
                    <a:pt x="79" y="128"/>
                    <a:pt x="83" y="131"/>
                  </a:cubicBezTo>
                  <a:cubicBezTo>
                    <a:pt x="89" y="135"/>
                    <a:pt x="90" y="133"/>
                    <a:pt x="97" y="134"/>
                  </a:cubicBezTo>
                  <a:cubicBezTo>
                    <a:pt x="102" y="135"/>
                    <a:pt x="105" y="142"/>
                    <a:pt x="110" y="143"/>
                  </a:cubicBezTo>
                  <a:cubicBezTo>
                    <a:pt x="115" y="144"/>
                    <a:pt x="122" y="143"/>
                    <a:pt x="128" y="140"/>
                  </a:cubicBezTo>
                  <a:cubicBezTo>
                    <a:pt x="134" y="137"/>
                    <a:pt x="147" y="136"/>
                    <a:pt x="146" y="125"/>
                  </a:cubicBezTo>
                  <a:cubicBezTo>
                    <a:pt x="149" y="121"/>
                    <a:pt x="147" y="119"/>
                    <a:pt x="147" y="114"/>
                  </a:cubicBezTo>
                  <a:cubicBezTo>
                    <a:pt x="147" y="109"/>
                    <a:pt x="149" y="100"/>
                    <a:pt x="145" y="93"/>
                  </a:cubicBezTo>
                  <a:cubicBezTo>
                    <a:pt x="141" y="86"/>
                    <a:pt x="128" y="77"/>
                    <a:pt x="122" y="71"/>
                  </a:cubicBezTo>
                  <a:cubicBezTo>
                    <a:pt x="118" y="65"/>
                    <a:pt x="114" y="64"/>
                    <a:pt x="110" y="59"/>
                  </a:cubicBezTo>
                  <a:cubicBezTo>
                    <a:pt x="108" y="54"/>
                    <a:pt x="118" y="49"/>
                    <a:pt x="119" y="45"/>
                  </a:cubicBezTo>
                  <a:cubicBezTo>
                    <a:pt x="120" y="41"/>
                    <a:pt x="119" y="39"/>
                    <a:pt x="119" y="35"/>
                  </a:cubicBezTo>
                  <a:cubicBezTo>
                    <a:pt x="120" y="29"/>
                    <a:pt x="124" y="26"/>
                    <a:pt x="121" y="23"/>
                  </a:cubicBezTo>
                  <a:cubicBezTo>
                    <a:pt x="120" y="20"/>
                    <a:pt x="116" y="20"/>
                    <a:pt x="113" y="18"/>
                  </a:cubicBezTo>
                  <a:cubicBezTo>
                    <a:pt x="110" y="16"/>
                    <a:pt x="106" y="16"/>
                    <a:pt x="103" y="14"/>
                  </a:cubicBezTo>
                  <a:cubicBezTo>
                    <a:pt x="99" y="7"/>
                    <a:pt x="102" y="11"/>
                    <a:pt x="95" y="6"/>
                  </a:cubicBezTo>
                  <a:cubicBezTo>
                    <a:pt x="90" y="3"/>
                    <a:pt x="89" y="3"/>
                    <a:pt x="92" y="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09" name="Freeform 531"/>
            <p:cNvSpPr>
              <a:spLocks/>
            </p:cNvSpPr>
            <p:nvPr>
              <p:custDataLst>
                <p:tags r:id="rId77"/>
              </p:custDataLst>
            </p:nvPr>
          </p:nvSpPr>
          <p:spPr bwMode="gray">
            <a:xfrm>
              <a:off x="2910262" y="3110556"/>
              <a:ext cx="103142" cy="126944"/>
            </a:xfrm>
            <a:custGeom>
              <a:avLst/>
              <a:gdLst>
                <a:gd name="T0" fmla="*/ 67 w 107"/>
                <a:gd name="T1" fmla="*/ 14 h 131"/>
                <a:gd name="T2" fmla="*/ 70 w 107"/>
                <a:gd name="T3" fmla="*/ 16 h 131"/>
                <a:gd name="T4" fmla="*/ 86 w 107"/>
                <a:gd name="T5" fmla="*/ 1 h 131"/>
                <a:gd name="T6" fmla="*/ 103 w 107"/>
                <a:gd name="T7" fmla="*/ 2 h 131"/>
                <a:gd name="T8" fmla="*/ 106 w 107"/>
                <a:gd name="T9" fmla="*/ 29 h 131"/>
                <a:gd name="T10" fmla="*/ 98 w 107"/>
                <a:gd name="T11" fmla="*/ 43 h 131"/>
                <a:gd name="T12" fmla="*/ 100 w 107"/>
                <a:gd name="T13" fmla="*/ 64 h 131"/>
                <a:gd name="T14" fmla="*/ 86 w 107"/>
                <a:gd name="T15" fmla="*/ 73 h 131"/>
                <a:gd name="T16" fmla="*/ 77 w 107"/>
                <a:gd name="T17" fmla="*/ 86 h 131"/>
                <a:gd name="T18" fmla="*/ 71 w 107"/>
                <a:gd name="T19" fmla="*/ 101 h 131"/>
                <a:gd name="T20" fmla="*/ 65 w 107"/>
                <a:gd name="T21" fmla="*/ 113 h 131"/>
                <a:gd name="T22" fmla="*/ 50 w 107"/>
                <a:gd name="T23" fmla="*/ 119 h 131"/>
                <a:gd name="T24" fmla="*/ 39 w 107"/>
                <a:gd name="T25" fmla="*/ 119 h 131"/>
                <a:gd name="T26" fmla="*/ 25 w 107"/>
                <a:gd name="T27" fmla="*/ 121 h 131"/>
                <a:gd name="T28" fmla="*/ 11 w 107"/>
                <a:gd name="T29" fmla="*/ 130 h 131"/>
                <a:gd name="T30" fmla="*/ 1 w 107"/>
                <a:gd name="T31" fmla="*/ 115 h 131"/>
                <a:gd name="T32" fmla="*/ 16 w 107"/>
                <a:gd name="T33" fmla="*/ 103 h 131"/>
                <a:gd name="T34" fmla="*/ 16 w 107"/>
                <a:gd name="T35" fmla="*/ 88 h 131"/>
                <a:gd name="T36" fmla="*/ 26 w 107"/>
                <a:gd name="T37" fmla="*/ 80 h 131"/>
                <a:gd name="T38" fmla="*/ 49 w 107"/>
                <a:gd name="T39" fmla="*/ 85 h 131"/>
                <a:gd name="T40" fmla="*/ 53 w 107"/>
                <a:gd name="T41" fmla="*/ 71 h 131"/>
                <a:gd name="T42" fmla="*/ 46 w 107"/>
                <a:gd name="T43" fmla="*/ 50 h 131"/>
                <a:gd name="T44" fmla="*/ 47 w 107"/>
                <a:gd name="T45" fmla="*/ 37 h 131"/>
                <a:gd name="T46" fmla="*/ 35 w 107"/>
                <a:gd name="T47" fmla="*/ 37 h 131"/>
                <a:gd name="T48" fmla="*/ 28 w 107"/>
                <a:gd name="T49" fmla="*/ 20 h 131"/>
                <a:gd name="T50" fmla="*/ 58 w 107"/>
                <a:gd name="T51" fmla="*/ 22 h 131"/>
                <a:gd name="T52" fmla="*/ 73 w 107"/>
                <a:gd name="T53" fmla="*/ 1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7" h="131">
                  <a:moveTo>
                    <a:pt x="67" y="14"/>
                  </a:moveTo>
                  <a:cubicBezTo>
                    <a:pt x="76" y="18"/>
                    <a:pt x="67" y="23"/>
                    <a:pt x="70" y="16"/>
                  </a:cubicBezTo>
                  <a:cubicBezTo>
                    <a:pt x="67" y="7"/>
                    <a:pt x="76" y="2"/>
                    <a:pt x="86" y="1"/>
                  </a:cubicBezTo>
                  <a:cubicBezTo>
                    <a:pt x="92" y="1"/>
                    <a:pt x="98" y="0"/>
                    <a:pt x="103" y="2"/>
                  </a:cubicBezTo>
                  <a:cubicBezTo>
                    <a:pt x="106" y="6"/>
                    <a:pt x="107" y="22"/>
                    <a:pt x="106" y="29"/>
                  </a:cubicBezTo>
                  <a:cubicBezTo>
                    <a:pt x="105" y="36"/>
                    <a:pt x="99" y="37"/>
                    <a:pt x="98" y="43"/>
                  </a:cubicBezTo>
                  <a:cubicBezTo>
                    <a:pt x="97" y="53"/>
                    <a:pt x="102" y="59"/>
                    <a:pt x="100" y="64"/>
                  </a:cubicBezTo>
                  <a:cubicBezTo>
                    <a:pt x="98" y="69"/>
                    <a:pt x="90" y="69"/>
                    <a:pt x="86" y="73"/>
                  </a:cubicBezTo>
                  <a:cubicBezTo>
                    <a:pt x="85" y="81"/>
                    <a:pt x="81" y="80"/>
                    <a:pt x="77" y="86"/>
                  </a:cubicBezTo>
                  <a:cubicBezTo>
                    <a:pt x="75" y="92"/>
                    <a:pt x="73" y="97"/>
                    <a:pt x="71" y="101"/>
                  </a:cubicBezTo>
                  <a:cubicBezTo>
                    <a:pt x="69" y="105"/>
                    <a:pt x="68" y="110"/>
                    <a:pt x="65" y="113"/>
                  </a:cubicBezTo>
                  <a:cubicBezTo>
                    <a:pt x="60" y="117"/>
                    <a:pt x="56" y="118"/>
                    <a:pt x="50" y="119"/>
                  </a:cubicBezTo>
                  <a:cubicBezTo>
                    <a:pt x="46" y="120"/>
                    <a:pt x="43" y="119"/>
                    <a:pt x="39" y="119"/>
                  </a:cubicBezTo>
                  <a:cubicBezTo>
                    <a:pt x="35" y="119"/>
                    <a:pt x="30" y="119"/>
                    <a:pt x="25" y="121"/>
                  </a:cubicBezTo>
                  <a:cubicBezTo>
                    <a:pt x="19" y="121"/>
                    <a:pt x="15" y="131"/>
                    <a:pt x="11" y="130"/>
                  </a:cubicBezTo>
                  <a:cubicBezTo>
                    <a:pt x="7" y="129"/>
                    <a:pt x="0" y="119"/>
                    <a:pt x="1" y="115"/>
                  </a:cubicBezTo>
                  <a:cubicBezTo>
                    <a:pt x="0" y="109"/>
                    <a:pt x="14" y="107"/>
                    <a:pt x="16" y="103"/>
                  </a:cubicBezTo>
                  <a:cubicBezTo>
                    <a:pt x="18" y="99"/>
                    <a:pt x="14" y="92"/>
                    <a:pt x="16" y="88"/>
                  </a:cubicBezTo>
                  <a:cubicBezTo>
                    <a:pt x="18" y="84"/>
                    <a:pt x="21" y="80"/>
                    <a:pt x="26" y="80"/>
                  </a:cubicBezTo>
                  <a:cubicBezTo>
                    <a:pt x="31" y="80"/>
                    <a:pt x="45" y="86"/>
                    <a:pt x="49" y="85"/>
                  </a:cubicBezTo>
                  <a:cubicBezTo>
                    <a:pt x="53" y="84"/>
                    <a:pt x="53" y="77"/>
                    <a:pt x="53" y="71"/>
                  </a:cubicBezTo>
                  <a:cubicBezTo>
                    <a:pt x="53" y="65"/>
                    <a:pt x="47" y="56"/>
                    <a:pt x="46" y="50"/>
                  </a:cubicBezTo>
                  <a:cubicBezTo>
                    <a:pt x="45" y="44"/>
                    <a:pt x="49" y="39"/>
                    <a:pt x="47" y="37"/>
                  </a:cubicBezTo>
                  <a:cubicBezTo>
                    <a:pt x="45" y="35"/>
                    <a:pt x="38" y="40"/>
                    <a:pt x="35" y="37"/>
                  </a:cubicBezTo>
                  <a:cubicBezTo>
                    <a:pt x="32" y="34"/>
                    <a:pt x="24" y="22"/>
                    <a:pt x="28" y="20"/>
                  </a:cubicBezTo>
                  <a:cubicBezTo>
                    <a:pt x="32" y="18"/>
                    <a:pt x="51" y="23"/>
                    <a:pt x="58" y="22"/>
                  </a:cubicBezTo>
                  <a:cubicBezTo>
                    <a:pt x="65" y="21"/>
                    <a:pt x="70" y="13"/>
                    <a:pt x="73" y="11"/>
                  </a:cubicBez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10" name="Freeform 532"/>
            <p:cNvSpPr>
              <a:spLocks/>
            </p:cNvSpPr>
            <p:nvPr>
              <p:custDataLst>
                <p:tags r:id="rId78"/>
              </p:custDataLst>
            </p:nvPr>
          </p:nvSpPr>
          <p:spPr bwMode="gray">
            <a:xfrm>
              <a:off x="2881501" y="3130391"/>
              <a:ext cx="80332" cy="92233"/>
            </a:xfrm>
            <a:custGeom>
              <a:avLst/>
              <a:gdLst>
                <a:gd name="T0" fmla="*/ 4 w 83"/>
                <a:gd name="T1" fmla="*/ 24 h 96"/>
                <a:gd name="T2" fmla="*/ 32 w 83"/>
                <a:gd name="T3" fmla="*/ 17 h 96"/>
                <a:gd name="T4" fmla="*/ 37 w 83"/>
                <a:gd name="T5" fmla="*/ 0 h 96"/>
                <a:gd name="T6" fmla="*/ 55 w 83"/>
                <a:gd name="T7" fmla="*/ 2 h 96"/>
                <a:gd name="T8" fmla="*/ 65 w 83"/>
                <a:gd name="T9" fmla="*/ 17 h 96"/>
                <a:gd name="T10" fmla="*/ 80 w 83"/>
                <a:gd name="T11" fmla="*/ 21 h 96"/>
                <a:gd name="T12" fmla="*/ 79 w 83"/>
                <a:gd name="T13" fmla="*/ 26 h 96"/>
                <a:gd name="T14" fmla="*/ 77 w 83"/>
                <a:gd name="T15" fmla="*/ 32 h 96"/>
                <a:gd name="T16" fmla="*/ 77 w 83"/>
                <a:gd name="T17" fmla="*/ 41 h 96"/>
                <a:gd name="T18" fmla="*/ 81 w 83"/>
                <a:gd name="T19" fmla="*/ 49 h 96"/>
                <a:gd name="T20" fmla="*/ 79 w 83"/>
                <a:gd name="T21" fmla="*/ 65 h 96"/>
                <a:gd name="T22" fmla="*/ 56 w 83"/>
                <a:gd name="T23" fmla="*/ 59 h 96"/>
                <a:gd name="T24" fmla="*/ 49 w 83"/>
                <a:gd name="T25" fmla="*/ 69 h 96"/>
                <a:gd name="T26" fmla="*/ 29 w 83"/>
                <a:gd name="T27" fmla="*/ 96 h 96"/>
                <a:gd name="T28" fmla="*/ 8 w 83"/>
                <a:gd name="T29" fmla="*/ 77 h 96"/>
                <a:gd name="T30" fmla="*/ 4 w 83"/>
                <a:gd name="T31" fmla="*/ 2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3" h="96">
                  <a:moveTo>
                    <a:pt x="4" y="24"/>
                  </a:moveTo>
                  <a:cubicBezTo>
                    <a:pt x="13" y="24"/>
                    <a:pt x="24" y="22"/>
                    <a:pt x="32" y="17"/>
                  </a:cubicBezTo>
                  <a:cubicBezTo>
                    <a:pt x="37" y="14"/>
                    <a:pt x="37" y="0"/>
                    <a:pt x="37" y="0"/>
                  </a:cubicBezTo>
                  <a:cubicBezTo>
                    <a:pt x="44" y="1"/>
                    <a:pt x="49" y="0"/>
                    <a:pt x="55" y="2"/>
                  </a:cubicBezTo>
                  <a:cubicBezTo>
                    <a:pt x="60" y="3"/>
                    <a:pt x="59" y="14"/>
                    <a:pt x="65" y="17"/>
                  </a:cubicBezTo>
                  <a:cubicBezTo>
                    <a:pt x="72" y="14"/>
                    <a:pt x="76" y="15"/>
                    <a:pt x="80" y="21"/>
                  </a:cubicBezTo>
                  <a:cubicBezTo>
                    <a:pt x="80" y="23"/>
                    <a:pt x="80" y="25"/>
                    <a:pt x="79" y="26"/>
                  </a:cubicBezTo>
                  <a:cubicBezTo>
                    <a:pt x="77" y="27"/>
                    <a:pt x="78" y="30"/>
                    <a:pt x="77" y="32"/>
                  </a:cubicBezTo>
                  <a:cubicBezTo>
                    <a:pt x="77" y="34"/>
                    <a:pt x="78" y="35"/>
                    <a:pt x="77" y="41"/>
                  </a:cubicBezTo>
                  <a:cubicBezTo>
                    <a:pt x="78" y="44"/>
                    <a:pt x="81" y="45"/>
                    <a:pt x="81" y="49"/>
                  </a:cubicBezTo>
                  <a:cubicBezTo>
                    <a:pt x="81" y="53"/>
                    <a:pt x="83" y="63"/>
                    <a:pt x="79" y="65"/>
                  </a:cubicBezTo>
                  <a:cubicBezTo>
                    <a:pt x="69" y="64"/>
                    <a:pt x="62" y="67"/>
                    <a:pt x="56" y="59"/>
                  </a:cubicBezTo>
                  <a:cubicBezTo>
                    <a:pt x="46" y="60"/>
                    <a:pt x="55" y="61"/>
                    <a:pt x="49" y="69"/>
                  </a:cubicBezTo>
                  <a:cubicBezTo>
                    <a:pt x="51" y="79"/>
                    <a:pt x="38" y="89"/>
                    <a:pt x="29" y="96"/>
                  </a:cubicBezTo>
                  <a:cubicBezTo>
                    <a:pt x="20" y="93"/>
                    <a:pt x="16" y="83"/>
                    <a:pt x="8" y="77"/>
                  </a:cubicBezTo>
                  <a:cubicBezTo>
                    <a:pt x="4" y="65"/>
                    <a:pt x="0" y="34"/>
                    <a:pt x="4" y="2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11" name="Freeform 536"/>
            <p:cNvSpPr>
              <a:spLocks/>
            </p:cNvSpPr>
            <p:nvPr>
              <p:custDataLst>
                <p:tags r:id="rId79"/>
              </p:custDataLst>
            </p:nvPr>
          </p:nvSpPr>
          <p:spPr bwMode="gray">
            <a:xfrm>
              <a:off x="3187953" y="3312873"/>
              <a:ext cx="154713" cy="240996"/>
            </a:xfrm>
            <a:custGeom>
              <a:avLst/>
              <a:gdLst>
                <a:gd name="T0" fmla="*/ 38 w 161"/>
                <a:gd name="T1" fmla="*/ 237 h 250"/>
                <a:gd name="T2" fmla="*/ 63 w 161"/>
                <a:gd name="T3" fmla="*/ 221 h 250"/>
                <a:gd name="T4" fmla="*/ 77 w 161"/>
                <a:gd name="T5" fmla="*/ 204 h 250"/>
                <a:gd name="T6" fmla="*/ 75 w 161"/>
                <a:gd name="T7" fmla="*/ 173 h 250"/>
                <a:gd name="T8" fmla="*/ 65 w 161"/>
                <a:gd name="T9" fmla="*/ 150 h 250"/>
                <a:gd name="T10" fmla="*/ 77 w 161"/>
                <a:gd name="T11" fmla="*/ 134 h 250"/>
                <a:gd name="T12" fmla="*/ 87 w 161"/>
                <a:gd name="T13" fmla="*/ 123 h 250"/>
                <a:gd name="T14" fmla="*/ 96 w 161"/>
                <a:gd name="T15" fmla="*/ 116 h 250"/>
                <a:gd name="T16" fmla="*/ 134 w 161"/>
                <a:gd name="T17" fmla="*/ 102 h 250"/>
                <a:gd name="T18" fmla="*/ 149 w 161"/>
                <a:gd name="T19" fmla="*/ 71 h 250"/>
                <a:gd name="T20" fmla="*/ 140 w 161"/>
                <a:gd name="T21" fmla="*/ 0 h 250"/>
                <a:gd name="T22" fmla="*/ 120 w 161"/>
                <a:gd name="T23" fmla="*/ 15 h 250"/>
                <a:gd name="T24" fmla="*/ 99 w 161"/>
                <a:gd name="T25" fmla="*/ 23 h 250"/>
                <a:gd name="T26" fmla="*/ 65 w 161"/>
                <a:gd name="T27" fmla="*/ 24 h 250"/>
                <a:gd name="T28" fmla="*/ 68 w 161"/>
                <a:gd name="T29" fmla="*/ 47 h 250"/>
                <a:gd name="T30" fmla="*/ 74 w 161"/>
                <a:gd name="T31" fmla="*/ 62 h 250"/>
                <a:gd name="T32" fmla="*/ 71 w 161"/>
                <a:gd name="T33" fmla="*/ 99 h 250"/>
                <a:gd name="T34" fmla="*/ 57 w 161"/>
                <a:gd name="T35" fmla="*/ 86 h 250"/>
                <a:gd name="T36" fmla="*/ 45 w 161"/>
                <a:gd name="T37" fmla="*/ 63 h 250"/>
                <a:gd name="T38" fmla="*/ 32 w 161"/>
                <a:gd name="T39" fmla="*/ 54 h 250"/>
                <a:gd name="T40" fmla="*/ 18 w 161"/>
                <a:gd name="T41" fmla="*/ 63 h 250"/>
                <a:gd name="T42" fmla="*/ 5 w 161"/>
                <a:gd name="T43" fmla="*/ 72 h 250"/>
                <a:gd name="T44" fmla="*/ 8 w 161"/>
                <a:gd name="T45" fmla="*/ 84 h 250"/>
                <a:gd name="T46" fmla="*/ 17 w 161"/>
                <a:gd name="T47" fmla="*/ 87 h 250"/>
                <a:gd name="T48" fmla="*/ 35 w 161"/>
                <a:gd name="T49" fmla="*/ 99 h 250"/>
                <a:gd name="T50" fmla="*/ 35 w 161"/>
                <a:gd name="T51" fmla="*/ 138 h 250"/>
                <a:gd name="T52" fmla="*/ 30 w 161"/>
                <a:gd name="T53" fmla="*/ 158 h 250"/>
                <a:gd name="T54" fmla="*/ 27 w 161"/>
                <a:gd name="T55" fmla="*/ 174 h 250"/>
                <a:gd name="T56" fmla="*/ 6 w 161"/>
                <a:gd name="T57" fmla="*/ 189 h 250"/>
                <a:gd name="T58" fmla="*/ 17 w 161"/>
                <a:gd name="T59" fmla="*/ 206 h 250"/>
                <a:gd name="T60" fmla="*/ 24 w 161"/>
                <a:gd name="T61" fmla="*/ 230 h 250"/>
                <a:gd name="T62" fmla="*/ 29 w 161"/>
                <a:gd name="T63" fmla="*/ 249 h 250"/>
                <a:gd name="T64" fmla="*/ 38 w 161"/>
                <a:gd name="T65" fmla="*/ 237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1" h="250">
                  <a:moveTo>
                    <a:pt x="38" y="237"/>
                  </a:moveTo>
                  <a:cubicBezTo>
                    <a:pt x="40" y="223"/>
                    <a:pt x="51" y="222"/>
                    <a:pt x="63" y="221"/>
                  </a:cubicBezTo>
                  <a:cubicBezTo>
                    <a:pt x="70" y="218"/>
                    <a:pt x="73" y="211"/>
                    <a:pt x="77" y="204"/>
                  </a:cubicBezTo>
                  <a:cubicBezTo>
                    <a:pt x="79" y="194"/>
                    <a:pt x="80" y="183"/>
                    <a:pt x="75" y="173"/>
                  </a:cubicBezTo>
                  <a:cubicBezTo>
                    <a:pt x="73" y="164"/>
                    <a:pt x="70" y="158"/>
                    <a:pt x="65" y="150"/>
                  </a:cubicBezTo>
                  <a:cubicBezTo>
                    <a:pt x="66" y="135"/>
                    <a:pt x="65" y="136"/>
                    <a:pt x="77" y="134"/>
                  </a:cubicBezTo>
                  <a:cubicBezTo>
                    <a:pt x="87" y="129"/>
                    <a:pt x="82" y="129"/>
                    <a:pt x="87" y="123"/>
                  </a:cubicBezTo>
                  <a:cubicBezTo>
                    <a:pt x="89" y="120"/>
                    <a:pt x="96" y="116"/>
                    <a:pt x="96" y="116"/>
                  </a:cubicBezTo>
                  <a:cubicBezTo>
                    <a:pt x="104" y="102"/>
                    <a:pt x="119" y="104"/>
                    <a:pt x="134" y="102"/>
                  </a:cubicBezTo>
                  <a:cubicBezTo>
                    <a:pt x="135" y="89"/>
                    <a:pt x="143" y="82"/>
                    <a:pt x="149" y="71"/>
                  </a:cubicBezTo>
                  <a:cubicBezTo>
                    <a:pt x="148" y="50"/>
                    <a:pt x="161" y="15"/>
                    <a:pt x="140" y="0"/>
                  </a:cubicBezTo>
                  <a:cubicBezTo>
                    <a:pt x="134" y="7"/>
                    <a:pt x="129" y="14"/>
                    <a:pt x="120" y="15"/>
                  </a:cubicBezTo>
                  <a:cubicBezTo>
                    <a:pt x="107" y="13"/>
                    <a:pt x="109" y="22"/>
                    <a:pt x="99" y="23"/>
                  </a:cubicBezTo>
                  <a:cubicBezTo>
                    <a:pt x="88" y="24"/>
                    <a:pt x="76" y="24"/>
                    <a:pt x="65" y="24"/>
                  </a:cubicBezTo>
                  <a:cubicBezTo>
                    <a:pt x="62" y="33"/>
                    <a:pt x="59" y="42"/>
                    <a:pt x="68" y="47"/>
                  </a:cubicBezTo>
                  <a:cubicBezTo>
                    <a:pt x="72" y="52"/>
                    <a:pt x="72" y="56"/>
                    <a:pt x="74" y="62"/>
                  </a:cubicBezTo>
                  <a:cubicBezTo>
                    <a:pt x="76" y="74"/>
                    <a:pt x="83" y="90"/>
                    <a:pt x="71" y="99"/>
                  </a:cubicBezTo>
                  <a:cubicBezTo>
                    <a:pt x="60" y="97"/>
                    <a:pt x="61" y="94"/>
                    <a:pt x="57" y="86"/>
                  </a:cubicBezTo>
                  <a:cubicBezTo>
                    <a:pt x="56" y="62"/>
                    <a:pt x="60" y="68"/>
                    <a:pt x="45" y="63"/>
                  </a:cubicBezTo>
                  <a:cubicBezTo>
                    <a:pt x="41" y="58"/>
                    <a:pt x="38" y="56"/>
                    <a:pt x="32" y="54"/>
                  </a:cubicBezTo>
                  <a:cubicBezTo>
                    <a:pt x="28" y="61"/>
                    <a:pt x="26" y="62"/>
                    <a:pt x="18" y="63"/>
                  </a:cubicBezTo>
                  <a:cubicBezTo>
                    <a:pt x="14" y="70"/>
                    <a:pt x="11" y="68"/>
                    <a:pt x="5" y="72"/>
                  </a:cubicBezTo>
                  <a:cubicBezTo>
                    <a:pt x="1" y="78"/>
                    <a:pt x="0" y="82"/>
                    <a:pt x="8" y="84"/>
                  </a:cubicBezTo>
                  <a:cubicBezTo>
                    <a:pt x="11" y="85"/>
                    <a:pt x="14" y="85"/>
                    <a:pt x="17" y="87"/>
                  </a:cubicBezTo>
                  <a:cubicBezTo>
                    <a:pt x="24" y="92"/>
                    <a:pt x="25" y="97"/>
                    <a:pt x="35" y="99"/>
                  </a:cubicBezTo>
                  <a:cubicBezTo>
                    <a:pt x="38" y="107"/>
                    <a:pt x="36" y="128"/>
                    <a:pt x="35" y="138"/>
                  </a:cubicBezTo>
                  <a:cubicBezTo>
                    <a:pt x="34" y="148"/>
                    <a:pt x="31" y="152"/>
                    <a:pt x="30" y="158"/>
                  </a:cubicBezTo>
                  <a:cubicBezTo>
                    <a:pt x="29" y="165"/>
                    <a:pt x="33" y="170"/>
                    <a:pt x="27" y="174"/>
                  </a:cubicBezTo>
                  <a:cubicBezTo>
                    <a:pt x="24" y="182"/>
                    <a:pt x="13" y="185"/>
                    <a:pt x="6" y="189"/>
                  </a:cubicBezTo>
                  <a:cubicBezTo>
                    <a:pt x="8" y="194"/>
                    <a:pt x="15" y="201"/>
                    <a:pt x="17" y="206"/>
                  </a:cubicBezTo>
                  <a:cubicBezTo>
                    <a:pt x="18" y="222"/>
                    <a:pt x="16" y="220"/>
                    <a:pt x="24" y="230"/>
                  </a:cubicBezTo>
                  <a:cubicBezTo>
                    <a:pt x="26" y="243"/>
                    <a:pt x="18" y="247"/>
                    <a:pt x="29" y="249"/>
                  </a:cubicBezTo>
                  <a:cubicBezTo>
                    <a:pt x="31" y="250"/>
                    <a:pt x="32" y="242"/>
                    <a:pt x="38" y="23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12" name="Freeform 537"/>
            <p:cNvSpPr>
              <a:spLocks/>
            </p:cNvSpPr>
            <p:nvPr>
              <p:custDataLst>
                <p:tags r:id="rId80"/>
              </p:custDataLst>
            </p:nvPr>
          </p:nvSpPr>
          <p:spPr bwMode="gray">
            <a:xfrm>
              <a:off x="3163158" y="3198822"/>
              <a:ext cx="28761" cy="29753"/>
            </a:xfrm>
            <a:custGeom>
              <a:avLst/>
              <a:gdLst>
                <a:gd name="T0" fmla="*/ 25 w 29"/>
                <a:gd name="T1" fmla="*/ 0 h 31"/>
                <a:gd name="T2" fmla="*/ 3 w 29"/>
                <a:gd name="T3" fmla="*/ 7 h 31"/>
                <a:gd name="T4" fmla="*/ 4 w 29"/>
                <a:gd name="T5" fmla="*/ 28 h 31"/>
                <a:gd name="T6" fmla="*/ 18 w 29"/>
                <a:gd name="T7" fmla="*/ 25 h 31"/>
                <a:gd name="T8" fmla="*/ 27 w 29"/>
                <a:gd name="T9" fmla="*/ 18 h 31"/>
                <a:gd name="T10" fmla="*/ 25 w 29"/>
                <a:gd name="T11" fmla="*/ 7 h 31"/>
                <a:gd name="T12" fmla="*/ 25 w 29"/>
                <a:gd name="T1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31">
                  <a:moveTo>
                    <a:pt x="25" y="0"/>
                  </a:moveTo>
                  <a:cubicBezTo>
                    <a:pt x="16" y="1"/>
                    <a:pt x="9" y="0"/>
                    <a:pt x="3" y="7"/>
                  </a:cubicBezTo>
                  <a:cubicBezTo>
                    <a:pt x="0" y="11"/>
                    <a:pt x="2" y="25"/>
                    <a:pt x="4" y="28"/>
                  </a:cubicBezTo>
                  <a:cubicBezTo>
                    <a:pt x="6" y="31"/>
                    <a:pt x="14" y="27"/>
                    <a:pt x="18" y="25"/>
                  </a:cubicBezTo>
                  <a:cubicBezTo>
                    <a:pt x="21" y="23"/>
                    <a:pt x="26" y="21"/>
                    <a:pt x="27" y="18"/>
                  </a:cubicBezTo>
                  <a:cubicBezTo>
                    <a:pt x="28" y="15"/>
                    <a:pt x="25" y="10"/>
                    <a:pt x="25" y="7"/>
                  </a:cubicBezTo>
                  <a:cubicBezTo>
                    <a:pt x="25" y="4"/>
                    <a:pt x="29" y="0"/>
                    <a:pt x="25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13" name="Freeform 538"/>
            <p:cNvSpPr>
              <a:spLocks/>
            </p:cNvSpPr>
            <p:nvPr>
              <p:custDataLst>
                <p:tags r:id="rId81"/>
              </p:custDataLst>
            </p:nvPr>
          </p:nvSpPr>
          <p:spPr bwMode="gray">
            <a:xfrm>
              <a:off x="3165142" y="3177995"/>
              <a:ext cx="163639" cy="160664"/>
            </a:xfrm>
            <a:custGeom>
              <a:avLst/>
              <a:gdLst>
                <a:gd name="T0" fmla="*/ 10 w 169"/>
                <a:gd name="T1" fmla="*/ 2 h 167"/>
                <a:gd name="T2" fmla="*/ 53 w 169"/>
                <a:gd name="T3" fmla="*/ 2 h 167"/>
                <a:gd name="T4" fmla="*/ 77 w 169"/>
                <a:gd name="T5" fmla="*/ 5 h 167"/>
                <a:gd name="T6" fmla="*/ 103 w 169"/>
                <a:gd name="T7" fmla="*/ 13 h 167"/>
                <a:gd name="T8" fmla="*/ 128 w 169"/>
                <a:gd name="T9" fmla="*/ 37 h 167"/>
                <a:gd name="T10" fmla="*/ 149 w 169"/>
                <a:gd name="T11" fmla="*/ 49 h 167"/>
                <a:gd name="T12" fmla="*/ 154 w 169"/>
                <a:gd name="T13" fmla="*/ 106 h 167"/>
                <a:gd name="T14" fmla="*/ 157 w 169"/>
                <a:gd name="T15" fmla="*/ 122 h 167"/>
                <a:gd name="T16" fmla="*/ 155 w 169"/>
                <a:gd name="T17" fmla="*/ 151 h 167"/>
                <a:gd name="T18" fmla="*/ 136 w 169"/>
                <a:gd name="T19" fmla="*/ 155 h 167"/>
                <a:gd name="T20" fmla="*/ 124 w 169"/>
                <a:gd name="T21" fmla="*/ 163 h 167"/>
                <a:gd name="T22" fmla="*/ 106 w 169"/>
                <a:gd name="T23" fmla="*/ 164 h 167"/>
                <a:gd name="T24" fmla="*/ 89 w 169"/>
                <a:gd name="T25" fmla="*/ 160 h 167"/>
                <a:gd name="T26" fmla="*/ 38 w 169"/>
                <a:gd name="T27" fmla="*/ 121 h 167"/>
                <a:gd name="T28" fmla="*/ 20 w 169"/>
                <a:gd name="T29" fmla="*/ 109 h 167"/>
                <a:gd name="T30" fmla="*/ 23 w 169"/>
                <a:gd name="T31" fmla="*/ 92 h 167"/>
                <a:gd name="T32" fmla="*/ 10 w 169"/>
                <a:gd name="T33" fmla="*/ 85 h 167"/>
                <a:gd name="T34" fmla="*/ 1 w 169"/>
                <a:gd name="T35" fmla="*/ 73 h 167"/>
                <a:gd name="T36" fmla="*/ 2 w 169"/>
                <a:gd name="T37" fmla="*/ 53 h 167"/>
                <a:gd name="T38" fmla="*/ 12 w 169"/>
                <a:gd name="T39" fmla="*/ 52 h 167"/>
                <a:gd name="T40" fmla="*/ 26 w 169"/>
                <a:gd name="T41" fmla="*/ 38 h 167"/>
                <a:gd name="T42" fmla="*/ 23 w 169"/>
                <a:gd name="T43" fmla="*/ 23 h 167"/>
                <a:gd name="T44" fmla="*/ 25 w 169"/>
                <a:gd name="T45" fmla="*/ 13 h 167"/>
                <a:gd name="T46" fmla="*/ 10 w 169"/>
                <a:gd name="T47" fmla="*/ 2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9" h="167">
                  <a:moveTo>
                    <a:pt x="10" y="2"/>
                  </a:moveTo>
                  <a:cubicBezTo>
                    <a:pt x="15" y="0"/>
                    <a:pt x="38" y="0"/>
                    <a:pt x="53" y="2"/>
                  </a:cubicBezTo>
                  <a:cubicBezTo>
                    <a:pt x="64" y="2"/>
                    <a:pt x="69" y="3"/>
                    <a:pt x="77" y="5"/>
                  </a:cubicBezTo>
                  <a:cubicBezTo>
                    <a:pt x="85" y="7"/>
                    <a:pt x="95" y="8"/>
                    <a:pt x="103" y="13"/>
                  </a:cubicBezTo>
                  <a:cubicBezTo>
                    <a:pt x="113" y="20"/>
                    <a:pt x="117" y="32"/>
                    <a:pt x="128" y="37"/>
                  </a:cubicBezTo>
                  <a:cubicBezTo>
                    <a:pt x="136" y="48"/>
                    <a:pt x="136" y="45"/>
                    <a:pt x="149" y="49"/>
                  </a:cubicBezTo>
                  <a:cubicBezTo>
                    <a:pt x="138" y="64"/>
                    <a:pt x="147" y="89"/>
                    <a:pt x="154" y="106"/>
                  </a:cubicBezTo>
                  <a:cubicBezTo>
                    <a:pt x="155" y="113"/>
                    <a:pt x="153" y="117"/>
                    <a:pt x="157" y="122"/>
                  </a:cubicBezTo>
                  <a:cubicBezTo>
                    <a:pt x="159" y="134"/>
                    <a:pt x="169" y="149"/>
                    <a:pt x="155" y="151"/>
                  </a:cubicBezTo>
                  <a:cubicBezTo>
                    <a:pt x="152" y="157"/>
                    <a:pt x="141" y="153"/>
                    <a:pt x="136" y="155"/>
                  </a:cubicBezTo>
                  <a:cubicBezTo>
                    <a:pt x="131" y="157"/>
                    <a:pt x="129" y="162"/>
                    <a:pt x="124" y="163"/>
                  </a:cubicBezTo>
                  <a:cubicBezTo>
                    <a:pt x="119" y="164"/>
                    <a:pt x="112" y="164"/>
                    <a:pt x="106" y="164"/>
                  </a:cubicBezTo>
                  <a:cubicBezTo>
                    <a:pt x="100" y="167"/>
                    <a:pt x="95" y="161"/>
                    <a:pt x="89" y="160"/>
                  </a:cubicBezTo>
                  <a:cubicBezTo>
                    <a:pt x="87" y="131"/>
                    <a:pt x="64" y="122"/>
                    <a:pt x="38" y="121"/>
                  </a:cubicBezTo>
                  <a:cubicBezTo>
                    <a:pt x="32" y="117"/>
                    <a:pt x="26" y="113"/>
                    <a:pt x="20" y="109"/>
                  </a:cubicBezTo>
                  <a:cubicBezTo>
                    <a:pt x="17" y="105"/>
                    <a:pt x="25" y="96"/>
                    <a:pt x="23" y="92"/>
                  </a:cubicBezTo>
                  <a:cubicBezTo>
                    <a:pt x="21" y="88"/>
                    <a:pt x="14" y="88"/>
                    <a:pt x="10" y="85"/>
                  </a:cubicBezTo>
                  <a:cubicBezTo>
                    <a:pt x="8" y="78"/>
                    <a:pt x="2" y="78"/>
                    <a:pt x="1" y="73"/>
                  </a:cubicBezTo>
                  <a:cubicBezTo>
                    <a:pt x="0" y="68"/>
                    <a:pt x="0" y="56"/>
                    <a:pt x="2" y="53"/>
                  </a:cubicBezTo>
                  <a:cubicBezTo>
                    <a:pt x="4" y="50"/>
                    <a:pt x="8" y="54"/>
                    <a:pt x="12" y="52"/>
                  </a:cubicBezTo>
                  <a:cubicBezTo>
                    <a:pt x="16" y="50"/>
                    <a:pt x="24" y="43"/>
                    <a:pt x="26" y="38"/>
                  </a:cubicBezTo>
                  <a:cubicBezTo>
                    <a:pt x="25" y="32"/>
                    <a:pt x="26" y="29"/>
                    <a:pt x="23" y="23"/>
                  </a:cubicBezTo>
                  <a:cubicBezTo>
                    <a:pt x="25" y="20"/>
                    <a:pt x="24" y="16"/>
                    <a:pt x="25" y="13"/>
                  </a:cubicBezTo>
                  <a:cubicBezTo>
                    <a:pt x="29" y="2"/>
                    <a:pt x="15" y="3"/>
                    <a:pt x="10" y="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14" name="Freeform 547"/>
            <p:cNvSpPr>
              <a:spLocks/>
            </p:cNvSpPr>
            <p:nvPr>
              <p:custDataLst>
                <p:tags r:id="rId82"/>
              </p:custDataLst>
            </p:nvPr>
          </p:nvSpPr>
          <p:spPr bwMode="gray">
            <a:xfrm>
              <a:off x="3167125" y="3179979"/>
              <a:ext cx="30745" cy="23802"/>
            </a:xfrm>
            <a:custGeom>
              <a:avLst/>
              <a:gdLst>
                <a:gd name="T0" fmla="*/ 11 w 32"/>
                <a:gd name="T1" fmla="*/ 2 h 25"/>
                <a:gd name="T2" fmla="*/ 21 w 32"/>
                <a:gd name="T3" fmla="*/ 14 h 25"/>
                <a:gd name="T4" fmla="*/ 0 w 32"/>
                <a:gd name="T5" fmla="*/ 24 h 25"/>
                <a:gd name="T6" fmla="*/ 6 w 32"/>
                <a:gd name="T7" fmla="*/ 8 h 25"/>
                <a:gd name="T8" fmla="*/ 11 w 32"/>
                <a:gd name="T9" fmla="*/ 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5">
                  <a:moveTo>
                    <a:pt x="11" y="2"/>
                  </a:moveTo>
                  <a:cubicBezTo>
                    <a:pt x="23" y="0"/>
                    <a:pt x="32" y="10"/>
                    <a:pt x="21" y="14"/>
                  </a:cubicBezTo>
                  <a:cubicBezTo>
                    <a:pt x="16" y="21"/>
                    <a:pt x="8" y="25"/>
                    <a:pt x="0" y="24"/>
                  </a:cubicBezTo>
                  <a:cubicBezTo>
                    <a:pt x="1" y="16"/>
                    <a:pt x="0" y="13"/>
                    <a:pt x="6" y="8"/>
                  </a:cubicBezTo>
                  <a:cubicBezTo>
                    <a:pt x="9" y="2"/>
                    <a:pt x="7" y="2"/>
                    <a:pt x="11" y="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15" name="Freeform 548"/>
            <p:cNvSpPr>
              <a:spLocks/>
            </p:cNvSpPr>
            <p:nvPr>
              <p:custDataLst>
                <p:tags r:id="rId83"/>
              </p:custDataLst>
            </p:nvPr>
          </p:nvSpPr>
          <p:spPr bwMode="gray">
            <a:xfrm>
              <a:off x="3218696" y="3300972"/>
              <a:ext cx="45621" cy="107109"/>
            </a:xfrm>
            <a:custGeom>
              <a:avLst/>
              <a:gdLst>
                <a:gd name="T0" fmla="*/ 7 w 47"/>
                <a:gd name="T1" fmla="*/ 0 h 111"/>
                <a:gd name="T2" fmla="*/ 33 w 47"/>
                <a:gd name="T3" fmla="*/ 20 h 111"/>
                <a:gd name="T4" fmla="*/ 34 w 47"/>
                <a:gd name="T5" fmla="*/ 33 h 111"/>
                <a:gd name="T6" fmla="*/ 31 w 47"/>
                <a:gd name="T7" fmla="*/ 54 h 111"/>
                <a:gd name="T8" fmla="*/ 45 w 47"/>
                <a:gd name="T9" fmla="*/ 78 h 111"/>
                <a:gd name="T10" fmla="*/ 45 w 47"/>
                <a:gd name="T11" fmla="*/ 101 h 111"/>
                <a:gd name="T12" fmla="*/ 30 w 47"/>
                <a:gd name="T13" fmla="*/ 108 h 111"/>
                <a:gd name="T14" fmla="*/ 24 w 47"/>
                <a:gd name="T15" fmla="*/ 80 h 111"/>
                <a:gd name="T16" fmla="*/ 9 w 47"/>
                <a:gd name="T17" fmla="*/ 68 h 111"/>
                <a:gd name="T18" fmla="*/ 1 w 47"/>
                <a:gd name="T19" fmla="*/ 56 h 111"/>
                <a:gd name="T20" fmla="*/ 12 w 47"/>
                <a:gd name="T21" fmla="*/ 35 h 111"/>
                <a:gd name="T22" fmla="*/ 7 w 47"/>
                <a:gd name="T23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111">
                  <a:moveTo>
                    <a:pt x="7" y="0"/>
                  </a:moveTo>
                  <a:cubicBezTo>
                    <a:pt x="21" y="2"/>
                    <a:pt x="28" y="6"/>
                    <a:pt x="33" y="20"/>
                  </a:cubicBezTo>
                  <a:cubicBezTo>
                    <a:pt x="37" y="26"/>
                    <a:pt x="34" y="27"/>
                    <a:pt x="34" y="33"/>
                  </a:cubicBezTo>
                  <a:cubicBezTo>
                    <a:pt x="34" y="39"/>
                    <a:pt x="29" y="47"/>
                    <a:pt x="31" y="54"/>
                  </a:cubicBezTo>
                  <a:cubicBezTo>
                    <a:pt x="35" y="60"/>
                    <a:pt x="43" y="71"/>
                    <a:pt x="45" y="78"/>
                  </a:cubicBezTo>
                  <a:cubicBezTo>
                    <a:pt x="47" y="86"/>
                    <a:pt x="47" y="96"/>
                    <a:pt x="45" y="101"/>
                  </a:cubicBezTo>
                  <a:cubicBezTo>
                    <a:pt x="43" y="106"/>
                    <a:pt x="33" y="111"/>
                    <a:pt x="30" y="108"/>
                  </a:cubicBezTo>
                  <a:cubicBezTo>
                    <a:pt x="26" y="100"/>
                    <a:pt x="26" y="88"/>
                    <a:pt x="24" y="80"/>
                  </a:cubicBezTo>
                  <a:cubicBezTo>
                    <a:pt x="22" y="73"/>
                    <a:pt x="14" y="72"/>
                    <a:pt x="9" y="68"/>
                  </a:cubicBezTo>
                  <a:cubicBezTo>
                    <a:pt x="6" y="63"/>
                    <a:pt x="2" y="62"/>
                    <a:pt x="1" y="56"/>
                  </a:cubicBezTo>
                  <a:cubicBezTo>
                    <a:pt x="0" y="50"/>
                    <a:pt x="11" y="44"/>
                    <a:pt x="12" y="35"/>
                  </a:cubicBezTo>
                  <a:cubicBezTo>
                    <a:pt x="13" y="26"/>
                    <a:pt x="8" y="7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16" name="Freeform 549"/>
            <p:cNvSpPr>
              <a:spLocks/>
            </p:cNvSpPr>
            <p:nvPr>
              <p:custDataLst>
                <p:tags r:id="rId84"/>
              </p:custDataLst>
            </p:nvPr>
          </p:nvSpPr>
          <p:spPr bwMode="gray">
            <a:xfrm>
              <a:off x="2862658" y="2587903"/>
              <a:ext cx="57522" cy="108101"/>
            </a:xfrm>
            <a:custGeom>
              <a:avLst/>
              <a:gdLst>
                <a:gd name="T0" fmla="*/ 19 w 60"/>
                <a:gd name="T1" fmla="*/ 9 h 112"/>
                <a:gd name="T2" fmla="*/ 39 w 60"/>
                <a:gd name="T3" fmla="*/ 4 h 112"/>
                <a:gd name="T4" fmla="*/ 48 w 60"/>
                <a:gd name="T5" fmla="*/ 34 h 112"/>
                <a:gd name="T6" fmla="*/ 37 w 60"/>
                <a:gd name="T7" fmla="*/ 51 h 112"/>
                <a:gd name="T8" fmla="*/ 51 w 60"/>
                <a:gd name="T9" fmla="*/ 73 h 112"/>
                <a:gd name="T10" fmla="*/ 54 w 60"/>
                <a:gd name="T11" fmla="*/ 90 h 112"/>
                <a:gd name="T12" fmla="*/ 41 w 60"/>
                <a:gd name="T13" fmla="*/ 99 h 112"/>
                <a:gd name="T14" fmla="*/ 34 w 60"/>
                <a:gd name="T15" fmla="*/ 103 h 112"/>
                <a:gd name="T16" fmla="*/ 27 w 60"/>
                <a:gd name="T17" fmla="*/ 109 h 112"/>
                <a:gd name="T18" fmla="*/ 7 w 60"/>
                <a:gd name="T19" fmla="*/ 87 h 112"/>
                <a:gd name="T20" fmla="*/ 0 w 60"/>
                <a:gd name="T21" fmla="*/ 73 h 112"/>
                <a:gd name="T22" fmla="*/ 9 w 60"/>
                <a:gd name="T23" fmla="*/ 34 h 112"/>
                <a:gd name="T24" fmla="*/ 19 w 60"/>
                <a:gd name="T25" fmla="*/ 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112">
                  <a:moveTo>
                    <a:pt x="19" y="9"/>
                  </a:moveTo>
                  <a:cubicBezTo>
                    <a:pt x="24" y="0"/>
                    <a:pt x="29" y="3"/>
                    <a:pt x="39" y="4"/>
                  </a:cubicBezTo>
                  <a:cubicBezTo>
                    <a:pt x="49" y="12"/>
                    <a:pt x="43" y="23"/>
                    <a:pt x="48" y="34"/>
                  </a:cubicBezTo>
                  <a:cubicBezTo>
                    <a:pt x="50" y="44"/>
                    <a:pt x="47" y="48"/>
                    <a:pt x="37" y="51"/>
                  </a:cubicBezTo>
                  <a:cubicBezTo>
                    <a:pt x="35" y="64"/>
                    <a:pt x="38" y="70"/>
                    <a:pt x="51" y="73"/>
                  </a:cubicBezTo>
                  <a:cubicBezTo>
                    <a:pt x="55" y="80"/>
                    <a:pt x="60" y="86"/>
                    <a:pt x="54" y="90"/>
                  </a:cubicBezTo>
                  <a:cubicBezTo>
                    <a:pt x="52" y="94"/>
                    <a:pt x="44" y="97"/>
                    <a:pt x="41" y="99"/>
                  </a:cubicBezTo>
                  <a:cubicBezTo>
                    <a:pt x="38" y="101"/>
                    <a:pt x="36" y="101"/>
                    <a:pt x="34" y="103"/>
                  </a:cubicBezTo>
                  <a:cubicBezTo>
                    <a:pt x="32" y="105"/>
                    <a:pt x="32" y="112"/>
                    <a:pt x="27" y="109"/>
                  </a:cubicBezTo>
                  <a:cubicBezTo>
                    <a:pt x="25" y="100"/>
                    <a:pt x="15" y="92"/>
                    <a:pt x="7" y="87"/>
                  </a:cubicBezTo>
                  <a:cubicBezTo>
                    <a:pt x="4" y="82"/>
                    <a:pt x="1" y="79"/>
                    <a:pt x="0" y="73"/>
                  </a:cubicBezTo>
                  <a:cubicBezTo>
                    <a:pt x="1" y="61"/>
                    <a:pt x="3" y="45"/>
                    <a:pt x="9" y="34"/>
                  </a:cubicBezTo>
                  <a:cubicBezTo>
                    <a:pt x="9" y="28"/>
                    <a:pt x="8" y="9"/>
                    <a:pt x="19" y="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17" name="Freeform 553"/>
            <p:cNvSpPr>
              <a:spLocks/>
            </p:cNvSpPr>
            <p:nvPr>
              <p:custDataLst>
                <p:tags r:id="rId85"/>
              </p:custDataLst>
            </p:nvPr>
          </p:nvSpPr>
          <p:spPr bwMode="gray">
            <a:xfrm>
              <a:off x="2945965" y="2225914"/>
              <a:ext cx="149755" cy="122977"/>
            </a:xfrm>
            <a:custGeom>
              <a:avLst/>
              <a:gdLst>
                <a:gd name="T0" fmla="*/ 0 w 155"/>
                <a:gd name="T1" fmla="*/ 18 h 128"/>
                <a:gd name="T2" fmla="*/ 33 w 155"/>
                <a:gd name="T3" fmla="*/ 15 h 128"/>
                <a:gd name="T4" fmla="*/ 54 w 155"/>
                <a:gd name="T5" fmla="*/ 0 h 128"/>
                <a:gd name="T6" fmla="*/ 87 w 155"/>
                <a:gd name="T7" fmla="*/ 4 h 128"/>
                <a:gd name="T8" fmla="*/ 96 w 155"/>
                <a:gd name="T9" fmla="*/ 16 h 128"/>
                <a:gd name="T10" fmla="*/ 120 w 155"/>
                <a:gd name="T11" fmla="*/ 15 h 128"/>
                <a:gd name="T12" fmla="*/ 147 w 155"/>
                <a:gd name="T13" fmla="*/ 19 h 128"/>
                <a:gd name="T14" fmla="*/ 153 w 155"/>
                <a:gd name="T15" fmla="*/ 39 h 128"/>
                <a:gd name="T16" fmla="*/ 145 w 155"/>
                <a:gd name="T17" fmla="*/ 57 h 128"/>
                <a:gd name="T18" fmla="*/ 150 w 155"/>
                <a:gd name="T19" fmla="*/ 76 h 128"/>
                <a:gd name="T20" fmla="*/ 153 w 155"/>
                <a:gd name="T21" fmla="*/ 99 h 128"/>
                <a:gd name="T22" fmla="*/ 136 w 155"/>
                <a:gd name="T23" fmla="*/ 118 h 128"/>
                <a:gd name="T24" fmla="*/ 123 w 155"/>
                <a:gd name="T25" fmla="*/ 124 h 128"/>
                <a:gd name="T26" fmla="*/ 94 w 155"/>
                <a:gd name="T27" fmla="*/ 127 h 128"/>
                <a:gd name="T28" fmla="*/ 73 w 155"/>
                <a:gd name="T29" fmla="*/ 121 h 128"/>
                <a:gd name="T30" fmla="*/ 39 w 155"/>
                <a:gd name="T31" fmla="*/ 96 h 128"/>
                <a:gd name="T32" fmla="*/ 12 w 155"/>
                <a:gd name="T33" fmla="*/ 88 h 128"/>
                <a:gd name="T34" fmla="*/ 10 w 155"/>
                <a:gd name="T35" fmla="*/ 52 h 128"/>
                <a:gd name="T36" fmla="*/ 0 w 155"/>
                <a:gd name="T37" fmla="*/ 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28">
                  <a:moveTo>
                    <a:pt x="0" y="18"/>
                  </a:moveTo>
                  <a:cubicBezTo>
                    <a:pt x="5" y="17"/>
                    <a:pt x="33" y="15"/>
                    <a:pt x="33" y="15"/>
                  </a:cubicBezTo>
                  <a:cubicBezTo>
                    <a:pt x="42" y="10"/>
                    <a:pt x="42" y="2"/>
                    <a:pt x="54" y="0"/>
                  </a:cubicBezTo>
                  <a:cubicBezTo>
                    <a:pt x="78" y="1"/>
                    <a:pt x="63" y="0"/>
                    <a:pt x="87" y="4"/>
                  </a:cubicBezTo>
                  <a:cubicBezTo>
                    <a:pt x="91" y="5"/>
                    <a:pt x="96" y="16"/>
                    <a:pt x="96" y="16"/>
                  </a:cubicBezTo>
                  <a:cubicBezTo>
                    <a:pt x="100" y="18"/>
                    <a:pt x="112" y="15"/>
                    <a:pt x="120" y="15"/>
                  </a:cubicBezTo>
                  <a:cubicBezTo>
                    <a:pt x="128" y="15"/>
                    <a:pt x="142" y="15"/>
                    <a:pt x="147" y="19"/>
                  </a:cubicBezTo>
                  <a:cubicBezTo>
                    <a:pt x="153" y="23"/>
                    <a:pt x="153" y="33"/>
                    <a:pt x="153" y="39"/>
                  </a:cubicBezTo>
                  <a:cubicBezTo>
                    <a:pt x="153" y="45"/>
                    <a:pt x="145" y="51"/>
                    <a:pt x="145" y="57"/>
                  </a:cubicBezTo>
                  <a:cubicBezTo>
                    <a:pt x="148" y="73"/>
                    <a:pt x="146" y="67"/>
                    <a:pt x="150" y="76"/>
                  </a:cubicBezTo>
                  <a:cubicBezTo>
                    <a:pt x="151" y="83"/>
                    <a:pt x="155" y="92"/>
                    <a:pt x="153" y="99"/>
                  </a:cubicBezTo>
                  <a:cubicBezTo>
                    <a:pt x="151" y="106"/>
                    <a:pt x="141" y="114"/>
                    <a:pt x="136" y="118"/>
                  </a:cubicBezTo>
                  <a:cubicBezTo>
                    <a:pt x="131" y="120"/>
                    <a:pt x="127" y="121"/>
                    <a:pt x="123" y="124"/>
                  </a:cubicBezTo>
                  <a:cubicBezTo>
                    <a:pt x="117" y="125"/>
                    <a:pt x="102" y="128"/>
                    <a:pt x="94" y="127"/>
                  </a:cubicBezTo>
                  <a:cubicBezTo>
                    <a:pt x="86" y="126"/>
                    <a:pt x="82" y="126"/>
                    <a:pt x="73" y="121"/>
                  </a:cubicBezTo>
                  <a:cubicBezTo>
                    <a:pt x="61" y="120"/>
                    <a:pt x="52" y="99"/>
                    <a:pt x="39" y="96"/>
                  </a:cubicBezTo>
                  <a:cubicBezTo>
                    <a:pt x="28" y="88"/>
                    <a:pt x="25" y="92"/>
                    <a:pt x="12" y="88"/>
                  </a:cubicBezTo>
                  <a:cubicBezTo>
                    <a:pt x="6" y="80"/>
                    <a:pt x="11" y="64"/>
                    <a:pt x="10" y="52"/>
                  </a:cubicBezTo>
                  <a:cubicBezTo>
                    <a:pt x="8" y="40"/>
                    <a:pt x="1" y="25"/>
                    <a:pt x="0" y="1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grpSp>
          <p:nvGrpSpPr>
            <p:cNvPr id="118" name="Group 554"/>
            <p:cNvGrpSpPr>
              <a:grpSpLocks/>
            </p:cNvGrpSpPr>
            <p:nvPr>
              <p:custDataLst>
                <p:tags r:id="rId86"/>
              </p:custDataLst>
            </p:nvPr>
          </p:nvGrpSpPr>
          <p:grpSpPr bwMode="auto">
            <a:xfrm>
              <a:off x="2861666" y="2148557"/>
              <a:ext cx="110085" cy="97192"/>
              <a:chOff x="441" y="1788"/>
              <a:chExt cx="114" cy="101"/>
            </a:xfrm>
            <a:solidFill>
              <a:schemeClr val="bg1"/>
            </a:solidFill>
          </p:grpSpPr>
          <p:sp>
            <p:nvSpPr>
              <p:cNvPr id="221" name="Freeform 555"/>
              <p:cNvSpPr>
                <a:spLocks/>
              </p:cNvSpPr>
              <p:nvPr>
                <p:custDataLst>
                  <p:tags r:id="rId177"/>
                </p:custDataLst>
              </p:nvPr>
            </p:nvSpPr>
            <p:spPr bwMode="gray">
              <a:xfrm>
                <a:off x="441" y="1788"/>
                <a:ext cx="71" cy="101"/>
              </a:xfrm>
              <a:custGeom>
                <a:avLst/>
                <a:gdLst>
                  <a:gd name="T0" fmla="*/ 9 w 71"/>
                  <a:gd name="T1" fmla="*/ 78 h 101"/>
                  <a:gd name="T2" fmla="*/ 7 w 71"/>
                  <a:gd name="T3" fmla="*/ 62 h 101"/>
                  <a:gd name="T4" fmla="*/ 3 w 71"/>
                  <a:gd name="T5" fmla="*/ 50 h 101"/>
                  <a:gd name="T6" fmla="*/ 23 w 71"/>
                  <a:gd name="T7" fmla="*/ 20 h 101"/>
                  <a:gd name="T8" fmla="*/ 35 w 71"/>
                  <a:gd name="T9" fmla="*/ 0 h 101"/>
                  <a:gd name="T10" fmla="*/ 49 w 71"/>
                  <a:gd name="T11" fmla="*/ 14 h 101"/>
                  <a:gd name="T12" fmla="*/ 43 w 71"/>
                  <a:gd name="T13" fmla="*/ 36 h 101"/>
                  <a:gd name="T14" fmla="*/ 45 w 71"/>
                  <a:gd name="T15" fmla="*/ 50 h 101"/>
                  <a:gd name="T16" fmla="*/ 67 w 71"/>
                  <a:gd name="T17" fmla="*/ 44 h 101"/>
                  <a:gd name="T18" fmla="*/ 63 w 71"/>
                  <a:gd name="T19" fmla="*/ 80 h 101"/>
                  <a:gd name="T20" fmla="*/ 45 w 71"/>
                  <a:gd name="T21" fmla="*/ 70 h 101"/>
                  <a:gd name="T22" fmla="*/ 31 w 71"/>
                  <a:gd name="T23" fmla="*/ 84 h 101"/>
                  <a:gd name="T24" fmla="*/ 22 w 71"/>
                  <a:gd name="T25" fmla="*/ 87 h 101"/>
                  <a:gd name="T26" fmla="*/ 23 w 71"/>
                  <a:gd name="T27" fmla="*/ 100 h 101"/>
                  <a:gd name="T28" fmla="*/ 9 w 71"/>
                  <a:gd name="T29" fmla="*/ 62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1" h="101">
                    <a:moveTo>
                      <a:pt x="9" y="78"/>
                    </a:moveTo>
                    <a:cubicBezTo>
                      <a:pt x="8" y="73"/>
                      <a:pt x="8" y="67"/>
                      <a:pt x="7" y="62"/>
                    </a:cubicBezTo>
                    <a:cubicBezTo>
                      <a:pt x="6" y="58"/>
                      <a:pt x="3" y="50"/>
                      <a:pt x="3" y="50"/>
                    </a:cubicBezTo>
                    <a:cubicBezTo>
                      <a:pt x="5" y="28"/>
                      <a:pt x="0" y="23"/>
                      <a:pt x="23" y="20"/>
                    </a:cubicBezTo>
                    <a:cubicBezTo>
                      <a:pt x="30" y="13"/>
                      <a:pt x="33" y="9"/>
                      <a:pt x="35" y="0"/>
                    </a:cubicBezTo>
                    <a:cubicBezTo>
                      <a:pt x="41" y="2"/>
                      <a:pt x="49" y="14"/>
                      <a:pt x="49" y="14"/>
                    </a:cubicBezTo>
                    <a:cubicBezTo>
                      <a:pt x="47" y="25"/>
                      <a:pt x="40" y="28"/>
                      <a:pt x="43" y="36"/>
                    </a:cubicBezTo>
                    <a:cubicBezTo>
                      <a:pt x="38" y="50"/>
                      <a:pt x="35" y="47"/>
                      <a:pt x="45" y="50"/>
                    </a:cubicBezTo>
                    <a:cubicBezTo>
                      <a:pt x="61" y="45"/>
                      <a:pt x="42" y="40"/>
                      <a:pt x="67" y="44"/>
                    </a:cubicBezTo>
                    <a:cubicBezTo>
                      <a:pt x="71" y="55"/>
                      <a:pt x="65" y="69"/>
                      <a:pt x="63" y="80"/>
                    </a:cubicBezTo>
                    <a:cubicBezTo>
                      <a:pt x="48" y="75"/>
                      <a:pt x="54" y="79"/>
                      <a:pt x="45" y="70"/>
                    </a:cubicBezTo>
                    <a:cubicBezTo>
                      <a:pt x="40" y="85"/>
                      <a:pt x="45" y="81"/>
                      <a:pt x="31" y="84"/>
                    </a:cubicBezTo>
                    <a:cubicBezTo>
                      <a:pt x="29" y="86"/>
                      <a:pt x="23" y="84"/>
                      <a:pt x="22" y="87"/>
                    </a:cubicBezTo>
                    <a:cubicBezTo>
                      <a:pt x="20" y="90"/>
                      <a:pt x="26" y="101"/>
                      <a:pt x="23" y="100"/>
                    </a:cubicBezTo>
                    <a:cubicBezTo>
                      <a:pt x="11" y="98"/>
                      <a:pt x="9" y="69"/>
                      <a:pt x="9" y="62"/>
                    </a:cubicBezTo>
                  </a:path>
                </a:pathLst>
              </a:custGeom>
              <a:grpFill/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CA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2" name="Freeform 556"/>
              <p:cNvSpPr>
                <a:spLocks/>
              </p:cNvSpPr>
              <p:nvPr>
                <p:custDataLst>
                  <p:tags r:id="rId178"/>
                </p:custDataLst>
              </p:nvPr>
            </p:nvSpPr>
            <p:spPr bwMode="gray">
              <a:xfrm>
                <a:off x="542" y="1852"/>
                <a:ext cx="13" cy="11"/>
              </a:xfrm>
              <a:custGeom>
                <a:avLst/>
                <a:gdLst>
                  <a:gd name="T0" fmla="*/ 0 w 13"/>
                  <a:gd name="T1" fmla="*/ 1 h 11"/>
                  <a:gd name="T2" fmla="*/ 0 w 13"/>
                  <a:gd name="T3" fmla="*/ 8 h 11"/>
                  <a:gd name="T4" fmla="*/ 0 w 13"/>
                  <a:gd name="T5" fmla="*/ 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1">
                    <a:moveTo>
                      <a:pt x="0" y="1"/>
                    </a:moveTo>
                    <a:cubicBezTo>
                      <a:pt x="12" y="2"/>
                      <a:pt x="13" y="11"/>
                      <a:pt x="0" y="8"/>
                    </a:cubicBezTo>
                    <a:cubicBezTo>
                      <a:pt x="2" y="0"/>
                      <a:pt x="4" y="1"/>
                      <a:pt x="0" y="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CA" sz="1632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19" name="Freeform 557"/>
            <p:cNvSpPr>
              <a:spLocks/>
            </p:cNvSpPr>
            <p:nvPr>
              <p:custDataLst>
                <p:tags r:id="rId87"/>
              </p:custDataLst>
            </p:nvPr>
          </p:nvSpPr>
          <p:spPr bwMode="gray">
            <a:xfrm>
              <a:off x="3020346" y="2125747"/>
              <a:ext cx="6943" cy="10910"/>
            </a:xfrm>
            <a:custGeom>
              <a:avLst/>
              <a:gdLst>
                <a:gd name="T0" fmla="*/ 7 w 7"/>
                <a:gd name="T1" fmla="*/ 0 h 12"/>
                <a:gd name="T2" fmla="*/ 5 w 7"/>
                <a:gd name="T3" fmla="*/ 9 h 12"/>
                <a:gd name="T4" fmla="*/ 7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7" y="0"/>
                  </a:moveTo>
                  <a:cubicBezTo>
                    <a:pt x="6" y="3"/>
                    <a:pt x="7" y="7"/>
                    <a:pt x="5" y="9"/>
                  </a:cubicBezTo>
                  <a:cubicBezTo>
                    <a:pt x="2" y="12"/>
                    <a:pt x="0" y="0"/>
                    <a:pt x="7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20" name="Freeform 558"/>
            <p:cNvSpPr>
              <a:spLocks/>
            </p:cNvSpPr>
            <p:nvPr>
              <p:custDataLst>
                <p:tags r:id="rId88"/>
              </p:custDataLst>
            </p:nvPr>
          </p:nvSpPr>
          <p:spPr bwMode="gray">
            <a:xfrm>
              <a:off x="3617381" y="2561126"/>
              <a:ext cx="158680" cy="161656"/>
            </a:xfrm>
            <a:custGeom>
              <a:avLst/>
              <a:gdLst>
                <a:gd name="T0" fmla="*/ 165 w 165"/>
                <a:gd name="T1" fmla="*/ 37 h 168"/>
                <a:gd name="T2" fmla="*/ 159 w 165"/>
                <a:gd name="T3" fmla="*/ 45 h 168"/>
                <a:gd name="T4" fmla="*/ 159 w 165"/>
                <a:gd name="T5" fmla="*/ 70 h 168"/>
                <a:gd name="T6" fmla="*/ 159 w 165"/>
                <a:gd name="T7" fmla="*/ 81 h 168"/>
                <a:gd name="T8" fmla="*/ 147 w 165"/>
                <a:gd name="T9" fmla="*/ 85 h 168"/>
                <a:gd name="T10" fmla="*/ 133 w 165"/>
                <a:gd name="T11" fmla="*/ 85 h 168"/>
                <a:gd name="T12" fmla="*/ 144 w 165"/>
                <a:gd name="T13" fmla="*/ 96 h 168"/>
                <a:gd name="T14" fmla="*/ 132 w 165"/>
                <a:gd name="T15" fmla="*/ 103 h 168"/>
                <a:gd name="T16" fmla="*/ 130 w 165"/>
                <a:gd name="T17" fmla="*/ 123 h 168"/>
                <a:gd name="T18" fmla="*/ 112 w 165"/>
                <a:gd name="T19" fmla="*/ 127 h 168"/>
                <a:gd name="T20" fmla="*/ 84 w 165"/>
                <a:gd name="T21" fmla="*/ 138 h 168"/>
                <a:gd name="T22" fmla="*/ 84 w 165"/>
                <a:gd name="T23" fmla="*/ 157 h 168"/>
                <a:gd name="T24" fmla="*/ 70 w 165"/>
                <a:gd name="T25" fmla="*/ 163 h 168"/>
                <a:gd name="T26" fmla="*/ 58 w 165"/>
                <a:gd name="T27" fmla="*/ 160 h 168"/>
                <a:gd name="T28" fmla="*/ 48 w 165"/>
                <a:gd name="T29" fmla="*/ 166 h 168"/>
                <a:gd name="T30" fmla="*/ 7 w 165"/>
                <a:gd name="T31" fmla="*/ 165 h 168"/>
                <a:gd name="T32" fmla="*/ 14 w 165"/>
                <a:gd name="T33" fmla="*/ 149 h 168"/>
                <a:gd name="T34" fmla="*/ 10 w 165"/>
                <a:gd name="T35" fmla="*/ 134 h 168"/>
                <a:gd name="T36" fmla="*/ 10 w 165"/>
                <a:gd name="T37" fmla="*/ 127 h 168"/>
                <a:gd name="T38" fmla="*/ 0 w 165"/>
                <a:gd name="T39" fmla="*/ 120 h 168"/>
                <a:gd name="T40" fmla="*/ 7 w 165"/>
                <a:gd name="T41" fmla="*/ 88 h 168"/>
                <a:gd name="T42" fmla="*/ 10 w 165"/>
                <a:gd name="T43" fmla="*/ 79 h 168"/>
                <a:gd name="T44" fmla="*/ 10 w 165"/>
                <a:gd name="T45" fmla="*/ 73 h 168"/>
                <a:gd name="T46" fmla="*/ 9 w 165"/>
                <a:gd name="T47" fmla="*/ 58 h 168"/>
                <a:gd name="T48" fmla="*/ 25 w 165"/>
                <a:gd name="T49" fmla="*/ 61 h 168"/>
                <a:gd name="T50" fmla="*/ 35 w 165"/>
                <a:gd name="T51" fmla="*/ 67 h 168"/>
                <a:gd name="T52" fmla="*/ 46 w 165"/>
                <a:gd name="T53" fmla="*/ 55 h 168"/>
                <a:gd name="T54" fmla="*/ 58 w 165"/>
                <a:gd name="T55" fmla="*/ 50 h 168"/>
                <a:gd name="T56" fmla="*/ 67 w 165"/>
                <a:gd name="T57" fmla="*/ 28 h 168"/>
                <a:gd name="T58" fmla="*/ 79 w 165"/>
                <a:gd name="T59" fmla="*/ 21 h 168"/>
                <a:gd name="T60" fmla="*/ 94 w 165"/>
                <a:gd name="T61" fmla="*/ 32 h 168"/>
                <a:gd name="T62" fmla="*/ 112 w 165"/>
                <a:gd name="T63" fmla="*/ 28 h 168"/>
                <a:gd name="T64" fmla="*/ 136 w 165"/>
                <a:gd name="T65" fmla="*/ 28 h 168"/>
                <a:gd name="T66" fmla="*/ 149 w 165"/>
                <a:gd name="T67" fmla="*/ 16 h 168"/>
                <a:gd name="T68" fmla="*/ 153 w 165"/>
                <a:gd name="T69" fmla="*/ 1 h 168"/>
                <a:gd name="T70" fmla="*/ 162 w 165"/>
                <a:gd name="T71" fmla="*/ 9 h 168"/>
                <a:gd name="T72" fmla="*/ 165 w 165"/>
                <a:gd name="T73" fmla="*/ 3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5" h="168">
                  <a:moveTo>
                    <a:pt x="165" y="37"/>
                  </a:moveTo>
                  <a:cubicBezTo>
                    <a:pt x="165" y="43"/>
                    <a:pt x="160" y="40"/>
                    <a:pt x="159" y="45"/>
                  </a:cubicBezTo>
                  <a:cubicBezTo>
                    <a:pt x="158" y="50"/>
                    <a:pt x="159" y="64"/>
                    <a:pt x="159" y="70"/>
                  </a:cubicBezTo>
                  <a:cubicBezTo>
                    <a:pt x="159" y="76"/>
                    <a:pt x="161" y="78"/>
                    <a:pt x="159" y="81"/>
                  </a:cubicBezTo>
                  <a:cubicBezTo>
                    <a:pt x="157" y="84"/>
                    <a:pt x="151" y="84"/>
                    <a:pt x="147" y="85"/>
                  </a:cubicBezTo>
                  <a:cubicBezTo>
                    <a:pt x="143" y="86"/>
                    <a:pt x="133" y="83"/>
                    <a:pt x="133" y="85"/>
                  </a:cubicBezTo>
                  <a:cubicBezTo>
                    <a:pt x="133" y="87"/>
                    <a:pt x="144" y="93"/>
                    <a:pt x="144" y="96"/>
                  </a:cubicBezTo>
                  <a:cubicBezTo>
                    <a:pt x="144" y="99"/>
                    <a:pt x="134" y="99"/>
                    <a:pt x="132" y="103"/>
                  </a:cubicBezTo>
                  <a:cubicBezTo>
                    <a:pt x="130" y="107"/>
                    <a:pt x="133" y="119"/>
                    <a:pt x="130" y="123"/>
                  </a:cubicBezTo>
                  <a:cubicBezTo>
                    <a:pt x="127" y="127"/>
                    <a:pt x="120" y="124"/>
                    <a:pt x="112" y="127"/>
                  </a:cubicBezTo>
                  <a:cubicBezTo>
                    <a:pt x="104" y="130"/>
                    <a:pt x="89" y="133"/>
                    <a:pt x="84" y="138"/>
                  </a:cubicBezTo>
                  <a:cubicBezTo>
                    <a:pt x="79" y="143"/>
                    <a:pt x="86" y="153"/>
                    <a:pt x="84" y="157"/>
                  </a:cubicBezTo>
                  <a:cubicBezTo>
                    <a:pt x="82" y="161"/>
                    <a:pt x="74" y="163"/>
                    <a:pt x="70" y="163"/>
                  </a:cubicBezTo>
                  <a:cubicBezTo>
                    <a:pt x="66" y="163"/>
                    <a:pt x="62" y="159"/>
                    <a:pt x="58" y="160"/>
                  </a:cubicBezTo>
                  <a:cubicBezTo>
                    <a:pt x="54" y="161"/>
                    <a:pt x="56" y="165"/>
                    <a:pt x="48" y="166"/>
                  </a:cubicBezTo>
                  <a:cubicBezTo>
                    <a:pt x="40" y="167"/>
                    <a:pt x="13" y="168"/>
                    <a:pt x="7" y="165"/>
                  </a:cubicBezTo>
                  <a:cubicBezTo>
                    <a:pt x="1" y="162"/>
                    <a:pt x="14" y="154"/>
                    <a:pt x="14" y="149"/>
                  </a:cubicBezTo>
                  <a:cubicBezTo>
                    <a:pt x="14" y="144"/>
                    <a:pt x="11" y="138"/>
                    <a:pt x="10" y="134"/>
                  </a:cubicBezTo>
                  <a:cubicBezTo>
                    <a:pt x="9" y="130"/>
                    <a:pt x="12" y="129"/>
                    <a:pt x="10" y="127"/>
                  </a:cubicBezTo>
                  <a:cubicBezTo>
                    <a:pt x="8" y="125"/>
                    <a:pt x="0" y="126"/>
                    <a:pt x="0" y="120"/>
                  </a:cubicBezTo>
                  <a:cubicBezTo>
                    <a:pt x="0" y="114"/>
                    <a:pt x="5" y="95"/>
                    <a:pt x="7" y="88"/>
                  </a:cubicBezTo>
                  <a:cubicBezTo>
                    <a:pt x="9" y="81"/>
                    <a:pt x="10" y="81"/>
                    <a:pt x="10" y="79"/>
                  </a:cubicBezTo>
                  <a:cubicBezTo>
                    <a:pt x="10" y="77"/>
                    <a:pt x="10" y="76"/>
                    <a:pt x="10" y="73"/>
                  </a:cubicBezTo>
                  <a:cubicBezTo>
                    <a:pt x="10" y="70"/>
                    <a:pt x="6" y="60"/>
                    <a:pt x="9" y="58"/>
                  </a:cubicBezTo>
                  <a:cubicBezTo>
                    <a:pt x="12" y="56"/>
                    <a:pt x="21" y="60"/>
                    <a:pt x="25" y="61"/>
                  </a:cubicBezTo>
                  <a:cubicBezTo>
                    <a:pt x="29" y="62"/>
                    <a:pt x="32" y="68"/>
                    <a:pt x="35" y="67"/>
                  </a:cubicBezTo>
                  <a:cubicBezTo>
                    <a:pt x="38" y="66"/>
                    <a:pt x="42" y="58"/>
                    <a:pt x="46" y="55"/>
                  </a:cubicBezTo>
                  <a:cubicBezTo>
                    <a:pt x="50" y="52"/>
                    <a:pt x="55" y="54"/>
                    <a:pt x="58" y="50"/>
                  </a:cubicBezTo>
                  <a:cubicBezTo>
                    <a:pt x="61" y="46"/>
                    <a:pt x="64" y="33"/>
                    <a:pt x="67" y="28"/>
                  </a:cubicBezTo>
                  <a:cubicBezTo>
                    <a:pt x="70" y="23"/>
                    <a:pt x="75" y="20"/>
                    <a:pt x="79" y="21"/>
                  </a:cubicBezTo>
                  <a:cubicBezTo>
                    <a:pt x="83" y="22"/>
                    <a:pt x="89" y="31"/>
                    <a:pt x="94" y="32"/>
                  </a:cubicBezTo>
                  <a:cubicBezTo>
                    <a:pt x="99" y="33"/>
                    <a:pt x="105" y="29"/>
                    <a:pt x="112" y="28"/>
                  </a:cubicBezTo>
                  <a:cubicBezTo>
                    <a:pt x="119" y="27"/>
                    <a:pt x="130" y="30"/>
                    <a:pt x="136" y="28"/>
                  </a:cubicBezTo>
                  <a:cubicBezTo>
                    <a:pt x="142" y="26"/>
                    <a:pt x="146" y="20"/>
                    <a:pt x="149" y="16"/>
                  </a:cubicBezTo>
                  <a:cubicBezTo>
                    <a:pt x="152" y="12"/>
                    <a:pt x="151" y="2"/>
                    <a:pt x="153" y="1"/>
                  </a:cubicBezTo>
                  <a:cubicBezTo>
                    <a:pt x="155" y="0"/>
                    <a:pt x="161" y="3"/>
                    <a:pt x="162" y="9"/>
                  </a:cubicBezTo>
                  <a:cubicBezTo>
                    <a:pt x="163" y="15"/>
                    <a:pt x="165" y="31"/>
                    <a:pt x="165" y="3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21" name="Freeform 559"/>
            <p:cNvSpPr>
              <a:spLocks/>
            </p:cNvSpPr>
            <p:nvPr>
              <p:custDataLst>
                <p:tags r:id="rId89"/>
              </p:custDataLst>
            </p:nvPr>
          </p:nvSpPr>
          <p:spPr bwMode="gray">
            <a:xfrm>
              <a:off x="3629282" y="2592862"/>
              <a:ext cx="198350" cy="216202"/>
            </a:xfrm>
            <a:custGeom>
              <a:avLst/>
              <a:gdLst>
                <a:gd name="T0" fmla="*/ 3 w 206"/>
                <a:gd name="T1" fmla="*/ 133 h 224"/>
                <a:gd name="T2" fmla="*/ 6 w 206"/>
                <a:gd name="T3" fmla="*/ 145 h 224"/>
                <a:gd name="T4" fmla="*/ 19 w 206"/>
                <a:gd name="T5" fmla="*/ 150 h 224"/>
                <a:gd name="T6" fmla="*/ 25 w 206"/>
                <a:gd name="T7" fmla="*/ 165 h 224"/>
                <a:gd name="T8" fmla="*/ 28 w 206"/>
                <a:gd name="T9" fmla="*/ 177 h 224"/>
                <a:gd name="T10" fmla="*/ 16 w 206"/>
                <a:gd name="T11" fmla="*/ 178 h 224"/>
                <a:gd name="T12" fmla="*/ 7 w 206"/>
                <a:gd name="T13" fmla="*/ 188 h 224"/>
                <a:gd name="T14" fmla="*/ 7 w 206"/>
                <a:gd name="T15" fmla="*/ 202 h 224"/>
                <a:gd name="T16" fmla="*/ 25 w 206"/>
                <a:gd name="T17" fmla="*/ 199 h 224"/>
                <a:gd name="T18" fmla="*/ 37 w 206"/>
                <a:gd name="T19" fmla="*/ 196 h 224"/>
                <a:gd name="T20" fmla="*/ 55 w 206"/>
                <a:gd name="T21" fmla="*/ 201 h 224"/>
                <a:gd name="T22" fmla="*/ 64 w 206"/>
                <a:gd name="T23" fmla="*/ 190 h 224"/>
                <a:gd name="T24" fmla="*/ 75 w 206"/>
                <a:gd name="T25" fmla="*/ 199 h 224"/>
                <a:gd name="T26" fmla="*/ 88 w 206"/>
                <a:gd name="T27" fmla="*/ 208 h 224"/>
                <a:gd name="T28" fmla="*/ 94 w 206"/>
                <a:gd name="T29" fmla="*/ 222 h 224"/>
                <a:gd name="T30" fmla="*/ 108 w 206"/>
                <a:gd name="T31" fmla="*/ 219 h 224"/>
                <a:gd name="T32" fmla="*/ 143 w 206"/>
                <a:gd name="T33" fmla="*/ 218 h 224"/>
                <a:gd name="T34" fmla="*/ 149 w 206"/>
                <a:gd name="T35" fmla="*/ 206 h 224"/>
                <a:gd name="T36" fmla="*/ 130 w 206"/>
                <a:gd name="T37" fmla="*/ 180 h 224"/>
                <a:gd name="T38" fmla="*/ 123 w 206"/>
                <a:gd name="T39" fmla="*/ 166 h 224"/>
                <a:gd name="T40" fmla="*/ 135 w 206"/>
                <a:gd name="T41" fmla="*/ 161 h 224"/>
                <a:gd name="T42" fmla="*/ 165 w 206"/>
                <a:gd name="T43" fmla="*/ 164 h 224"/>
                <a:gd name="T44" fmla="*/ 165 w 206"/>
                <a:gd name="T45" fmla="*/ 143 h 224"/>
                <a:gd name="T46" fmla="*/ 180 w 206"/>
                <a:gd name="T47" fmla="*/ 130 h 224"/>
                <a:gd name="T48" fmla="*/ 202 w 206"/>
                <a:gd name="T49" fmla="*/ 100 h 224"/>
                <a:gd name="T50" fmla="*/ 204 w 206"/>
                <a:gd name="T51" fmla="*/ 78 h 224"/>
                <a:gd name="T52" fmla="*/ 187 w 206"/>
                <a:gd name="T53" fmla="*/ 66 h 224"/>
                <a:gd name="T54" fmla="*/ 181 w 206"/>
                <a:gd name="T55" fmla="*/ 57 h 224"/>
                <a:gd name="T56" fmla="*/ 180 w 206"/>
                <a:gd name="T57" fmla="*/ 45 h 224"/>
                <a:gd name="T58" fmla="*/ 186 w 206"/>
                <a:gd name="T59" fmla="*/ 30 h 224"/>
                <a:gd name="T60" fmla="*/ 168 w 206"/>
                <a:gd name="T61" fmla="*/ 15 h 224"/>
                <a:gd name="T62" fmla="*/ 165 w 206"/>
                <a:gd name="T63" fmla="*/ 0 h 224"/>
                <a:gd name="T64" fmla="*/ 145 w 206"/>
                <a:gd name="T65" fmla="*/ 16 h 224"/>
                <a:gd name="T66" fmla="*/ 147 w 206"/>
                <a:gd name="T67" fmla="*/ 30 h 224"/>
                <a:gd name="T68" fmla="*/ 147 w 206"/>
                <a:gd name="T69" fmla="*/ 49 h 224"/>
                <a:gd name="T70" fmla="*/ 135 w 206"/>
                <a:gd name="T71" fmla="*/ 51 h 224"/>
                <a:gd name="T72" fmla="*/ 131 w 206"/>
                <a:gd name="T73" fmla="*/ 58 h 224"/>
                <a:gd name="T74" fmla="*/ 121 w 206"/>
                <a:gd name="T75" fmla="*/ 67 h 224"/>
                <a:gd name="T76" fmla="*/ 117 w 206"/>
                <a:gd name="T77" fmla="*/ 88 h 224"/>
                <a:gd name="T78" fmla="*/ 97 w 206"/>
                <a:gd name="T79" fmla="*/ 96 h 224"/>
                <a:gd name="T80" fmla="*/ 76 w 206"/>
                <a:gd name="T81" fmla="*/ 100 h 224"/>
                <a:gd name="T82" fmla="*/ 72 w 206"/>
                <a:gd name="T83" fmla="*/ 117 h 224"/>
                <a:gd name="T84" fmla="*/ 69 w 206"/>
                <a:gd name="T85" fmla="*/ 129 h 224"/>
                <a:gd name="T86" fmla="*/ 58 w 206"/>
                <a:gd name="T87" fmla="*/ 130 h 224"/>
                <a:gd name="T88" fmla="*/ 48 w 206"/>
                <a:gd name="T89" fmla="*/ 129 h 224"/>
                <a:gd name="T90" fmla="*/ 27 w 206"/>
                <a:gd name="T91" fmla="*/ 133 h 224"/>
                <a:gd name="T92" fmla="*/ 3 w 206"/>
                <a:gd name="T93" fmla="*/ 133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" h="224">
                  <a:moveTo>
                    <a:pt x="3" y="133"/>
                  </a:moveTo>
                  <a:cubicBezTo>
                    <a:pt x="0" y="135"/>
                    <a:pt x="3" y="142"/>
                    <a:pt x="6" y="145"/>
                  </a:cubicBezTo>
                  <a:cubicBezTo>
                    <a:pt x="9" y="148"/>
                    <a:pt x="16" y="147"/>
                    <a:pt x="19" y="150"/>
                  </a:cubicBezTo>
                  <a:cubicBezTo>
                    <a:pt x="22" y="153"/>
                    <a:pt x="24" y="161"/>
                    <a:pt x="25" y="165"/>
                  </a:cubicBezTo>
                  <a:cubicBezTo>
                    <a:pt x="26" y="169"/>
                    <a:pt x="29" y="175"/>
                    <a:pt x="28" y="177"/>
                  </a:cubicBezTo>
                  <a:cubicBezTo>
                    <a:pt x="27" y="179"/>
                    <a:pt x="19" y="176"/>
                    <a:pt x="16" y="178"/>
                  </a:cubicBezTo>
                  <a:cubicBezTo>
                    <a:pt x="13" y="180"/>
                    <a:pt x="8" y="184"/>
                    <a:pt x="7" y="188"/>
                  </a:cubicBezTo>
                  <a:cubicBezTo>
                    <a:pt x="6" y="192"/>
                    <a:pt x="4" y="200"/>
                    <a:pt x="7" y="202"/>
                  </a:cubicBezTo>
                  <a:cubicBezTo>
                    <a:pt x="10" y="204"/>
                    <a:pt x="20" y="200"/>
                    <a:pt x="25" y="199"/>
                  </a:cubicBezTo>
                  <a:cubicBezTo>
                    <a:pt x="30" y="198"/>
                    <a:pt x="32" y="196"/>
                    <a:pt x="37" y="196"/>
                  </a:cubicBezTo>
                  <a:cubicBezTo>
                    <a:pt x="42" y="196"/>
                    <a:pt x="51" y="202"/>
                    <a:pt x="55" y="201"/>
                  </a:cubicBezTo>
                  <a:cubicBezTo>
                    <a:pt x="59" y="200"/>
                    <a:pt x="61" y="190"/>
                    <a:pt x="64" y="190"/>
                  </a:cubicBezTo>
                  <a:cubicBezTo>
                    <a:pt x="67" y="190"/>
                    <a:pt x="71" y="196"/>
                    <a:pt x="75" y="199"/>
                  </a:cubicBezTo>
                  <a:cubicBezTo>
                    <a:pt x="79" y="202"/>
                    <a:pt x="85" y="204"/>
                    <a:pt x="88" y="208"/>
                  </a:cubicBezTo>
                  <a:cubicBezTo>
                    <a:pt x="91" y="212"/>
                    <a:pt x="91" y="220"/>
                    <a:pt x="94" y="222"/>
                  </a:cubicBezTo>
                  <a:cubicBezTo>
                    <a:pt x="97" y="224"/>
                    <a:pt x="100" y="220"/>
                    <a:pt x="108" y="219"/>
                  </a:cubicBezTo>
                  <a:cubicBezTo>
                    <a:pt x="116" y="218"/>
                    <a:pt x="136" y="220"/>
                    <a:pt x="143" y="218"/>
                  </a:cubicBezTo>
                  <a:cubicBezTo>
                    <a:pt x="150" y="216"/>
                    <a:pt x="151" y="212"/>
                    <a:pt x="149" y="206"/>
                  </a:cubicBezTo>
                  <a:cubicBezTo>
                    <a:pt x="147" y="200"/>
                    <a:pt x="134" y="187"/>
                    <a:pt x="130" y="180"/>
                  </a:cubicBezTo>
                  <a:cubicBezTo>
                    <a:pt x="126" y="173"/>
                    <a:pt x="122" y="169"/>
                    <a:pt x="123" y="166"/>
                  </a:cubicBezTo>
                  <a:cubicBezTo>
                    <a:pt x="124" y="163"/>
                    <a:pt x="128" y="161"/>
                    <a:pt x="135" y="161"/>
                  </a:cubicBezTo>
                  <a:cubicBezTo>
                    <a:pt x="142" y="161"/>
                    <a:pt x="160" y="167"/>
                    <a:pt x="165" y="164"/>
                  </a:cubicBezTo>
                  <a:cubicBezTo>
                    <a:pt x="170" y="161"/>
                    <a:pt x="163" y="149"/>
                    <a:pt x="165" y="143"/>
                  </a:cubicBezTo>
                  <a:cubicBezTo>
                    <a:pt x="167" y="137"/>
                    <a:pt x="174" y="137"/>
                    <a:pt x="180" y="130"/>
                  </a:cubicBezTo>
                  <a:cubicBezTo>
                    <a:pt x="186" y="123"/>
                    <a:pt x="198" y="109"/>
                    <a:pt x="202" y="100"/>
                  </a:cubicBezTo>
                  <a:cubicBezTo>
                    <a:pt x="206" y="91"/>
                    <a:pt x="206" y="84"/>
                    <a:pt x="204" y="78"/>
                  </a:cubicBezTo>
                  <a:cubicBezTo>
                    <a:pt x="202" y="72"/>
                    <a:pt x="191" y="69"/>
                    <a:pt x="187" y="66"/>
                  </a:cubicBezTo>
                  <a:cubicBezTo>
                    <a:pt x="183" y="63"/>
                    <a:pt x="182" y="60"/>
                    <a:pt x="181" y="57"/>
                  </a:cubicBezTo>
                  <a:cubicBezTo>
                    <a:pt x="180" y="54"/>
                    <a:pt x="179" y="49"/>
                    <a:pt x="180" y="45"/>
                  </a:cubicBezTo>
                  <a:cubicBezTo>
                    <a:pt x="181" y="41"/>
                    <a:pt x="188" y="35"/>
                    <a:pt x="186" y="30"/>
                  </a:cubicBezTo>
                  <a:cubicBezTo>
                    <a:pt x="184" y="25"/>
                    <a:pt x="171" y="20"/>
                    <a:pt x="168" y="15"/>
                  </a:cubicBezTo>
                  <a:cubicBezTo>
                    <a:pt x="165" y="10"/>
                    <a:pt x="169" y="0"/>
                    <a:pt x="165" y="0"/>
                  </a:cubicBezTo>
                  <a:cubicBezTo>
                    <a:pt x="161" y="0"/>
                    <a:pt x="148" y="11"/>
                    <a:pt x="145" y="16"/>
                  </a:cubicBezTo>
                  <a:cubicBezTo>
                    <a:pt x="142" y="21"/>
                    <a:pt x="147" y="25"/>
                    <a:pt x="147" y="30"/>
                  </a:cubicBezTo>
                  <a:cubicBezTo>
                    <a:pt x="147" y="35"/>
                    <a:pt x="149" y="46"/>
                    <a:pt x="147" y="49"/>
                  </a:cubicBezTo>
                  <a:cubicBezTo>
                    <a:pt x="145" y="52"/>
                    <a:pt x="138" y="50"/>
                    <a:pt x="135" y="51"/>
                  </a:cubicBezTo>
                  <a:cubicBezTo>
                    <a:pt x="132" y="52"/>
                    <a:pt x="133" y="55"/>
                    <a:pt x="131" y="58"/>
                  </a:cubicBezTo>
                  <a:cubicBezTo>
                    <a:pt x="129" y="61"/>
                    <a:pt x="123" y="62"/>
                    <a:pt x="121" y="67"/>
                  </a:cubicBezTo>
                  <a:cubicBezTo>
                    <a:pt x="119" y="72"/>
                    <a:pt x="121" y="83"/>
                    <a:pt x="117" y="88"/>
                  </a:cubicBezTo>
                  <a:cubicBezTo>
                    <a:pt x="113" y="93"/>
                    <a:pt x="104" y="94"/>
                    <a:pt x="97" y="96"/>
                  </a:cubicBezTo>
                  <a:cubicBezTo>
                    <a:pt x="90" y="98"/>
                    <a:pt x="80" y="97"/>
                    <a:pt x="76" y="100"/>
                  </a:cubicBezTo>
                  <a:cubicBezTo>
                    <a:pt x="72" y="103"/>
                    <a:pt x="73" y="112"/>
                    <a:pt x="72" y="117"/>
                  </a:cubicBezTo>
                  <a:cubicBezTo>
                    <a:pt x="71" y="122"/>
                    <a:pt x="71" y="127"/>
                    <a:pt x="69" y="129"/>
                  </a:cubicBezTo>
                  <a:cubicBezTo>
                    <a:pt x="67" y="131"/>
                    <a:pt x="61" y="130"/>
                    <a:pt x="58" y="130"/>
                  </a:cubicBezTo>
                  <a:cubicBezTo>
                    <a:pt x="55" y="130"/>
                    <a:pt x="53" y="129"/>
                    <a:pt x="48" y="129"/>
                  </a:cubicBezTo>
                  <a:cubicBezTo>
                    <a:pt x="43" y="129"/>
                    <a:pt x="33" y="132"/>
                    <a:pt x="27" y="133"/>
                  </a:cubicBezTo>
                  <a:cubicBezTo>
                    <a:pt x="21" y="134"/>
                    <a:pt x="6" y="131"/>
                    <a:pt x="3" y="13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22" name="Freeform 560"/>
            <p:cNvSpPr>
              <a:spLocks/>
            </p:cNvSpPr>
            <p:nvPr>
              <p:custDataLst>
                <p:tags r:id="rId90"/>
              </p:custDataLst>
            </p:nvPr>
          </p:nvSpPr>
          <p:spPr bwMode="gray">
            <a:xfrm>
              <a:off x="2899352" y="2355833"/>
              <a:ext cx="96200" cy="59505"/>
            </a:xfrm>
            <a:custGeom>
              <a:avLst/>
              <a:gdLst>
                <a:gd name="T0" fmla="*/ 12 w 100"/>
                <a:gd name="T1" fmla="*/ 37 h 61"/>
                <a:gd name="T2" fmla="*/ 20 w 100"/>
                <a:gd name="T3" fmla="*/ 31 h 61"/>
                <a:gd name="T4" fmla="*/ 30 w 100"/>
                <a:gd name="T5" fmla="*/ 29 h 61"/>
                <a:gd name="T6" fmla="*/ 49 w 100"/>
                <a:gd name="T7" fmla="*/ 7 h 61"/>
                <a:gd name="T8" fmla="*/ 73 w 100"/>
                <a:gd name="T9" fmla="*/ 0 h 61"/>
                <a:gd name="T10" fmla="*/ 92 w 100"/>
                <a:gd name="T11" fmla="*/ 6 h 61"/>
                <a:gd name="T12" fmla="*/ 98 w 100"/>
                <a:gd name="T13" fmla="*/ 21 h 61"/>
                <a:gd name="T14" fmla="*/ 97 w 100"/>
                <a:gd name="T15" fmla="*/ 33 h 61"/>
                <a:gd name="T16" fmla="*/ 91 w 100"/>
                <a:gd name="T17" fmla="*/ 34 h 61"/>
                <a:gd name="T18" fmla="*/ 71 w 100"/>
                <a:gd name="T19" fmla="*/ 52 h 61"/>
                <a:gd name="T20" fmla="*/ 61 w 100"/>
                <a:gd name="T21" fmla="*/ 60 h 61"/>
                <a:gd name="T22" fmla="*/ 34 w 100"/>
                <a:gd name="T23" fmla="*/ 51 h 61"/>
                <a:gd name="T24" fmla="*/ 16 w 100"/>
                <a:gd name="T25" fmla="*/ 51 h 61"/>
                <a:gd name="T26" fmla="*/ 7 w 100"/>
                <a:gd name="T27" fmla="*/ 51 h 61"/>
                <a:gd name="T28" fmla="*/ 2 w 100"/>
                <a:gd name="T29" fmla="*/ 49 h 61"/>
                <a:gd name="T30" fmla="*/ 12 w 100"/>
                <a:gd name="T31" fmla="*/ 3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0" h="61">
                  <a:moveTo>
                    <a:pt x="12" y="37"/>
                  </a:moveTo>
                  <a:cubicBezTo>
                    <a:pt x="10" y="34"/>
                    <a:pt x="17" y="32"/>
                    <a:pt x="20" y="31"/>
                  </a:cubicBezTo>
                  <a:cubicBezTo>
                    <a:pt x="23" y="30"/>
                    <a:pt x="25" y="33"/>
                    <a:pt x="30" y="29"/>
                  </a:cubicBezTo>
                  <a:cubicBezTo>
                    <a:pt x="35" y="25"/>
                    <a:pt x="42" y="12"/>
                    <a:pt x="49" y="7"/>
                  </a:cubicBezTo>
                  <a:cubicBezTo>
                    <a:pt x="55" y="2"/>
                    <a:pt x="65" y="2"/>
                    <a:pt x="73" y="0"/>
                  </a:cubicBezTo>
                  <a:cubicBezTo>
                    <a:pt x="80" y="1"/>
                    <a:pt x="85" y="4"/>
                    <a:pt x="92" y="6"/>
                  </a:cubicBezTo>
                  <a:cubicBezTo>
                    <a:pt x="95" y="11"/>
                    <a:pt x="95" y="16"/>
                    <a:pt x="98" y="21"/>
                  </a:cubicBezTo>
                  <a:cubicBezTo>
                    <a:pt x="98" y="25"/>
                    <a:pt x="99" y="29"/>
                    <a:pt x="97" y="33"/>
                  </a:cubicBezTo>
                  <a:cubicBezTo>
                    <a:pt x="96" y="35"/>
                    <a:pt x="92" y="32"/>
                    <a:pt x="91" y="34"/>
                  </a:cubicBezTo>
                  <a:cubicBezTo>
                    <a:pt x="80" y="50"/>
                    <a:pt x="100" y="49"/>
                    <a:pt x="71" y="52"/>
                  </a:cubicBezTo>
                  <a:cubicBezTo>
                    <a:pt x="70" y="59"/>
                    <a:pt x="67" y="57"/>
                    <a:pt x="61" y="60"/>
                  </a:cubicBezTo>
                  <a:cubicBezTo>
                    <a:pt x="53" y="61"/>
                    <a:pt x="44" y="52"/>
                    <a:pt x="34" y="51"/>
                  </a:cubicBezTo>
                  <a:cubicBezTo>
                    <a:pt x="27" y="50"/>
                    <a:pt x="20" y="51"/>
                    <a:pt x="16" y="51"/>
                  </a:cubicBezTo>
                  <a:cubicBezTo>
                    <a:pt x="12" y="51"/>
                    <a:pt x="9" y="51"/>
                    <a:pt x="7" y="51"/>
                  </a:cubicBezTo>
                  <a:cubicBezTo>
                    <a:pt x="7" y="47"/>
                    <a:pt x="0" y="53"/>
                    <a:pt x="2" y="49"/>
                  </a:cubicBezTo>
                  <a:cubicBezTo>
                    <a:pt x="4" y="45"/>
                    <a:pt x="12" y="44"/>
                    <a:pt x="12" y="3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23" name="Freeform 561"/>
            <p:cNvSpPr>
              <a:spLocks/>
            </p:cNvSpPr>
            <p:nvPr>
              <p:custDataLst>
                <p:tags r:id="rId91"/>
              </p:custDataLst>
            </p:nvPr>
          </p:nvSpPr>
          <p:spPr bwMode="gray">
            <a:xfrm>
              <a:off x="2937039" y="2403437"/>
              <a:ext cx="46613" cy="29753"/>
            </a:xfrm>
            <a:custGeom>
              <a:avLst/>
              <a:gdLst>
                <a:gd name="T0" fmla="*/ 46 w 49"/>
                <a:gd name="T1" fmla="*/ 2 h 31"/>
                <a:gd name="T2" fmla="*/ 25 w 49"/>
                <a:gd name="T3" fmla="*/ 12 h 31"/>
                <a:gd name="T4" fmla="*/ 2 w 49"/>
                <a:gd name="T5" fmla="*/ 9 h 31"/>
                <a:gd name="T6" fmla="*/ 17 w 49"/>
                <a:gd name="T7" fmla="*/ 27 h 31"/>
                <a:gd name="T8" fmla="*/ 32 w 49"/>
                <a:gd name="T9" fmla="*/ 27 h 31"/>
                <a:gd name="T10" fmla="*/ 44 w 49"/>
                <a:gd name="T11" fmla="*/ 15 h 31"/>
                <a:gd name="T12" fmla="*/ 46 w 49"/>
                <a:gd name="T13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31">
                  <a:moveTo>
                    <a:pt x="46" y="2"/>
                  </a:moveTo>
                  <a:cubicBezTo>
                    <a:pt x="43" y="0"/>
                    <a:pt x="32" y="11"/>
                    <a:pt x="25" y="12"/>
                  </a:cubicBezTo>
                  <a:cubicBezTo>
                    <a:pt x="18" y="13"/>
                    <a:pt x="3" y="7"/>
                    <a:pt x="2" y="9"/>
                  </a:cubicBezTo>
                  <a:cubicBezTo>
                    <a:pt x="0" y="19"/>
                    <a:pt x="6" y="26"/>
                    <a:pt x="17" y="27"/>
                  </a:cubicBezTo>
                  <a:cubicBezTo>
                    <a:pt x="22" y="31"/>
                    <a:pt x="25" y="26"/>
                    <a:pt x="32" y="27"/>
                  </a:cubicBezTo>
                  <a:cubicBezTo>
                    <a:pt x="36" y="22"/>
                    <a:pt x="39" y="18"/>
                    <a:pt x="44" y="15"/>
                  </a:cubicBezTo>
                  <a:cubicBezTo>
                    <a:pt x="49" y="8"/>
                    <a:pt x="44" y="16"/>
                    <a:pt x="46" y="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24" name="Freeform 562"/>
            <p:cNvSpPr>
              <a:spLocks/>
            </p:cNvSpPr>
            <p:nvPr>
              <p:custDataLst>
                <p:tags r:id="rId92"/>
              </p:custDataLst>
            </p:nvPr>
          </p:nvSpPr>
          <p:spPr bwMode="gray">
            <a:xfrm>
              <a:off x="3242499" y="2637491"/>
              <a:ext cx="28761" cy="54547"/>
            </a:xfrm>
            <a:custGeom>
              <a:avLst/>
              <a:gdLst>
                <a:gd name="T0" fmla="*/ 29 w 30"/>
                <a:gd name="T1" fmla="*/ 0 h 56"/>
                <a:gd name="T2" fmla="*/ 15 w 30"/>
                <a:gd name="T3" fmla="*/ 15 h 56"/>
                <a:gd name="T4" fmla="*/ 3 w 30"/>
                <a:gd name="T5" fmla="*/ 35 h 56"/>
                <a:gd name="T6" fmla="*/ 2 w 30"/>
                <a:gd name="T7" fmla="*/ 56 h 56"/>
                <a:gd name="T8" fmla="*/ 20 w 30"/>
                <a:gd name="T9" fmla="*/ 30 h 56"/>
                <a:gd name="T10" fmla="*/ 29 w 30"/>
                <a:gd name="T11" fmla="*/ 17 h 56"/>
                <a:gd name="T12" fmla="*/ 29 w 30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6">
                  <a:moveTo>
                    <a:pt x="29" y="0"/>
                  </a:moveTo>
                  <a:cubicBezTo>
                    <a:pt x="17" y="3"/>
                    <a:pt x="20" y="6"/>
                    <a:pt x="15" y="15"/>
                  </a:cubicBezTo>
                  <a:cubicBezTo>
                    <a:pt x="13" y="24"/>
                    <a:pt x="12" y="32"/>
                    <a:pt x="3" y="35"/>
                  </a:cubicBezTo>
                  <a:cubicBezTo>
                    <a:pt x="1" y="45"/>
                    <a:pt x="0" y="44"/>
                    <a:pt x="2" y="56"/>
                  </a:cubicBezTo>
                  <a:cubicBezTo>
                    <a:pt x="17" y="52"/>
                    <a:pt x="8" y="37"/>
                    <a:pt x="20" y="30"/>
                  </a:cubicBezTo>
                  <a:cubicBezTo>
                    <a:pt x="23" y="26"/>
                    <a:pt x="26" y="21"/>
                    <a:pt x="29" y="17"/>
                  </a:cubicBezTo>
                  <a:cubicBezTo>
                    <a:pt x="30" y="11"/>
                    <a:pt x="29" y="6"/>
                    <a:pt x="29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25" name="Freeform 563"/>
            <p:cNvSpPr>
              <a:spLocks/>
            </p:cNvSpPr>
            <p:nvPr>
              <p:custDataLst>
                <p:tags r:id="rId93"/>
              </p:custDataLst>
            </p:nvPr>
          </p:nvSpPr>
          <p:spPr bwMode="gray">
            <a:xfrm>
              <a:off x="3232581" y="2684103"/>
              <a:ext cx="30745" cy="29753"/>
            </a:xfrm>
            <a:custGeom>
              <a:avLst/>
              <a:gdLst>
                <a:gd name="T0" fmla="*/ 22 w 31"/>
                <a:gd name="T1" fmla="*/ 0 h 31"/>
                <a:gd name="T2" fmla="*/ 12 w 31"/>
                <a:gd name="T3" fmla="*/ 29 h 31"/>
                <a:gd name="T4" fmla="*/ 15 w 31"/>
                <a:gd name="T5" fmla="*/ 2 h 31"/>
                <a:gd name="T6" fmla="*/ 22 w 31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31">
                  <a:moveTo>
                    <a:pt x="22" y="0"/>
                  </a:moveTo>
                  <a:cubicBezTo>
                    <a:pt x="24" y="18"/>
                    <a:pt x="31" y="31"/>
                    <a:pt x="12" y="29"/>
                  </a:cubicBezTo>
                  <a:cubicBezTo>
                    <a:pt x="7" y="20"/>
                    <a:pt x="0" y="4"/>
                    <a:pt x="15" y="2"/>
                  </a:cubicBezTo>
                  <a:cubicBezTo>
                    <a:pt x="23" y="3"/>
                    <a:pt x="22" y="5"/>
                    <a:pt x="22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26" name="Freeform 564"/>
            <p:cNvSpPr>
              <a:spLocks/>
            </p:cNvSpPr>
            <p:nvPr>
              <p:custDataLst>
                <p:tags r:id="rId94"/>
              </p:custDataLst>
            </p:nvPr>
          </p:nvSpPr>
          <p:spPr bwMode="gray">
            <a:xfrm>
              <a:off x="2881501" y="3134358"/>
              <a:ext cx="38679" cy="20827"/>
            </a:xfrm>
            <a:custGeom>
              <a:avLst/>
              <a:gdLst>
                <a:gd name="T0" fmla="*/ 10 w 40"/>
                <a:gd name="T1" fmla="*/ 5 h 22"/>
                <a:gd name="T2" fmla="*/ 2 w 40"/>
                <a:gd name="T3" fmla="*/ 22 h 22"/>
                <a:gd name="T4" fmla="*/ 35 w 40"/>
                <a:gd name="T5" fmla="*/ 14 h 22"/>
                <a:gd name="T6" fmla="*/ 29 w 40"/>
                <a:gd name="T7" fmla="*/ 1 h 22"/>
                <a:gd name="T8" fmla="*/ 10 w 40"/>
                <a:gd name="T9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2">
                  <a:moveTo>
                    <a:pt x="10" y="5"/>
                  </a:moveTo>
                  <a:cubicBezTo>
                    <a:pt x="6" y="12"/>
                    <a:pt x="0" y="13"/>
                    <a:pt x="2" y="22"/>
                  </a:cubicBezTo>
                  <a:cubicBezTo>
                    <a:pt x="11" y="21"/>
                    <a:pt x="28" y="19"/>
                    <a:pt x="35" y="14"/>
                  </a:cubicBezTo>
                  <a:cubicBezTo>
                    <a:pt x="40" y="11"/>
                    <a:pt x="33" y="2"/>
                    <a:pt x="29" y="1"/>
                  </a:cubicBezTo>
                  <a:cubicBezTo>
                    <a:pt x="25" y="0"/>
                    <a:pt x="14" y="4"/>
                    <a:pt x="10" y="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27" name="Freeform 565"/>
            <p:cNvSpPr>
              <a:spLocks/>
            </p:cNvSpPr>
            <p:nvPr>
              <p:custDataLst>
                <p:tags r:id="rId95"/>
              </p:custDataLst>
            </p:nvPr>
          </p:nvSpPr>
          <p:spPr bwMode="gray">
            <a:xfrm>
              <a:off x="3048115" y="1737972"/>
              <a:ext cx="152730" cy="346122"/>
            </a:xfrm>
            <a:custGeom>
              <a:avLst/>
              <a:gdLst>
                <a:gd name="T0" fmla="*/ 123 w 158"/>
                <a:gd name="T1" fmla="*/ 16 h 358"/>
                <a:gd name="T2" fmla="*/ 117 w 158"/>
                <a:gd name="T3" fmla="*/ 41 h 358"/>
                <a:gd name="T4" fmla="*/ 111 w 158"/>
                <a:gd name="T5" fmla="*/ 49 h 358"/>
                <a:gd name="T6" fmla="*/ 129 w 158"/>
                <a:gd name="T7" fmla="*/ 92 h 358"/>
                <a:gd name="T8" fmla="*/ 129 w 158"/>
                <a:gd name="T9" fmla="*/ 131 h 358"/>
                <a:gd name="T10" fmla="*/ 132 w 158"/>
                <a:gd name="T11" fmla="*/ 154 h 358"/>
                <a:gd name="T12" fmla="*/ 141 w 158"/>
                <a:gd name="T13" fmla="*/ 188 h 358"/>
                <a:gd name="T14" fmla="*/ 143 w 158"/>
                <a:gd name="T15" fmla="*/ 256 h 358"/>
                <a:gd name="T16" fmla="*/ 152 w 158"/>
                <a:gd name="T17" fmla="*/ 271 h 358"/>
                <a:gd name="T18" fmla="*/ 153 w 158"/>
                <a:gd name="T19" fmla="*/ 298 h 358"/>
                <a:gd name="T20" fmla="*/ 140 w 158"/>
                <a:gd name="T21" fmla="*/ 308 h 358"/>
                <a:gd name="T22" fmla="*/ 140 w 158"/>
                <a:gd name="T23" fmla="*/ 323 h 358"/>
                <a:gd name="T24" fmla="*/ 129 w 158"/>
                <a:gd name="T25" fmla="*/ 331 h 358"/>
                <a:gd name="T26" fmla="*/ 111 w 158"/>
                <a:gd name="T27" fmla="*/ 329 h 358"/>
                <a:gd name="T28" fmla="*/ 104 w 158"/>
                <a:gd name="T29" fmla="*/ 346 h 358"/>
                <a:gd name="T30" fmla="*/ 71 w 158"/>
                <a:gd name="T31" fmla="*/ 349 h 358"/>
                <a:gd name="T32" fmla="*/ 54 w 158"/>
                <a:gd name="T33" fmla="*/ 353 h 358"/>
                <a:gd name="T34" fmla="*/ 41 w 158"/>
                <a:gd name="T35" fmla="*/ 358 h 358"/>
                <a:gd name="T36" fmla="*/ 12 w 158"/>
                <a:gd name="T37" fmla="*/ 334 h 358"/>
                <a:gd name="T38" fmla="*/ 5 w 158"/>
                <a:gd name="T39" fmla="*/ 265 h 358"/>
                <a:gd name="T40" fmla="*/ 27 w 158"/>
                <a:gd name="T41" fmla="*/ 247 h 358"/>
                <a:gd name="T42" fmla="*/ 39 w 158"/>
                <a:gd name="T43" fmla="*/ 221 h 358"/>
                <a:gd name="T44" fmla="*/ 53 w 158"/>
                <a:gd name="T45" fmla="*/ 211 h 358"/>
                <a:gd name="T46" fmla="*/ 47 w 158"/>
                <a:gd name="T47" fmla="*/ 175 h 358"/>
                <a:gd name="T48" fmla="*/ 50 w 158"/>
                <a:gd name="T49" fmla="*/ 116 h 358"/>
                <a:gd name="T50" fmla="*/ 42 w 158"/>
                <a:gd name="T51" fmla="*/ 88 h 358"/>
                <a:gd name="T52" fmla="*/ 36 w 158"/>
                <a:gd name="T53" fmla="*/ 76 h 358"/>
                <a:gd name="T54" fmla="*/ 33 w 158"/>
                <a:gd name="T55" fmla="*/ 71 h 358"/>
                <a:gd name="T56" fmla="*/ 24 w 158"/>
                <a:gd name="T57" fmla="*/ 62 h 358"/>
                <a:gd name="T58" fmla="*/ 35 w 158"/>
                <a:gd name="T59" fmla="*/ 55 h 358"/>
                <a:gd name="T60" fmla="*/ 51 w 158"/>
                <a:gd name="T61" fmla="*/ 55 h 358"/>
                <a:gd name="T62" fmla="*/ 66 w 158"/>
                <a:gd name="T63" fmla="*/ 64 h 358"/>
                <a:gd name="T64" fmla="*/ 75 w 158"/>
                <a:gd name="T65" fmla="*/ 38 h 358"/>
                <a:gd name="T66" fmla="*/ 74 w 158"/>
                <a:gd name="T67" fmla="*/ 25 h 358"/>
                <a:gd name="T68" fmla="*/ 77 w 158"/>
                <a:gd name="T69" fmla="*/ 13 h 358"/>
                <a:gd name="T70" fmla="*/ 98 w 158"/>
                <a:gd name="T71" fmla="*/ 10 h 358"/>
                <a:gd name="T72" fmla="*/ 123 w 158"/>
                <a:gd name="T73" fmla="*/ 16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8" h="358">
                  <a:moveTo>
                    <a:pt x="123" y="16"/>
                  </a:moveTo>
                  <a:cubicBezTo>
                    <a:pt x="122" y="24"/>
                    <a:pt x="121" y="33"/>
                    <a:pt x="117" y="41"/>
                  </a:cubicBezTo>
                  <a:cubicBezTo>
                    <a:pt x="116" y="44"/>
                    <a:pt x="111" y="46"/>
                    <a:pt x="111" y="49"/>
                  </a:cubicBezTo>
                  <a:cubicBezTo>
                    <a:pt x="109" y="74"/>
                    <a:pt x="119" y="75"/>
                    <a:pt x="129" y="92"/>
                  </a:cubicBezTo>
                  <a:cubicBezTo>
                    <a:pt x="131" y="105"/>
                    <a:pt x="135" y="119"/>
                    <a:pt x="129" y="131"/>
                  </a:cubicBezTo>
                  <a:cubicBezTo>
                    <a:pt x="131" y="138"/>
                    <a:pt x="130" y="147"/>
                    <a:pt x="132" y="154"/>
                  </a:cubicBezTo>
                  <a:cubicBezTo>
                    <a:pt x="133" y="167"/>
                    <a:pt x="140" y="175"/>
                    <a:pt x="141" y="188"/>
                  </a:cubicBezTo>
                  <a:cubicBezTo>
                    <a:pt x="141" y="211"/>
                    <a:pt x="134" y="229"/>
                    <a:pt x="143" y="256"/>
                  </a:cubicBezTo>
                  <a:cubicBezTo>
                    <a:pt x="146" y="262"/>
                    <a:pt x="149" y="263"/>
                    <a:pt x="152" y="271"/>
                  </a:cubicBezTo>
                  <a:cubicBezTo>
                    <a:pt x="153" y="280"/>
                    <a:pt x="158" y="290"/>
                    <a:pt x="153" y="298"/>
                  </a:cubicBezTo>
                  <a:cubicBezTo>
                    <a:pt x="152" y="305"/>
                    <a:pt x="145" y="304"/>
                    <a:pt x="140" y="308"/>
                  </a:cubicBezTo>
                  <a:cubicBezTo>
                    <a:pt x="137" y="311"/>
                    <a:pt x="142" y="319"/>
                    <a:pt x="140" y="323"/>
                  </a:cubicBezTo>
                  <a:cubicBezTo>
                    <a:pt x="138" y="327"/>
                    <a:pt x="134" y="330"/>
                    <a:pt x="129" y="331"/>
                  </a:cubicBezTo>
                  <a:cubicBezTo>
                    <a:pt x="126" y="334"/>
                    <a:pt x="111" y="329"/>
                    <a:pt x="111" y="329"/>
                  </a:cubicBezTo>
                  <a:cubicBezTo>
                    <a:pt x="109" y="337"/>
                    <a:pt x="113" y="345"/>
                    <a:pt x="104" y="346"/>
                  </a:cubicBezTo>
                  <a:cubicBezTo>
                    <a:pt x="93" y="347"/>
                    <a:pt x="71" y="349"/>
                    <a:pt x="71" y="349"/>
                  </a:cubicBezTo>
                  <a:cubicBezTo>
                    <a:pt x="65" y="350"/>
                    <a:pt x="60" y="352"/>
                    <a:pt x="54" y="353"/>
                  </a:cubicBezTo>
                  <a:cubicBezTo>
                    <a:pt x="50" y="355"/>
                    <a:pt x="45" y="356"/>
                    <a:pt x="41" y="358"/>
                  </a:cubicBezTo>
                  <a:cubicBezTo>
                    <a:pt x="29" y="353"/>
                    <a:pt x="22" y="342"/>
                    <a:pt x="12" y="334"/>
                  </a:cubicBezTo>
                  <a:cubicBezTo>
                    <a:pt x="0" y="311"/>
                    <a:pt x="18" y="287"/>
                    <a:pt x="5" y="265"/>
                  </a:cubicBezTo>
                  <a:cubicBezTo>
                    <a:pt x="7" y="254"/>
                    <a:pt x="20" y="254"/>
                    <a:pt x="27" y="247"/>
                  </a:cubicBezTo>
                  <a:cubicBezTo>
                    <a:pt x="32" y="235"/>
                    <a:pt x="29" y="228"/>
                    <a:pt x="39" y="221"/>
                  </a:cubicBezTo>
                  <a:cubicBezTo>
                    <a:pt x="44" y="212"/>
                    <a:pt x="41" y="213"/>
                    <a:pt x="53" y="211"/>
                  </a:cubicBezTo>
                  <a:cubicBezTo>
                    <a:pt x="59" y="201"/>
                    <a:pt x="56" y="182"/>
                    <a:pt x="47" y="175"/>
                  </a:cubicBezTo>
                  <a:cubicBezTo>
                    <a:pt x="46" y="159"/>
                    <a:pt x="51" y="130"/>
                    <a:pt x="50" y="116"/>
                  </a:cubicBezTo>
                  <a:cubicBezTo>
                    <a:pt x="49" y="102"/>
                    <a:pt x="44" y="95"/>
                    <a:pt x="42" y="88"/>
                  </a:cubicBezTo>
                  <a:cubicBezTo>
                    <a:pt x="40" y="81"/>
                    <a:pt x="37" y="79"/>
                    <a:pt x="36" y="76"/>
                  </a:cubicBezTo>
                  <a:cubicBezTo>
                    <a:pt x="35" y="73"/>
                    <a:pt x="35" y="73"/>
                    <a:pt x="33" y="71"/>
                  </a:cubicBezTo>
                  <a:cubicBezTo>
                    <a:pt x="31" y="69"/>
                    <a:pt x="24" y="65"/>
                    <a:pt x="24" y="62"/>
                  </a:cubicBezTo>
                  <a:cubicBezTo>
                    <a:pt x="24" y="59"/>
                    <a:pt x="31" y="56"/>
                    <a:pt x="35" y="55"/>
                  </a:cubicBezTo>
                  <a:cubicBezTo>
                    <a:pt x="39" y="54"/>
                    <a:pt x="46" y="54"/>
                    <a:pt x="51" y="55"/>
                  </a:cubicBezTo>
                  <a:cubicBezTo>
                    <a:pt x="58" y="52"/>
                    <a:pt x="62" y="67"/>
                    <a:pt x="66" y="64"/>
                  </a:cubicBezTo>
                  <a:cubicBezTo>
                    <a:pt x="70" y="61"/>
                    <a:pt x="74" y="45"/>
                    <a:pt x="75" y="38"/>
                  </a:cubicBezTo>
                  <a:cubicBezTo>
                    <a:pt x="76" y="31"/>
                    <a:pt x="74" y="29"/>
                    <a:pt x="74" y="25"/>
                  </a:cubicBezTo>
                  <a:cubicBezTo>
                    <a:pt x="74" y="21"/>
                    <a:pt x="73" y="15"/>
                    <a:pt x="77" y="13"/>
                  </a:cubicBezTo>
                  <a:cubicBezTo>
                    <a:pt x="84" y="11"/>
                    <a:pt x="91" y="11"/>
                    <a:pt x="98" y="10"/>
                  </a:cubicBezTo>
                  <a:cubicBezTo>
                    <a:pt x="112" y="0"/>
                    <a:pt x="112" y="16"/>
                    <a:pt x="123" y="1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28" name="Freeform 568"/>
            <p:cNvSpPr>
              <a:spLocks/>
            </p:cNvSpPr>
            <p:nvPr>
              <p:custDataLst>
                <p:tags r:id="rId96"/>
              </p:custDataLst>
            </p:nvPr>
          </p:nvSpPr>
          <p:spPr bwMode="gray">
            <a:xfrm>
              <a:off x="2916918" y="1785523"/>
              <a:ext cx="180785" cy="413270"/>
            </a:xfrm>
            <a:custGeom>
              <a:avLst/>
              <a:gdLst/>
              <a:ahLst/>
              <a:cxnLst/>
              <a:rect l="l" t="t" r="r" b="b"/>
              <a:pathLst>
                <a:path w="289383" h="661523">
                  <a:moveTo>
                    <a:pt x="176577" y="566539"/>
                  </a:moveTo>
                  <a:cubicBezTo>
                    <a:pt x="179668" y="568855"/>
                    <a:pt x="181213" y="569241"/>
                    <a:pt x="181213" y="570012"/>
                  </a:cubicBezTo>
                  <a:lnTo>
                    <a:pt x="176577" y="575801"/>
                  </a:lnTo>
                  <a:cubicBezTo>
                    <a:pt x="167306" y="581976"/>
                    <a:pt x="164215" y="591238"/>
                    <a:pt x="162670" y="602044"/>
                  </a:cubicBezTo>
                  <a:cubicBezTo>
                    <a:pt x="151853" y="625200"/>
                    <a:pt x="150308" y="634462"/>
                    <a:pt x="148762" y="589695"/>
                  </a:cubicBezTo>
                  <a:cubicBezTo>
                    <a:pt x="151853" y="568083"/>
                    <a:pt x="153398" y="569627"/>
                    <a:pt x="176577" y="566539"/>
                  </a:cubicBezTo>
                  <a:close/>
                  <a:moveTo>
                    <a:pt x="232210" y="0"/>
                  </a:moveTo>
                  <a:cubicBezTo>
                    <a:pt x="231981" y="2115"/>
                    <a:pt x="229867" y="9267"/>
                    <a:pt x="232210" y="9267"/>
                  </a:cubicBezTo>
                  <a:lnTo>
                    <a:pt x="238398" y="18534"/>
                  </a:lnTo>
                  <a:cubicBezTo>
                    <a:pt x="243017" y="27801"/>
                    <a:pt x="244557" y="26256"/>
                    <a:pt x="255393" y="27801"/>
                  </a:cubicBezTo>
                  <a:cubicBezTo>
                    <a:pt x="266200" y="32434"/>
                    <a:pt x="258473" y="46335"/>
                    <a:pt x="269309" y="47879"/>
                  </a:cubicBezTo>
                  <a:cubicBezTo>
                    <a:pt x="270849" y="55602"/>
                    <a:pt x="283195" y="70979"/>
                    <a:pt x="283195" y="70979"/>
                  </a:cubicBezTo>
                  <a:cubicBezTo>
                    <a:pt x="284735" y="80246"/>
                    <a:pt x="289383" y="91057"/>
                    <a:pt x="289383" y="98780"/>
                  </a:cubicBezTo>
                  <a:cubicBezTo>
                    <a:pt x="289383" y="106502"/>
                    <a:pt x="286304" y="114225"/>
                    <a:pt x="284735" y="121947"/>
                  </a:cubicBezTo>
                  <a:cubicBezTo>
                    <a:pt x="283195" y="129669"/>
                    <a:pt x="284735" y="140481"/>
                    <a:pt x="284735" y="148203"/>
                  </a:cubicBezTo>
                  <a:cubicBezTo>
                    <a:pt x="283195" y="157470"/>
                    <a:pt x="281656" y="157470"/>
                    <a:pt x="284735" y="166737"/>
                  </a:cubicBezTo>
                  <a:cubicBezTo>
                    <a:pt x="278576" y="205282"/>
                    <a:pt x="258473" y="171370"/>
                    <a:pt x="232210" y="191448"/>
                  </a:cubicBezTo>
                  <a:cubicBezTo>
                    <a:pt x="222943" y="216093"/>
                    <a:pt x="221403" y="240805"/>
                    <a:pt x="210567" y="265516"/>
                  </a:cubicBezTo>
                  <a:cubicBezTo>
                    <a:pt x="209027" y="277872"/>
                    <a:pt x="209027" y="280961"/>
                    <a:pt x="199760" y="288683"/>
                  </a:cubicBezTo>
                  <a:cubicBezTo>
                    <a:pt x="193572" y="299495"/>
                    <a:pt x="190493" y="301039"/>
                    <a:pt x="178117" y="302584"/>
                  </a:cubicBezTo>
                  <a:cubicBezTo>
                    <a:pt x="170389" y="316484"/>
                    <a:pt x="150315" y="316484"/>
                    <a:pt x="139479" y="330384"/>
                  </a:cubicBezTo>
                  <a:cubicBezTo>
                    <a:pt x="134859" y="344218"/>
                    <a:pt x="137939" y="358118"/>
                    <a:pt x="125592" y="367385"/>
                  </a:cubicBezTo>
                  <a:cubicBezTo>
                    <a:pt x="124052" y="387463"/>
                    <a:pt x="116325" y="422986"/>
                    <a:pt x="130211" y="441520"/>
                  </a:cubicBezTo>
                  <a:cubicBezTo>
                    <a:pt x="131751" y="452331"/>
                    <a:pt x="144127" y="456964"/>
                    <a:pt x="153394" y="463142"/>
                  </a:cubicBezTo>
                  <a:cubicBezTo>
                    <a:pt x="162661" y="481609"/>
                    <a:pt x="161122" y="503232"/>
                    <a:pt x="139479" y="506321"/>
                  </a:cubicBezTo>
                  <a:cubicBezTo>
                    <a:pt x="134859" y="515587"/>
                    <a:pt x="127132" y="532577"/>
                    <a:pt x="120944" y="537210"/>
                  </a:cubicBezTo>
                  <a:cubicBezTo>
                    <a:pt x="114756" y="541844"/>
                    <a:pt x="103949" y="529488"/>
                    <a:pt x="102409" y="532577"/>
                  </a:cubicBezTo>
                  <a:cubicBezTo>
                    <a:pt x="103949" y="541844"/>
                    <a:pt x="107028" y="551111"/>
                    <a:pt x="108597" y="560377"/>
                  </a:cubicBezTo>
                  <a:cubicBezTo>
                    <a:pt x="107028" y="578911"/>
                    <a:pt x="116325" y="585089"/>
                    <a:pt x="103949" y="594356"/>
                  </a:cubicBezTo>
                  <a:lnTo>
                    <a:pt x="101415" y="607430"/>
                  </a:lnTo>
                  <a:cubicBezTo>
                    <a:pt x="101636" y="612558"/>
                    <a:pt x="108597" y="600131"/>
                    <a:pt x="108597" y="626723"/>
                  </a:cubicBezTo>
                  <a:cubicBezTo>
                    <a:pt x="108597" y="645257"/>
                    <a:pt x="60691" y="652979"/>
                    <a:pt x="48316" y="657612"/>
                  </a:cubicBezTo>
                  <a:cubicBezTo>
                    <a:pt x="34400" y="668424"/>
                    <a:pt x="34400" y="654523"/>
                    <a:pt x="29781" y="643712"/>
                  </a:cubicBezTo>
                  <a:cubicBezTo>
                    <a:pt x="28241" y="623634"/>
                    <a:pt x="18945" y="608189"/>
                    <a:pt x="6598" y="592811"/>
                  </a:cubicBezTo>
                  <a:cubicBezTo>
                    <a:pt x="5058" y="585089"/>
                    <a:pt x="1950" y="578911"/>
                    <a:pt x="410" y="571189"/>
                  </a:cubicBezTo>
                  <a:cubicBezTo>
                    <a:pt x="-1130" y="558833"/>
                    <a:pt x="1950" y="527943"/>
                    <a:pt x="5058" y="514043"/>
                  </a:cubicBezTo>
                  <a:cubicBezTo>
                    <a:pt x="8138" y="500143"/>
                    <a:pt x="11246" y="498598"/>
                    <a:pt x="14326" y="492420"/>
                  </a:cubicBezTo>
                  <a:cubicBezTo>
                    <a:pt x="18945" y="486242"/>
                    <a:pt x="20514" y="480064"/>
                    <a:pt x="23593" y="472342"/>
                  </a:cubicBezTo>
                  <a:cubicBezTo>
                    <a:pt x="22053" y="447698"/>
                    <a:pt x="29781" y="416808"/>
                    <a:pt x="6598" y="402908"/>
                  </a:cubicBezTo>
                  <a:cubicBezTo>
                    <a:pt x="5058" y="393641"/>
                    <a:pt x="5058" y="387463"/>
                    <a:pt x="9677" y="379741"/>
                  </a:cubicBezTo>
                  <a:cubicBezTo>
                    <a:pt x="11246" y="345762"/>
                    <a:pt x="410" y="311851"/>
                    <a:pt x="29781" y="293317"/>
                  </a:cubicBezTo>
                  <a:cubicBezTo>
                    <a:pt x="32860" y="279417"/>
                    <a:pt x="48316" y="284050"/>
                    <a:pt x="60691" y="282506"/>
                  </a:cubicBezTo>
                  <a:cubicBezTo>
                    <a:pt x="66850" y="271694"/>
                    <a:pt x="65311" y="270150"/>
                    <a:pt x="56043" y="263972"/>
                  </a:cubicBezTo>
                  <a:cubicBezTo>
                    <a:pt x="54504" y="257794"/>
                    <a:pt x="46776" y="256249"/>
                    <a:pt x="46776" y="251616"/>
                  </a:cubicBezTo>
                  <a:cubicBezTo>
                    <a:pt x="46776" y="246983"/>
                    <a:pt x="49855" y="242349"/>
                    <a:pt x="52964" y="233082"/>
                  </a:cubicBezTo>
                  <a:cubicBezTo>
                    <a:pt x="56043" y="223815"/>
                    <a:pt x="63771" y="202193"/>
                    <a:pt x="66850" y="191448"/>
                  </a:cubicBezTo>
                  <a:cubicBezTo>
                    <a:pt x="69959" y="180637"/>
                    <a:pt x="65311" y="174459"/>
                    <a:pt x="69959" y="168281"/>
                  </a:cubicBezTo>
                  <a:cubicBezTo>
                    <a:pt x="73038" y="160559"/>
                    <a:pt x="79226" y="155925"/>
                    <a:pt x="83874" y="148203"/>
                  </a:cubicBezTo>
                  <a:cubicBezTo>
                    <a:pt x="90033" y="138936"/>
                    <a:pt x="97761" y="134303"/>
                    <a:pt x="102409" y="125036"/>
                  </a:cubicBezTo>
                  <a:cubicBezTo>
                    <a:pt x="103949" y="114225"/>
                    <a:pt x="108597" y="104958"/>
                    <a:pt x="111676" y="94146"/>
                  </a:cubicBezTo>
                  <a:cubicBezTo>
                    <a:pt x="114756" y="81791"/>
                    <a:pt x="114756" y="66346"/>
                    <a:pt x="122484" y="57146"/>
                  </a:cubicBezTo>
                  <a:cubicBezTo>
                    <a:pt x="130211" y="47879"/>
                    <a:pt x="142587" y="47879"/>
                    <a:pt x="154934" y="41701"/>
                  </a:cubicBezTo>
                  <a:lnTo>
                    <a:pt x="165129" y="31373"/>
                  </a:lnTo>
                  <a:cubicBezTo>
                    <a:pt x="166438" y="24133"/>
                    <a:pt x="149922" y="24712"/>
                    <a:pt x="195112" y="20079"/>
                  </a:cubicBezTo>
                  <a:cubicBezTo>
                    <a:pt x="204379" y="13901"/>
                    <a:pt x="204379" y="7723"/>
                    <a:pt x="210567" y="4634"/>
                  </a:cubicBezTo>
                  <a:cubicBezTo>
                    <a:pt x="216755" y="1545"/>
                    <a:pt x="229131" y="0"/>
                    <a:pt x="232210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29" name="Freeform 573"/>
            <p:cNvSpPr>
              <a:spLocks/>
            </p:cNvSpPr>
            <p:nvPr>
              <p:custDataLst>
                <p:tags r:id="rId97"/>
              </p:custDataLst>
            </p:nvPr>
          </p:nvSpPr>
          <p:spPr bwMode="gray">
            <a:xfrm>
              <a:off x="2815187" y="1125017"/>
              <a:ext cx="381818" cy="1016598"/>
            </a:xfrm>
            <a:custGeom>
              <a:avLst/>
              <a:gdLst/>
              <a:ahLst/>
              <a:cxnLst/>
              <a:rect l="l" t="t" r="r" b="b"/>
              <a:pathLst>
                <a:path w="611177" h="1627272">
                  <a:moveTo>
                    <a:pt x="470007" y="909739"/>
                  </a:moveTo>
                  <a:cubicBezTo>
                    <a:pt x="482168" y="908774"/>
                    <a:pt x="494521" y="909546"/>
                    <a:pt x="503014" y="915720"/>
                  </a:cubicBezTo>
                  <a:cubicBezTo>
                    <a:pt x="503014" y="915720"/>
                    <a:pt x="521544" y="918807"/>
                    <a:pt x="530809" y="920351"/>
                  </a:cubicBezTo>
                  <a:cubicBezTo>
                    <a:pt x="557060" y="923438"/>
                    <a:pt x="564781" y="928068"/>
                    <a:pt x="580222" y="948134"/>
                  </a:cubicBezTo>
                  <a:cubicBezTo>
                    <a:pt x="587943" y="952764"/>
                    <a:pt x="594120" y="954308"/>
                    <a:pt x="598752" y="962025"/>
                  </a:cubicBezTo>
                  <a:cubicBezTo>
                    <a:pt x="608017" y="966655"/>
                    <a:pt x="615738" y="962025"/>
                    <a:pt x="608017" y="974373"/>
                  </a:cubicBezTo>
                  <a:cubicBezTo>
                    <a:pt x="598752" y="975916"/>
                    <a:pt x="592576" y="979003"/>
                    <a:pt x="584855" y="983634"/>
                  </a:cubicBezTo>
                  <a:cubicBezTo>
                    <a:pt x="577134" y="985177"/>
                    <a:pt x="570957" y="988264"/>
                    <a:pt x="563236" y="989808"/>
                  </a:cubicBezTo>
                  <a:cubicBezTo>
                    <a:pt x="570957" y="992895"/>
                    <a:pt x="574818" y="996754"/>
                    <a:pt x="574625" y="1000226"/>
                  </a:cubicBezTo>
                  <a:lnTo>
                    <a:pt x="561692" y="1008330"/>
                  </a:lnTo>
                  <a:cubicBezTo>
                    <a:pt x="557060" y="1005243"/>
                    <a:pt x="546251" y="995982"/>
                    <a:pt x="540074" y="994438"/>
                  </a:cubicBezTo>
                  <a:cubicBezTo>
                    <a:pt x="533897" y="992895"/>
                    <a:pt x="529265" y="994438"/>
                    <a:pt x="521544" y="994438"/>
                  </a:cubicBezTo>
                  <a:cubicBezTo>
                    <a:pt x="513823" y="995982"/>
                    <a:pt x="499926" y="997525"/>
                    <a:pt x="493749" y="1006786"/>
                  </a:cubicBezTo>
                  <a:cubicBezTo>
                    <a:pt x="487572" y="1016047"/>
                    <a:pt x="492205" y="1040743"/>
                    <a:pt x="487572" y="1053091"/>
                  </a:cubicBezTo>
                  <a:cubicBezTo>
                    <a:pt x="486028" y="1065439"/>
                    <a:pt x="475219" y="1079331"/>
                    <a:pt x="470586" y="1080874"/>
                  </a:cubicBezTo>
                  <a:cubicBezTo>
                    <a:pt x="464410" y="1082418"/>
                    <a:pt x="453601" y="1068526"/>
                    <a:pt x="445880" y="1066983"/>
                  </a:cubicBezTo>
                  <a:cubicBezTo>
                    <a:pt x="438159" y="1065439"/>
                    <a:pt x="428894" y="1070070"/>
                    <a:pt x="422717" y="1071613"/>
                  </a:cubicBezTo>
                  <a:cubicBezTo>
                    <a:pt x="416540" y="1073157"/>
                    <a:pt x="414996" y="1080874"/>
                    <a:pt x="408820" y="1076244"/>
                  </a:cubicBezTo>
                  <a:cubicBezTo>
                    <a:pt x="396466" y="1070070"/>
                    <a:pt x="398010" y="1056178"/>
                    <a:pt x="391834" y="1043830"/>
                  </a:cubicBezTo>
                  <a:lnTo>
                    <a:pt x="385657" y="1040743"/>
                  </a:lnTo>
                  <a:cubicBezTo>
                    <a:pt x="384499" y="1043059"/>
                    <a:pt x="391158" y="1064475"/>
                    <a:pt x="388697" y="1067224"/>
                  </a:cubicBezTo>
                  <a:lnTo>
                    <a:pt x="382569" y="1062352"/>
                  </a:lnTo>
                  <a:cubicBezTo>
                    <a:pt x="379480" y="1068526"/>
                    <a:pt x="368671" y="1071613"/>
                    <a:pt x="364039" y="1076244"/>
                  </a:cubicBezTo>
                  <a:cubicBezTo>
                    <a:pt x="359406" y="1080874"/>
                    <a:pt x="357862" y="1087048"/>
                    <a:pt x="353230" y="1087048"/>
                  </a:cubicBezTo>
                  <a:cubicBezTo>
                    <a:pt x="339332" y="1083961"/>
                    <a:pt x="348597" y="1087048"/>
                    <a:pt x="334700" y="1080874"/>
                  </a:cubicBezTo>
                  <a:cubicBezTo>
                    <a:pt x="331611" y="1079331"/>
                    <a:pt x="328523" y="1074700"/>
                    <a:pt x="326979" y="1077787"/>
                  </a:cubicBezTo>
                  <a:cubicBezTo>
                    <a:pt x="323890" y="1083961"/>
                    <a:pt x="326979" y="1091679"/>
                    <a:pt x="325435" y="1099396"/>
                  </a:cubicBezTo>
                  <a:cubicBezTo>
                    <a:pt x="325435" y="1102483"/>
                    <a:pt x="322346" y="1104027"/>
                    <a:pt x="320802" y="1105570"/>
                  </a:cubicBezTo>
                  <a:cubicBezTo>
                    <a:pt x="309993" y="1107114"/>
                    <a:pt x="299184" y="1105570"/>
                    <a:pt x="289919" y="1110201"/>
                  </a:cubicBezTo>
                  <a:cubicBezTo>
                    <a:pt x="282198" y="1119462"/>
                    <a:pt x="279109" y="1144158"/>
                    <a:pt x="274477" y="1156506"/>
                  </a:cubicBezTo>
                  <a:cubicBezTo>
                    <a:pt x="269844" y="1168854"/>
                    <a:pt x="271389" y="1173484"/>
                    <a:pt x="266756" y="1184289"/>
                  </a:cubicBezTo>
                  <a:cubicBezTo>
                    <a:pt x="254403" y="1190463"/>
                    <a:pt x="249770" y="1204354"/>
                    <a:pt x="243594" y="1216702"/>
                  </a:cubicBezTo>
                  <a:cubicBezTo>
                    <a:pt x="237417" y="1227506"/>
                    <a:pt x="234329" y="1233680"/>
                    <a:pt x="229696" y="1244485"/>
                  </a:cubicBezTo>
                  <a:cubicBezTo>
                    <a:pt x="225064" y="1255289"/>
                    <a:pt x="220431" y="1270724"/>
                    <a:pt x="218887" y="1281529"/>
                  </a:cubicBezTo>
                  <a:cubicBezTo>
                    <a:pt x="214254" y="1292333"/>
                    <a:pt x="211166" y="1298507"/>
                    <a:pt x="209622" y="1309312"/>
                  </a:cubicBezTo>
                  <a:cubicBezTo>
                    <a:pt x="209622" y="1317029"/>
                    <a:pt x="220431" y="1323203"/>
                    <a:pt x="220431" y="1327834"/>
                  </a:cubicBezTo>
                  <a:cubicBezTo>
                    <a:pt x="220431" y="1332464"/>
                    <a:pt x="218887" y="1337095"/>
                    <a:pt x="214254" y="1340182"/>
                  </a:cubicBezTo>
                  <a:cubicBezTo>
                    <a:pt x="209622" y="1343269"/>
                    <a:pt x="198813" y="1341725"/>
                    <a:pt x="192636" y="1346356"/>
                  </a:cubicBezTo>
                  <a:cubicBezTo>
                    <a:pt x="186459" y="1350986"/>
                    <a:pt x="180283" y="1360247"/>
                    <a:pt x="177194" y="1371052"/>
                  </a:cubicBezTo>
                  <a:cubicBezTo>
                    <a:pt x="174106" y="1381856"/>
                    <a:pt x="174106" y="1400378"/>
                    <a:pt x="174106" y="1409639"/>
                  </a:cubicBezTo>
                  <a:cubicBezTo>
                    <a:pt x="174106" y="1418900"/>
                    <a:pt x="178738" y="1420444"/>
                    <a:pt x="177194" y="1428161"/>
                  </a:cubicBezTo>
                  <a:cubicBezTo>
                    <a:pt x="174106" y="1435879"/>
                    <a:pt x="172562" y="1443596"/>
                    <a:pt x="169473" y="1451314"/>
                  </a:cubicBezTo>
                  <a:cubicBezTo>
                    <a:pt x="178738" y="1471379"/>
                    <a:pt x="177194" y="1452857"/>
                    <a:pt x="181827" y="1488357"/>
                  </a:cubicBezTo>
                  <a:cubicBezTo>
                    <a:pt x="191092" y="1499162"/>
                    <a:pt x="194180" y="1517684"/>
                    <a:pt x="188003" y="1531575"/>
                  </a:cubicBezTo>
                  <a:cubicBezTo>
                    <a:pt x="175650" y="1540836"/>
                    <a:pt x="178738" y="1559358"/>
                    <a:pt x="167929" y="1571706"/>
                  </a:cubicBezTo>
                  <a:cubicBezTo>
                    <a:pt x="158664" y="1573250"/>
                    <a:pt x="146311" y="1570163"/>
                    <a:pt x="140134" y="1576337"/>
                  </a:cubicBezTo>
                  <a:cubicBezTo>
                    <a:pt x="137132" y="1576337"/>
                    <a:pt x="136075" y="1573095"/>
                    <a:pt x="135502" y="1571706"/>
                  </a:cubicBezTo>
                  <a:cubicBezTo>
                    <a:pt x="135502" y="1574793"/>
                    <a:pt x="140134" y="1593315"/>
                    <a:pt x="137046" y="1594859"/>
                  </a:cubicBezTo>
                  <a:cubicBezTo>
                    <a:pt x="135502" y="1599489"/>
                    <a:pt x="116972" y="1585598"/>
                    <a:pt x="113883" y="1590228"/>
                  </a:cubicBezTo>
                  <a:cubicBezTo>
                    <a:pt x="107707" y="1591772"/>
                    <a:pt x="106163" y="1604120"/>
                    <a:pt x="103074" y="1608750"/>
                  </a:cubicBezTo>
                  <a:cubicBezTo>
                    <a:pt x="99986" y="1613381"/>
                    <a:pt x="103074" y="1621098"/>
                    <a:pt x="93809" y="1622642"/>
                  </a:cubicBezTo>
                  <a:cubicBezTo>
                    <a:pt x="78368" y="1627272"/>
                    <a:pt x="73735" y="1625729"/>
                    <a:pt x="56749" y="1627272"/>
                  </a:cubicBezTo>
                  <a:cubicBezTo>
                    <a:pt x="38219" y="1622642"/>
                    <a:pt x="41307" y="1618011"/>
                    <a:pt x="30498" y="1604120"/>
                  </a:cubicBezTo>
                  <a:cubicBezTo>
                    <a:pt x="24322" y="1596402"/>
                    <a:pt x="22777" y="1594859"/>
                    <a:pt x="19689" y="1585598"/>
                  </a:cubicBezTo>
                  <a:cubicBezTo>
                    <a:pt x="16601" y="1576337"/>
                    <a:pt x="11968" y="1551641"/>
                    <a:pt x="10424" y="1543923"/>
                  </a:cubicBezTo>
                  <a:cubicBezTo>
                    <a:pt x="10424" y="1540836"/>
                    <a:pt x="2703" y="1543923"/>
                    <a:pt x="2703" y="1540836"/>
                  </a:cubicBezTo>
                  <a:cubicBezTo>
                    <a:pt x="-385" y="1526945"/>
                    <a:pt x="1159" y="1513053"/>
                    <a:pt x="1159" y="1499162"/>
                  </a:cubicBezTo>
                  <a:cubicBezTo>
                    <a:pt x="2703" y="1465205"/>
                    <a:pt x="-6562" y="1446683"/>
                    <a:pt x="10424" y="1423531"/>
                  </a:cubicBezTo>
                  <a:cubicBezTo>
                    <a:pt x="28954" y="1414270"/>
                    <a:pt x="76823" y="1384943"/>
                    <a:pt x="86088" y="1367965"/>
                  </a:cubicBezTo>
                  <a:cubicBezTo>
                    <a:pt x="92265" y="1355617"/>
                    <a:pt x="95353" y="1341725"/>
                    <a:pt x="103074" y="1330921"/>
                  </a:cubicBezTo>
                  <a:cubicBezTo>
                    <a:pt x="123148" y="1327834"/>
                    <a:pt x="129325" y="1332464"/>
                    <a:pt x="132413" y="1313942"/>
                  </a:cubicBezTo>
                  <a:cubicBezTo>
                    <a:pt x="137046" y="1304681"/>
                    <a:pt x="141678" y="1295420"/>
                    <a:pt x="144767" y="1286159"/>
                  </a:cubicBezTo>
                  <a:cubicBezTo>
                    <a:pt x="154032" y="1279985"/>
                    <a:pt x="158664" y="1283072"/>
                    <a:pt x="160208" y="1272268"/>
                  </a:cubicBezTo>
                  <a:cubicBezTo>
                    <a:pt x="169473" y="1255289"/>
                    <a:pt x="160208" y="1235224"/>
                    <a:pt x="172562" y="1219789"/>
                  </a:cubicBezTo>
                  <a:cubicBezTo>
                    <a:pt x="189548" y="1213615"/>
                    <a:pt x="197269" y="1192006"/>
                    <a:pt x="200357" y="1175028"/>
                  </a:cubicBezTo>
                  <a:cubicBezTo>
                    <a:pt x="211166" y="1168854"/>
                    <a:pt x="201901" y="1156506"/>
                    <a:pt x="211166" y="1145701"/>
                  </a:cubicBezTo>
                  <a:cubicBezTo>
                    <a:pt x="223519" y="1137984"/>
                    <a:pt x="251314" y="1114831"/>
                    <a:pt x="232784" y="1108657"/>
                  </a:cubicBezTo>
                  <a:cubicBezTo>
                    <a:pt x="217343" y="1116375"/>
                    <a:pt x="211166" y="1130266"/>
                    <a:pt x="191092" y="1141071"/>
                  </a:cubicBezTo>
                  <a:cubicBezTo>
                    <a:pt x="180283" y="1142614"/>
                    <a:pt x="171018" y="1158049"/>
                    <a:pt x="164841" y="1142614"/>
                  </a:cubicBezTo>
                  <a:cubicBezTo>
                    <a:pt x="191092" y="1137984"/>
                    <a:pt x="184915" y="1121005"/>
                    <a:pt x="201901" y="1104027"/>
                  </a:cubicBezTo>
                  <a:cubicBezTo>
                    <a:pt x="214254" y="1099396"/>
                    <a:pt x="208078" y="1091679"/>
                    <a:pt x="215799" y="1080874"/>
                  </a:cubicBezTo>
                  <a:cubicBezTo>
                    <a:pt x="225064" y="1074700"/>
                    <a:pt x="228152" y="1065439"/>
                    <a:pt x="229696" y="1054635"/>
                  </a:cubicBezTo>
                  <a:cubicBezTo>
                    <a:pt x="237417" y="1040743"/>
                    <a:pt x="243594" y="1040743"/>
                    <a:pt x="257491" y="1036113"/>
                  </a:cubicBezTo>
                  <a:cubicBezTo>
                    <a:pt x="262124" y="1043830"/>
                    <a:pt x="263668" y="1048461"/>
                    <a:pt x="271389" y="1054635"/>
                  </a:cubicBezTo>
                  <a:cubicBezTo>
                    <a:pt x="271389" y="1054635"/>
                    <a:pt x="272933" y="1026852"/>
                    <a:pt x="283742" y="1020678"/>
                  </a:cubicBezTo>
                  <a:cubicBezTo>
                    <a:pt x="300728" y="1017591"/>
                    <a:pt x="300728" y="1017591"/>
                    <a:pt x="306904" y="1003699"/>
                  </a:cubicBezTo>
                  <a:cubicBezTo>
                    <a:pt x="320802" y="992895"/>
                    <a:pt x="314625" y="980547"/>
                    <a:pt x="322346" y="966655"/>
                  </a:cubicBezTo>
                  <a:cubicBezTo>
                    <a:pt x="331611" y="965112"/>
                    <a:pt x="340876" y="962025"/>
                    <a:pt x="350141" y="957395"/>
                  </a:cubicBezTo>
                  <a:cubicBezTo>
                    <a:pt x="359406" y="960482"/>
                    <a:pt x="364039" y="965112"/>
                    <a:pt x="373304" y="966655"/>
                  </a:cubicBezTo>
                  <a:cubicBezTo>
                    <a:pt x="385657" y="965112"/>
                    <a:pt x="399555" y="963569"/>
                    <a:pt x="404187" y="952764"/>
                  </a:cubicBezTo>
                  <a:cubicBezTo>
                    <a:pt x="395694" y="951221"/>
                    <a:pt x="392220" y="947748"/>
                    <a:pt x="392606" y="944082"/>
                  </a:cubicBezTo>
                  <a:lnTo>
                    <a:pt x="404187" y="934242"/>
                  </a:lnTo>
                  <a:cubicBezTo>
                    <a:pt x="427350" y="932699"/>
                    <a:pt x="435070" y="935786"/>
                    <a:pt x="438159" y="914177"/>
                  </a:cubicBezTo>
                  <a:cubicBezTo>
                    <a:pt x="445880" y="913405"/>
                    <a:pt x="457847" y="910704"/>
                    <a:pt x="470007" y="909739"/>
                  </a:cubicBezTo>
                  <a:close/>
                  <a:moveTo>
                    <a:pt x="446112" y="0"/>
                  </a:moveTo>
                  <a:lnTo>
                    <a:pt x="454687" y="2416"/>
                  </a:lnTo>
                  <a:cubicBezTo>
                    <a:pt x="458030" y="3285"/>
                    <a:pt x="449600" y="1546"/>
                    <a:pt x="464715" y="15458"/>
                  </a:cubicBezTo>
                  <a:cubicBezTo>
                    <a:pt x="472467" y="23186"/>
                    <a:pt x="492621" y="34006"/>
                    <a:pt x="492621" y="34006"/>
                  </a:cubicBezTo>
                  <a:lnTo>
                    <a:pt x="495406" y="42894"/>
                  </a:lnTo>
                  <a:cubicBezTo>
                    <a:pt x="496206" y="44923"/>
                    <a:pt x="494171" y="31301"/>
                    <a:pt x="517425" y="46372"/>
                  </a:cubicBezTo>
                  <a:cubicBezTo>
                    <a:pt x="520526" y="47918"/>
                    <a:pt x="515875" y="52555"/>
                    <a:pt x="514325" y="55646"/>
                  </a:cubicBezTo>
                  <a:cubicBezTo>
                    <a:pt x="509674" y="72649"/>
                    <a:pt x="514325" y="95835"/>
                    <a:pt x="495721" y="102018"/>
                  </a:cubicBezTo>
                  <a:cubicBezTo>
                    <a:pt x="461615" y="154573"/>
                    <a:pt x="522076" y="143753"/>
                    <a:pt x="446112" y="151481"/>
                  </a:cubicBezTo>
                  <a:cubicBezTo>
                    <a:pt x="427508" y="163847"/>
                    <a:pt x="443011" y="168484"/>
                    <a:pt x="415106" y="163847"/>
                  </a:cubicBezTo>
                  <a:cubicBezTo>
                    <a:pt x="396503" y="151481"/>
                    <a:pt x="379449" y="154573"/>
                    <a:pt x="359295" y="157664"/>
                  </a:cubicBezTo>
                  <a:cubicBezTo>
                    <a:pt x="331390" y="166939"/>
                    <a:pt x="337591" y="160756"/>
                    <a:pt x="349994" y="166939"/>
                  </a:cubicBezTo>
                  <a:lnTo>
                    <a:pt x="360095" y="172518"/>
                  </a:lnTo>
                  <a:cubicBezTo>
                    <a:pt x="363365" y="175054"/>
                    <a:pt x="351156" y="170416"/>
                    <a:pt x="368597" y="176213"/>
                  </a:cubicBezTo>
                  <a:cubicBezTo>
                    <a:pt x="374798" y="193216"/>
                    <a:pt x="365497" y="207127"/>
                    <a:pt x="387201" y="200944"/>
                  </a:cubicBezTo>
                  <a:cubicBezTo>
                    <a:pt x="390301" y="211765"/>
                    <a:pt x="388751" y="224130"/>
                    <a:pt x="393402" y="234950"/>
                  </a:cubicBezTo>
                  <a:cubicBezTo>
                    <a:pt x="396503" y="245770"/>
                    <a:pt x="412005" y="262773"/>
                    <a:pt x="412005" y="262773"/>
                  </a:cubicBezTo>
                  <a:cubicBezTo>
                    <a:pt x="415106" y="279776"/>
                    <a:pt x="435260" y="340060"/>
                    <a:pt x="446112" y="355517"/>
                  </a:cubicBezTo>
                  <a:lnTo>
                    <a:pt x="455874" y="354502"/>
                  </a:lnTo>
                  <a:cubicBezTo>
                    <a:pt x="459871" y="357546"/>
                    <a:pt x="448825" y="370588"/>
                    <a:pt x="443011" y="374065"/>
                  </a:cubicBezTo>
                  <a:cubicBezTo>
                    <a:pt x="435260" y="384886"/>
                    <a:pt x="427508" y="389523"/>
                    <a:pt x="418207" y="398797"/>
                  </a:cubicBezTo>
                  <a:lnTo>
                    <a:pt x="409075" y="395488"/>
                  </a:lnTo>
                  <a:cubicBezTo>
                    <a:pt x="405804" y="393677"/>
                    <a:pt x="416269" y="393387"/>
                    <a:pt x="405804" y="367883"/>
                  </a:cubicBezTo>
                  <a:cubicBezTo>
                    <a:pt x="401153" y="358608"/>
                    <a:pt x="385650" y="363245"/>
                    <a:pt x="374798" y="361700"/>
                  </a:cubicBezTo>
                  <a:cubicBezTo>
                    <a:pt x="373248" y="336968"/>
                    <a:pt x="379449" y="272048"/>
                    <a:pt x="343793" y="259682"/>
                  </a:cubicBezTo>
                  <a:cubicBezTo>
                    <a:pt x="328290" y="264319"/>
                    <a:pt x="326739" y="275139"/>
                    <a:pt x="322088" y="290596"/>
                  </a:cubicBezTo>
                  <a:cubicBezTo>
                    <a:pt x="320538" y="293688"/>
                    <a:pt x="318988" y="299871"/>
                    <a:pt x="318988" y="299871"/>
                  </a:cubicBezTo>
                  <a:cubicBezTo>
                    <a:pt x="314337" y="381794"/>
                    <a:pt x="331390" y="347788"/>
                    <a:pt x="297284" y="370974"/>
                  </a:cubicBezTo>
                  <a:cubicBezTo>
                    <a:pt x="277130" y="401889"/>
                    <a:pt x="315887" y="454443"/>
                    <a:pt x="278680" y="466809"/>
                  </a:cubicBezTo>
                  <a:cubicBezTo>
                    <a:pt x="263177" y="445169"/>
                    <a:pt x="270929" y="452897"/>
                    <a:pt x="256976" y="438986"/>
                  </a:cubicBezTo>
                  <a:cubicBezTo>
                    <a:pt x="252325" y="426620"/>
                    <a:pt x="249225" y="421983"/>
                    <a:pt x="238373" y="414254"/>
                  </a:cubicBezTo>
                  <a:cubicBezTo>
                    <a:pt x="230621" y="403434"/>
                    <a:pt x="224420" y="397251"/>
                    <a:pt x="213568" y="389523"/>
                  </a:cubicBezTo>
                  <a:cubicBezTo>
                    <a:pt x="212018" y="383340"/>
                    <a:pt x="207367" y="377157"/>
                    <a:pt x="213568" y="370974"/>
                  </a:cubicBezTo>
                  <a:cubicBezTo>
                    <a:pt x="218219" y="366337"/>
                    <a:pt x="232171" y="358608"/>
                    <a:pt x="232171" y="358608"/>
                  </a:cubicBezTo>
                  <a:cubicBezTo>
                    <a:pt x="233722" y="353971"/>
                    <a:pt x="238373" y="344697"/>
                    <a:pt x="232171" y="340060"/>
                  </a:cubicBezTo>
                  <a:cubicBezTo>
                    <a:pt x="227521" y="336968"/>
                    <a:pt x="213568" y="333877"/>
                    <a:pt x="213568" y="333877"/>
                  </a:cubicBezTo>
                  <a:cubicBezTo>
                    <a:pt x="196515" y="309145"/>
                    <a:pt x="221319" y="301416"/>
                    <a:pt x="241473" y="296779"/>
                  </a:cubicBezTo>
                  <a:cubicBezTo>
                    <a:pt x="250775" y="281322"/>
                    <a:pt x="255426" y="259682"/>
                    <a:pt x="235272" y="253499"/>
                  </a:cubicBezTo>
                  <a:cubicBezTo>
                    <a:pt x="233722" y="250408"/>
                    <a:pt x="233722" y="242679"/>
                    <a:pt x="232171" y="244225"/>
                  </a:cubicBezTo>
                  <a:cubicBezTo>
                    <a:pt x="213568" y="262773"/>
                    <a:pt x="232171" y="268956"/>
                    <a:pt x="204266" y="287505"/>
                  </a:cubicBezTo>
                  <a:cubicBezTo>
                    <a:pt x="188763" y="284414"/>
                    <a:pt x="184112" y="278231"/>
                    <a:pt x="176361" y="265865"/>
                  </a:cubicBezTo>
                  <a:cubicBezTo>
                    <a:pt x="173260" y="267411"/>
                    <a:pt x="168609" y="265865"/>
                    <a:pt x="167059" y="268956"/>
                  </a:cubicBezTo>
                  <a:cubicBezTo>
                    <a:pt x="165930" y="266714"/>
                    <a:pt x="167059" y="262773"/>
                    <a:pt x="167059" y="262773"/>
                  </a:cubicBezTo>
                  <a:cubicBezTo>
                    <a:pt x="137604" y="253499"/>
                    <a:pt x="129852" y="213310"/>
                    <a:pt x="163959" y="204036"/>
                  </a:cubicBezTo>
                  <a:cubicBezTo>
                    <a:pt x="159308" y="183941"/>
                    <a:pt x="153107" y="159210"/>
                    <a:pt x="136053" y="148390"/>
                  </a:cubicBezTo>
                  <a:cubicBezTo>
                    <a:pt x="139154" y="91198"/>
                    <a:pt x="125201" y="106655"/>
                    <a:pt x="151556" y="86561"/>
                  </a:cubicBezTo>
                  <a:cubicBezTo>
                    <a:pt x="168609" y="92744"/>
                    <a:pt x="191864" y="103564"/>
                    <a:pt x="207367" y="114384"/>
                  </a:cubicBezTo>
                  <a:lnTo>
                    <a:pt x="212130" y="128055"/>
                  </a:lnTo>
                  <a:lnTo>
                    <a:pt x="210467" y="136024"/>
                  </a:lnTo>
                  <a:cubicBezTo>
                    <a:pt x="212018" y="139116"/>
                    <a:pt x="213568" y="148390"/>
                    <a:pt x="216669" y="145298"/>
                  </a:cubicBezTo>
                  <a:cubicBezTo>
                    <a:pt x="217629" y="144341"/>
                    <a:pt x="215018" y="136261"/>
                    <a:pt x="212130" y="128055"/>
                  </a:cubicBezTo>
                  <a:cubicBezTo>
                    <a:pt x="214033" y="113915"/>
                    <a:pt x="216509" y="101041"/>
                    <a:pt x="232171" y="95835"/>
                  </a:cubicBezTo>
                  <a:cubicBezTo>
                    <a:pt x="238373" y="105110"/>
                    <a:pt x="241473" y="114384"/>
                    <a:pt x="247674" y="123658"/>
                  </a:cubicBezTo>
                  <a:cubicBezTo>
                    <a:pt x="249127" y="154076"/>
                    <a:pt x="245135" y="165491"/>
                    <a:pt x="257726" y="184393"/>
                  </a:cubicBezTo>
                  <a:lnTo>
                    <a:pt x="256976" y="197853"/>
                  </a:lnTo>
                  <a:cubicBezTo>
                    <a:pt x="256976" y="200944"/>
                    <a:pt x="261627" y="210219"/>
                    <a:pt x="263177" y="207127"/>
                  </a:cubicBezTo>
                  <a:cubicBezTo>
                    <a:pt x="264728" y="200944"/>
                    <a:pt x="261627" y="194762"/>
                    <a:pt x="260077" y="188579"/>
                  </a:cubicBezTo>
                  <a:cubicBezTo>
                    <a:pt x="259101" y="187217"/>
                    <a:pt x="258205" y="185898"/>
                    <a:pt x="257726" y="184393"/>
                  </a:cubicBezTo>
                  <a:cubicBezTo>
                    <a:pt x="256837" y="170317"/>
                    <a:pt x="258902" y="156262"/>
                    <a:pt x="260077" y="142207"/>
                  </a:cubicBezTo>
                  <a:cubicBezTo>
                    <a:pt x="261627" y="132933"/>
                    <a:pt x="269378" y="114384"/>
                    <a:pt x="269378" y="114384"/>
                  </a:cubicBezTo>
                  <a:cubicBezTo>
                    <a:pt x="264728" y="100472"/>
                    <a:pt x="258526" y="106655"/>
                    <a:pt x="253876" y="92744"/>
                  </a:cubicBezTo>
                  <a:cubicBezTo>
                    <a:pt x="256976" y="77287"/>
                    <a:pt x="264728" y="66466"/>
                    <a:pt x="269378" y="52555"/>
                  </a:cubicBezTo>
                  <a:cubicBezTo>
                    <a:pt x="270929" y="57192"/>
                    <a:pt x="274029" y="68012"/>
                    <a:pt x="278680" y="71104"/>
                  </a:cubicBezTo>
                  <a:cubicBezTo>
                    <a:pt x="286432" y="75741"/>
                    <a:pt x="306586" y="80378"/>
                    <a:pt x="306586" y="80378"/>
                  </a:cubicBezTo>
                  <a:lnTo>
                    <a:pt x="307051" y="91508"/>
                  </a:lnTo>
                  <a:lnTo>
                    <a:pt x="306586" y="98927"/>
                  </a:lnTo>
                  <a:cubicBezTo>
                    <a:pt x="306586" y="102605"/>
                    <a:pt x="307134" y="97529"/>
                    <a:pt x="307051" y="91508"/>
                  </a:cubicBezTo>
                  <a:cubicBezTo>
                    <a:pt x="307043" y="77333"/>
                    <a:pt x="308364" y="63960"/>
                    <a:pt x="309686" y="49464"/>
                  </a:cubicBezTo>
                  <a:cubicBezTo>
                    <a:pt x="309686" y="40189"/>
                    <a:pt x="308136" y="29369"/>
                    <a:pt x="312787" y="21641"/>
                  </a:cubicBezTo>
                  <a:cubicBezTo>
                    <a:pt x="318988" y="12366"/>
                    <a:pt x="332940" y="18549"/>
                    <a:pt x="343793" y="15458"/>
                  </a:cubicBezTo>
                  <a:cubicBezTo>
                    <a:pt x="348443" y="0"/>
                    <a:pt x="353094" y="0"/>
                    <a:pt x="368597" y="3092"/>
                  </a:cubicBezTo>
                  <a:cubicBezTo>
                    <a:pt x="376349" y="24732"/>
                    <a:pt x="368597" y="24732"/>
                    <a:pt x="384100" y="15458"/>
                  </a:cubicBezTo>
                  <a:cubicBezTo>
                    <a:pt x="398053" y="20095"/>
                    <a:pt x="391852" y="26278"/>
                    <a:pt x="405804" y="30915"/>
                  </a:cubicBezTo>
                  <a:cubicBezTo>
                    <a:pt x="416656" y="10820"/>
                    <a:pt x="407355" y="4638"/>
                    <a:pt x="433710" y="9275"/>
                  </a:cubicBezTo>
                  <a:lnTo>
                    <a:pt x="439790" y="24346"/>
                  </a:lnTo>
                  <a:cubicBezTo>
                    <a:pt x="444077" y="31011"/>
                    <a:pt x="443786" y="15071"/>
                    <a:pt x="446112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30" name="Freeform 581"/>
            <p:cNvSpPr>
              <a:spLocks/>
            </p:cNvSpPr>
            <p:nvPr>
              <p:custDataLst>
                <p:tags r:id="rId98"/>
              </p:custDataLst>
            </p:nvPr>
          </p:nvSpPr>
          <p:spPr bwMode="gray">
            <a:xfrm>
              <a:off x="3062992" y="2093019"/>
              <a:ext cx="103142" cy="81324"/>
            </a:xfrm>
            <a:custGeom>
              <a:avLst/>
              <a:gdLst>
                <a:gd name="T0" fmla="*/ 8 w 107"/>
                <a:gd name="T1" fmla="*/ 26 h 84"/>
                <a:gd name="T2" fmla="*/ 29 w 107"/>
                <a:gd name="T3" fmla="*/ 17 h 84"/>
                <a:gd name="T4" fmla="*/ 47 w 107"/>
                <a:gd name="T5" fmla="*/ 6 h 84"/>
                <a:gd name="T6" fmla="*/ 60 w 107"/>
                <a:gd name="T7" fmla="*/ 0 h 84"/>
                <a:gd name="T8" fmla="*/ 101 w 107"/>
                <a:gd name="T9" fmla="*/ 8 h 84"/>
                <a:gd name="T10" fmla="*/ 92 w 107"/>
                <a:gd name="T11" fmla="*/ 42 h 84"/>
                <a:gd name="T12" fmla="*/ 92 w 107"/>
                <a:gd name="T13" fmla="*/ 59 h 84"/>
                <a:gd name="T14" fmla="*/ 51 w 107"/>
                <a:gd name="T15" fmla="*/ 45 h 84"/>
                <a:gd name="T16" fmla="*/ 38 w 107"/>
                <a:gd name="T17" fmla="*/ 54 h 84"/>
                <a:gd name="T18" fmla="*/ 5 w 107"/>
                <a:gd name="T19" fmla="*/ 63 h 84"/>
                <a:gd name="T20" fmla="*/ 5 w 107"/>
                <a:gd name="T21" fmla="*/ 51 h 84"/>
                <a:gd name="T22" fmla="*/ 8 w 107"/>
                <a:gd name="T23" fmla="*/ 2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7" h="84">
                  <a:moveTo>
                    <a:pt x="8" y="26"/>
                  </a:moveTo>
                  <a:cubicBezTo>
                    <a:pt x="16" y="22"/>
                    <a:pt x="19" y="19"/>
                    <a:pt x="29" y="17"/>
                  </a:cubicBezTo>
                  <a:cubicBezTo>
                    <a:pt x="35" y="7"/>
                    <a:pt x="34" y="8"/>
                    <a:pt x="47" y="6"/>
                  </a:cubicBezTo>
                  <a:cubicBezTo>
                    <a:pt x="51" y="3"/>
                    <a:pt x="55" y="2"/>
                    <a:pt x="60" y="0"/>
                  </a:cubicBezTo>
                  <a:cubicBezTo>
                    <a:pt x="74" y="2"/>
                    <a:pt x="88" y="0"/>
                    <a:pt x="101" y="8"/>
                  </a:cubicBezTo>
                  <a:cubicBezTo>
                    <a:pt x="107" y="14"/>
                    <a:pt x="94" y="34"/>
                    <a:pt x="92" y="42"/>
                  </a:cubicBezTo>
                  <a:cubicBezTo>
                    <a:pt x="90" y="51"/>
                    <a:pt x="99" y="59"/>
                    <a:pt x="92" y="59"/>
                  </a:cubicBezTo>
                  <a:cubicBezTo>
                    <a:pt x="54" y="58"/>
                    <a:pt x="71" y="57"/>
                    <a:pt x="51" y="45"/>
                  </a:cubicBezTo>
                  <a:cubicBezTo>
                    <a:pt x="35" y="48"/>
                    <a:pt x="47" y="50"/>
                    <a:pt x="38" y="54"/>
                  </a:cubicBezTo>
                  <a:cubicBezTo>
                    <a:pt x="35" y="84"/>
                    <a:pt x="26" y="66"/>
                    <a:pt x="5" y="63"/>
                  </a:cubicBezTo>
                  <a:cubicBezTo>
                    <a:pt x="0" y="55"/>
                    <a:pt x="1" y="60"/>
                    <a:pt x="5" y="51"/>
                  </a:cubicBezTo>
                  <a:cubicBezTo>
                    <a:pt x="7" y="42"/>
                    <a:pt x="6" y="36"/>
                    <a:pt x="8" y="2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31" name="Freeform 582"/>
            <p:cNvSpPr>
              <a:spLocks/>
            </p:cNvSpPr>
            <p:nvPr>
              <p:custDataLst>
                <p:tags r:id="rId99"/>
              </p:custDataLst>
            </p:nvPr>
          </p:nvSpPr>
          <p:spPr bwMode="gray">
            <a:xfrm>
              <a:off x="2581001" y="2789228"/>
              <a:ext cx="232070" cy="225128"/>
            </a:xfrm>
            <a:custGeom>
              <a:avLst/>
              <a:gdLst>
                <a:gd name="T0" fmla="*/ 1 w 240"/>
                <a:gd name="T1" fmla="*/ 157 h 233"/>
                <a:gd name="T2" fmla="*/ 82 w 240"/>
                <a:gd name="T3" fmla="*/ 158 h 233"/>
                <a:gd name="T4" fmla="*/ 96 w 240"/>
                <a:gd name="T5" fmla="*/ 145 h 233"/>
                <a:gd name="T6" fmla="*/ 85 w 240"/>
                <a:gd name="T7" fmla="*/ 73 h 233"/>
                <a:gd name="T8" fmla="*/ 73 w 240"/>
                <a:gd name="T9" fmla="*/ 25 h 233"/>
                <a:gd name="T10" fmla="*/ 82 w 240"/>
                <a:gd name="T11" fmla="*/ 10 h 233"/>
                <a:gd name="T12" fmla="*/ 99 w 240"/>
                <a:gd name="T13" fmla="*/ 5 h 233"/>
                <a:gd name="T14" fmla="*/ 120 w 240"/>
                <a:gd name="T15" fmla="*/ 14 h 233"/>
                <a:gd name="T16" fmla="*/ 133 w 240"/>
                <a:gd name="T17" fmla="*/ 26 h 233"/>
                <a:gd name="T18" fmla="*/ 147 w 240"/>
                <a:gd name="T19" fmla="*/ 35 h 233"/>
                <a:gd name="T20" fmla="*/ 165 w 240"/>
                <a:gd name="T21" fmla="*/ 47 h 233"/>
                <a:gd name="T22" fmla="*/ 178 w 240"/>
                <a:gd name="T23" fmla="*/ 56 h 233"/>
                <a:gd name="T24" fmla="*/ 186 w 240"/>
                <a:gd name="T25" fmla="*/ 62 h 233"/>
                <a:gd name="T26" fmla="*/ 201 w 240"/>
                <a:gd name="T27" fmla="*/ 79 h 233"/>
                <a:gd name="T28" fmla="*/ 210 w 240"/>
                <a:gd name="T29" fmla="*/ 86 h 233"/>
                <a:gd name="T30" fmla="*/ 235 w 240"/>
                <a:gd name="T31" fmla="*/ 98 h 233"/>
                <a:gd name="T32" fmla="*/ 237 w 240"/>
                <a:gd name="T33" fmla="*/ 119 h 233"/>
                <a:gd name="T34" fmla="*/ 237 w 240"/>
                <a:gd name="T35" fmla="*/ 142 h 233"/>
                <a:gd name="T36" fmla="*/ 226 w 240"/>
                <a:gd name="T37" fmla="*/ 152 h 233"/>
                <a:gd name="T38" fmla="*/ 202 w 240"/>
                <a:gd name="T39" fmla="*/ 155 h 233"/>
                <a:gd name="T40" fmla="*/ 172 w 240"/>
                <a:gd name="T41" fmla="*/ 160 h 233"/>
                <a:gd name="T42" fmla="*/ 148 w 240"/>
                <a:gd name="T43" fmla="*/ 167 h 233"/>
                <a:gd name="T44" fmla="*/ 127 w 240"/>
                <a:gd name="T45" fmla="*/ 181 h 233"/>
                <a:gd name="T46" fmla="*/ 115 w 240"/>
                <a:gd name="T47" fmla="*/ 185 h 233"/>
                <a:gd name="T48" fmla="*/ 102 w 240"/>
                <a:gd name="T49" fmla="*/ 206 h 233"/>
                <a:gd name="T50" fmla="*/ 93 w 240"/>
                <a:gd name="T51" fmla="*/ 233 h 233"/>
                <a:gd name="T52" fmla="*/ 49 w 240"/>
                <a:gd name="T53" fmla="*/ 230 h 233"/>
                <a:gd name="T54" fmla="*/ 28 w 240"/>
                <a:gd name="T55" fmla="*/ 208 h 233"/>
                <a:gd name="T56" fmla="*/ 6 w 240"/>
                <a:gd name="T57" fmla="*/ 202 h 233"/>
                <a:gd name="T58" fmla="*/ 1 w 240"/>
                <a:gd name="T59" fmla="*/ 157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0" h="233">
                  <a:moveTo>
                    <a:pt x="1" y="157"/>
                  </a:moveTo>
                  <a:cubicBezTo>
                    <a:pt x="30" y="160"/>
                    <a:pt x="52" y="159"/>
                    <a:pt x="82" y="158"/>
                  </a:cubicBezTo>
                  <a:cubicBezTo>
                    <a:pt x="90" y="156"/>
                    <a:pt x="92" y="152"/>
                    <a:pt x="96" y="145"/>
                  </a:cubicBezTo>
                  <a:cubicBezTo>
                    <a:pt x="94" y="120"/>
                    <a:pt x="93" y="97"/>
                    <a:pt x="85" y="73"/>
                  </a:cubicBezTo>
                  <a:cubicBezTo>
                    <a:pt x="82" y="58"/>
                    <a:pt x="73" y="35"/>
                    <a:pt x="73" y="25"/>
                  </a:cubicBezTo>
                  <a:cubicBezTo>
                    <a:pt x="73" y="15"/>
                    <a:pt x="78" y="13"/>
                    <a:pt x="82" y="10"/>
                  </a:cubicBezTo>
                  <a:cubicBezTo>
                    <a:pt x="84" y="0"/>
                    <a:pt x="93" y="4"/>
                    <a:pt x="99" y="5"/>
                  </a:cubicBezTo>
                  <a:cubicBezTo>
                    <a:pt x="105" y="6"/>
                    <a:pt x="114" y="11"/>
                    <a:pt x="120" y="14"/>
                  </a:cubicBezTo>
                  <a:cubicBezTo>
                    <a:pt x="121" y="20"/>
                    <a:pt x="127" y="23"/>
                    <a:pt x="133" y="26"/>
                  </a:cubicBezTo>
                  <a:cubicBezTo>
                    <a:pt x="138" y="33"/>
                    <a:pt x="139" y="34"/>
                    <a:pt x="147" y="35"/>
                  </a:cubicBezTo>
                  <a:cubicBezTo>
                    <a:pt x="155" y="38"/>
                    <a:pt x="158" y="43"/>
                    <a:pt x="165" y="47"/>
                  </a:cubicBezTo>
                  <a:cubicBezTo>
                    <a:pt x="169" y="54"/>
                    <a:pt x="172" y="52"/>
                    <a:pt x="178" y="56"/>
                  </a:cubicBezTo>
                  <a:cubicBezTo>
                    <a:pt x="180" y="59"/>
                    <a:pt x="185" y="59"/>
                    <a:pt x="186" y="62"/>
                  </a:cubicBezTo>
                  <a:cubicBezTo>
                    <a:pt x="188" y="66"/>
                    <a:pt x="197" y="75"/>
                    <a:pt x="201" y="79"/>
                  </a:cubicBezTo>
                  <a:cubicBezTo>
                    <a:pt x="205" y="83"/>
                    <a:pt x="204" y="83"/>
                    <a:pt x="210" y="86"/>
                  </a:cubicBezTo>
                  <a:cubicBezTo>
                    <a:pt x="220" y="89"/>
                    <a:pt x="227" y="92"/>
                    <a:pt x="235" y="98"/>
                  </a:cubicBezTo>
                  <a:cubicBezTo>
                    <a:pt x="240" y="104"/>
                    <a:pt x="238" y="110"/>
                    <a:pt x="237" y="119"/>
                  </a:cubicBezTo>
                  <a:cubicBezTo>
                    <a:pt x="237" y="126"/>
                    <a:pt x="239" y="137"/>
                    <a:pt x="237" y="142"/>
                  </a:cubicBezTo>
                  <a:cubicBezTo>
                    <a:pt x="235" y="147"/>
                    <a:pt x="232" y="150"/>
                    <a:pt x="226" y="152"/>
                  </a:cubicBezTo>
                  <a:cubicBezTo>
                    <a:pt x="220" y="162"/>
                    <a:pt x="211" y="154"/>
                    <a:pt x="202" y="155"/>
                  </a:cubicBezTo>
                  <a:cubicBezTo>
                    <a:pt x="193" y="156"/>
                    <a:pt x="181" y="158"/>
                    <a:pt x="172" y="160"/>
                  </a:cubicBezTo>
                  <a:cubicBezTo>
                    <a:pt x="162" y="161"/>
                    <a:pt x="157" y="165"/>
                    <a:pt x="148" y="167"/>
                  </a:cubicBezTo>
                  <a:cubicBezTo>
                    <a:pt x="140" y="171"/>
                    <a:pt x="135" y="179"/>
                    <a:pt x="127" y="181"/>
                  </a:cubicBezTo>
                  <a:cubicBezTo>
                    <a:pt x="122" y="187"/>
                    <a:pt x="123" y="184"/>
                    <a:pt x="115" y="185"/>
                  </a:cubicBezTo>
                  <a:cubicBezTo>
                    <a:pt x="108" y="196"/>
                    <a:pt x="113" y="199"/>
                    <a:pt x="102" y="206"/>
                  </a:cubicBezTo>
                  <a:cubicBezTo>
                    <a:pt x="97" y="213"/>
                    <a:pt x="102" y="229"/>
                    <a:pt x="93" y="233"/>
                  </a:cubicBezTo>
                  <a:cubicBezTo>
                    <a:pt x="81" y="232"/>
                    <a:pt x="61" y="232"/>
                    <a:pt x="49" y="230"/>
                  </a:cubicBezTo>
                  <a:cubicBezTo>
                    <a:pt x="54" y="230"/>
                    <a:pt x="37" y="210"/>
                    <a:pt x="28" y="208"/>
                  </a:cubicBezTo>
                  <a:cubicBezTo>
                    <a:pt x="22" y="205"/>
                    <a:pt x="13" y="203"/>
                    <a:pt x="6" y="202"/>
                  </a:cubicBezTo>
                  <a:cubicBezTo>
                    <a:pt x="0" y="193"/>
                    <a:pt x="2" y="167"/>
                    <a:pt x="1" y="15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32" name="Freeform 583"/>
            <p:cNvSpPr>
              <a:spLocks/>
            </p:cNvSpPr>
            <p:nvPr>
              <p:custDataLst>
                <p:tags r:id="rId100"/>
              </p:custDataLst>
            </p:nvPr>
          </p:nvSpPr>
          <p:spPr bwMode="gray">
            <a:xfrm>
              <a:off x="3110596" y="3382296"/>
              <a:ext cx="117027" cy="113060"/>
            </a:xfrm>
            <a:custGeom>
              <a:avLst/>
              <a:gdLst>
                <a:gd name="T0" fmla="*/ 2 w 121"/>
                <a:gd name="T1" fmla="*/ 42 h 117"/>
                <a:gd name="T2" fmla="*/ 34 w 121"/>
                <a:gd name="T3" fmla="*/ 36 h 117"/>
                <a:gd name="T4" fmla="*/ 49 w 121"/>
                <a:gd name="T5" fmla="*/ 20 h 117"/>
                <a:gd name="T6" fmla="*/ 58 w 121"/>
                <a:gd name="T7" fmla="*/ 11 h 117"/>
                <a:gd name="T8" fmla="*/ 77 w 121"/>
                <a:gd name="T9" fmla="*/ 0 h 117"/>
                <a:gd name="T10" fmla="*/ 92 w 121"/>
                <a:gd name="T11" fmla="*/ 12 h 117"/>
                <a:gd name="T12" fmla="*/ 109 w 121"/>
                <a:gd name="T13" fmla="*/ 21 h 117"/>
                <a:gd name="T14" fmla="*/ 110 w 121"/>
                <a:gd name="T15" fmla="*/ 92 h 117"/>
                <a:gd name="T16" fmla="*/ 101 w 121"/>
                <a:gd name="T17" fmla="*/ 108 h 117"/>
                <a:gd name="T18" fmla="*/ 83 w 121"/>
                <a:gd name="T19" fmla="*/ 114 h 117"/>
                <a:gd name="T20" fmla="*/ 44 w 121"/>
                <a:gd name="T21" fmla="*/ 98 h 117"/>
                <a:gd name="T22" fmla="*/ 32 w 121"/>
                <a:gd name="T23" fmla="*/ 89 h 117"/>
                <a:gd name="T24" fmla="*/ 26 w 121"/>
                <a:gd name="T25" fmla="*/ 78 h 117"/>
                <a:gd name="T26" fmla="*/ 14 w 121"/>
                <a:gd name="T27" fmla="*/ 71 h 117"/>
                <a:gd name="T28" fmla="*/ 6 w 121"/>
                <a:gd name="T29" fmla="*/ 59 h 117"/>
                <a:gd name="T30" fmla="*/ 2 w 121"/>
                <a:gd name="T31" fmla="*/ 51 h 117"/>
                <a:gd name="T32" fmla="*/ 2 w 121"/>
                <a:gd name="T33" fmla="*/ 4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1" h="117">
                  <a:moveTo>
                    <a:pt x="2" y="42"/>
                  </a:moveTo>
                  <a:cubicBezTo>
                    <a:pt x="22" y="41"/>
                    <a:pt x="22" y="43"/>
                    <a:pt x="34" y="36"/>
                  </a:cubicBezTo>
                  <a:cubicBezTo>
                    <a:pt x="27" y="23"/>
                    <a:pt x="39" y="21"/>
                    <a:pt x="49" y="20"/>
                  </a:cubicBezTo>
                  <a:cubicBezTo>
                    <a:pt x="53" y="14"/>
                    <a:pt x="51" y="12"/>
                    <a:pt x="58" y="11"/>
                  </a:cubicBezTo>
                  <a:cubicBezTo>
                    <a:pt x="64" y="8"/>
                    <a:pt x="71" y="3"/>
                    <a:pt x="77" y="0"/>
                  </a:cubicBezTo>
                  <a:cubicBezTo>
                    <a:pt x="88" y="4"/>
                    <a:pt x="80" y="10"/>
                    <a:pt x="92" y="12"/>
                  </a:cubicBezTo>
                  <a:cubicBezTo>
                    <a:pt x="99" y="15"/>
                    <a:pt x="101" y="19"/>
                    <a:pt x="109" y="21"/>
                  </a:cubicBezTo>
                  <a:cubicBezTo>
                    <a:pt x="120" y="40"/>
                    <a:pt x="121" y="71"/>
                    <a:pt x="110" y="92"/>
                  </a:cubicBezTo>
                  <a:cubicBezTo>
                    <a:pt x="109" y="99"/>
                    <a:pt x="108" y="107"/>
                    <a:pt x="101" y="108"/>
                  </a:cubicBezTo>
                  <a:cubicBezTo>
                    <a:pt x="95" y="117"/>
                    <a:pt x="95" y="116"/>
                    <a:pt x="83" y="114"/>
                  </a:cubicBezTo>
                  <a:cubicBezTo>
                    <a:pt x="79" y="111"/>
                    <a:pt x="50" y="99"/>
                    <a:pt x="44" y="98"/>
                  </a:cubicBezTo>
                  <a:cubicBezTo>
                    <a:pt x="39" y="95"/>
                    <a:pt x="35" y="94"/>
                    <a:pt x="32" y="89"/>
                  </a:cubicBezTo>
                  <a:cubicBezTo>
                    <a:pt x="29" y="85"/>
                    <a:pt x="29" y="81"/>
                    <a:pt x="26" y="78"/>
                  </a:cubicBezTo>
                  <a:cubicBezTo>
                    <a:pt x="23" y="75"/>
                    <a:pt x="17" y="74"/>
                    <a:pt x="14" y="71"/>
                  </a:cubicBezTo>
                  <a:cubicBezTo>
                    <a:pt x="9" y="66"/>
                    <a:pt x="8" y="62"/>
                    <a:pt x="6" y="59"/>
                  </a:cubicBezTo>
                  <a:cubicBezTo>
                    <a:pt x="4" y="56"/>
                    <a:pt x="3" y="54"/>
                    <a:pt x="2" y="51"/>
                  </a:cubicBezTo>
                  <a:cubicBezTo>
                    <a:pt x="1" y="44"/>
                    <a:pt x="0" y="47"/>
                    <a:pt x="2" y="4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33" name="Freeform 584"/>
            <p:cNvSpPr>
              <a:spLocks/>
            </p:cNvSpPr>
            <p:nvPr>
              <p:custDataLst>
                <p:tags r:id="rId101"/>
              </p:custDataLst>
            </p:nvPr>
          </p:nvSpPr>
          <p:spPr bwMode="gray">
            <a:xfrm>
              <a:off x="3370435" y="2513522"/>
              <a:ext cx="40662" cy="37687"/>
            </a:xfrm>
            <a:custGeom>
              <a:avLst/>
              <a:gdLst>
                <a:gd name="T0" fmla="*/ 0 w 42"/>
                <a:gd name="T1" fmla="*/ 3 h 39"/>
                <a:gd name="T2" fmla="*/ 23 w 42"/>
                <a:gd name="T3" fmla="*/ 0 h 39"/>
                <a:gd name="T4" fmla="*/ 31 w 42"/>
                <a:gd name="T5" fmla="*/ 16 h 39"/>
                <a:gd name="T6" fmla="*/ 36 w 42"/>
                <a:gd name="T7" fmla="*/ 27 h 39"/>
                <a:gd name="T8" fmla="*/ 42 w 42"/>
                <a:gd name="T9" fmla="*/ 38 h 39"/>
                <a:gd name="T10" fmla="*/ 27 w 42"/>
                <a:gd name="T11" fmla="*/ 33 h 39"/>
                <a:gd name="T12" fmla="*/ 18 w 42"/>
                <a:gd name="T13" fmla="*/ 39 h 39"/>
                <a:gd name="T14" fmla="*/ 2 w 42"/>
                <a:gd name="T15" fmla="*/ 17 h 39"/>
                <a:gd name="T16" fmla="*/ 0 w 42"/>
                <a:gd name="T17" fmla="*/ 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39">
                  <a:moveTo>
                    <a:pt x="0" y="3"/>
                  </a:moveTo>
                  <a:lnTo>
                    <a:pt x="23" y="0"/>
                  </a:lnTo>
                  <a:lnTo>
                    <a:pt x="31" y="16"/>
                  </a:lnTo>
                  <a:lnTo>
                    <a:pt x="36" y="27"/>
                  </a:lnTo>
                  <a:lnTo>
                    <a:pt x="42" y="38"/>
                  </a:lnTo>
                  <a:lnTo>
                    <a:pt x="27" y="33"/>
                  </a:lnTo>
                  <a:lnTo>
                    <a:pt x="18" y="39"/>
                  </a:lnTo>
                  <a:lnTo>
                    <a:pt x="2" y="17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34" name="Freeform 590"/>
            <p:cNvSpPr>
              <a:spLocks/>
            </p:cNvSpPr>
            <p:nvPr>
              <p:custDataLst>
                <p:tags r:id="rId102"/>
              </p:custDataLst>
            </p:nvPr>
          </p:nvSpPr>
          <p:spPr bwMode="gray">
            <a:xfrm>
              <a:off x="3348618" y="2987578"/>
              <a:ext cx="28761" cy="30745"/>
            </a:xfrm>
            <a:custGeom>
              <a:avLst/>
              <a:gdLst>
                <a:gd name="T0" fmla="*/ 11 w 30"/>
                <a:gd name="T1" fmla="*/ 9 h 32"/>
                <a:gd name="T2" fmla="*/ 24 w 30"/>
                <a:gd name="T3" fmla="*/ 0 h 32"/>
                <a:gd name="T4" fmla="*/ 15 w 30"/>
                <a:gd name="T5" fmla="*/ 20 h 32"/>
                <a:gd name="T6" fmla="*/ 11 w 30"/>
                <a:gd name="T7" fmla="*/ 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32">
                  <a:moveTo>
                    <a:pt x="11" y="9"/>
                  </a:moveTo>
                  <a:cubicBezTo>
                    <a:pt x="12" y="0"/>
                    <a:pt x="16" y="3"/>
                    <a:pt x="24" y="0"/>
                  </a:cubicBezTo>
                  <a:cubicBezTo>
                    <a:pt x="29" y="13"/>
                    <a:pt x="30" y="32"/>
                    <a:pt x="15" y="20"/>
                  </a:cubicBezTo>
                  <a:cubicBezTo>
                    <a:pt x="11" y="14"/>
                    <a:pt x="0" y="7"/>
                    <a:pt x="11" y="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35" name="Freeform 591"/>
            <p:cNvSpPr>
              <a:spLocks/>
            </p:cNvSpPr>
            <p:nvPr>
              <p:custDataLst>
                <p:tags r:id="rId103"/>
              </p:custDataLst>
            </p:nvPr>
          </p:nvSpPr>
          <p:spPr bwMode="gray">
            <a:xfrm>
              <a:off x="3398204" y="2700963"/>
              <a:ext cx="28761" cy="30745"/>
            </a:xfrm>
            <a:custGeom>
              <a:avLst/>
              <a:gdLst>
                <a:gd name="T0" fmla="*/ 11 w 30"/>
                <a:gd name="T1" fmla="*/ 9 h 32"/>
                <a:gd name="T2" fmla="*/ 24 w 30"/>
                <a:gd name="T3" fmla="*/ 0 h 32"/>
                <a:gd name="T4" fmla="*/ 15 w 30"/>
                <a:gd name="T5" fmla="*/ 20 h 32"/>
                <a:gd name="T6" fmla="*/ 11 w 30"/>
                <a:gd name="T7" fmla="*/ 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32">
                  <a:moveTo>
                    <a:pt x="11" y="9"/>
                  </a:moveTo>
                  <a:cubicBezTo>
                    <a:pt x="12" y="0"/>
                    <a:pt x="16" y="3"/>
                    <a:pt x="24" y="0"/>
                  </a:cubicBezTo>
                  <a:cubicBezTo>
                    <a:pt x="29" y="13"/>
                    <a:pt x="30" y="32"/>
                    <a:pt x="15" y="20"/>
                  </a:cubicBezTo>
                  <a:cubicBezTo>
                    <a:pt x="11" y="14"/>
                    <a:pt x="0" y="7"/>
                    <a:pt x="11" y="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36" name="Freeform 592"/>
            <p:cNvSpPr>
              <a:spLocks/>
            </p:cNvSpPr>
            <p:nvPr>
              <p:custDataLst>
                <p:tags r:id="rId104"/>
              </p:custDataLst>
            </p:nvPr>
          </p:nvSpPr>
          <p:spPr bwMode="gray">
            <a:xfrm>
              <a:off x="3754242" y="2480794"/>
              <a:ext cx="121986" cy="69423"/>
            </a:xfrm>
            <a:custGeom>
              <a:avLst/>
              <a:gdLst>
                <a:gd name="T0" fmla="*/ 10 w 126"/>
                <a:gd name="T1" fmla="*/ 15 h 72"/>
                <a:gd name="T2" fmla="*/ 22 w 126"/>
                <a:gd name="T3" fmla="*/ 7 h 72"/>
                <a:gd name="T4" fmla="*/ 40 w 126"/>
                <a:gd name="T5" fmla="*/ 15 h 72"/>
                <a:gd name="T6" fmla="*/ 48 w 126"/>
                <a:gd name="T7" fmla="*/ 7 h 72"/>
                <a:gd name="T8" fmla="*/ 58 w 126"/>
                <a:gd name="T9" fmla="*/ 0 h 72"/>
                <a:gd name="T10" fmla="*/ 84 w 126"/>
                <a:gd name="T11" fmla="*/ 9 h 72"/>
                <a:gd name="T12" fmla="*/ 108 w 126"/>
                <a:gd name="T13" fmla="*/ 6 h 72"/>
                <a:gd name="T14" fmla="*/ 124 w 126"/>
                <a:gd name="T15" fmla="*/ 9 h 72"/>
                <a:gd name="T16" fmla="*/ 126 w 126"/>
                <a:gd name="T17" fmla="*/ 19 h 72"/>
                <a:gd name="T18" fmla="*/ 108 w 126"/>
                <a:gd name="T19" fmla="*/ 39 h 72"/>
                <a:gd name="T20" fmla="*/ 85 w 126"/>
                <a:gd name="T21" fmla="*/ 52 h 72"/>
                <a:gd name="T22" fmla="*/ 73 w 126"/>
                <a:gd name="T23" fmla="*/ 55 h 72"/>
                <a:gd name="T24" fmla="*/ 52 w 126"/>
                <a:gd name="T25" fmla="*/ 60 h 72"/>
                <a:gd name="T26" fmla="*/ 51 w 126"/>
                <a:gd name="T27" fmla="*/ 72 h 72"/>
                <a:gd name="T28" fmla="*/ 9 w 126"/>
                <a:gd name="T29" fmla="*/ 70 h 72"/>
                <a:gd name="T30" fmla="*/ 0 w 126"/>
                <a:gd name="T31" fmla="*/ 51 h 72"/>
                <a:gd name="T32" fmla="*/ 25 w 126"/>
                <a:gd name="T33" fmla="*/ 51 h 72"/>
                <a:gd name="T34" fmla="*/ 34 w 126"/>
                <a:gd name="T35" fmla="*/ 36 h 72"/>
                <a:gd name="T36" fmla="*/ 28 w 126"/>
                <a:gd name="T37" fmla="*/ 28 h 72"/>
                <a:gd name="T38" fmla="*/ 22 w 126"/>
                <a:gd name="T39" fmla="*/ 2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6" h="72">
                  <a:moveTo>
                    <a:pt x="10" y="15"/>
                  </a:moveTo>
                  <a:lnTo>
                    <a:pt x="22" y="7"/>
                  </a:lnTo>
                  <a:lnTo>
                    <a:pt x="40" y="15"/>
                  </a:lnTo>
                  <a:lnTo>
                    <a:pt x="48" y="7"/>
                  </a:lnTo>
                  <a:lnTo>
                    <a:pt x="58" y="0"/>
                  </a:lnTo>
                  <a:lnTo>
                    <a:pt x="84" y="9"/>
                  </a:lnTo>
                  <a:lnTo>
                    <a:pt x="108" y="6"/>
                  </a:lnTo>
                  <a:lnTo>
                    <a:pt x="124" y="9"/>
                  </a:lnTo>
                  <a:lnTo>
                    <a:pt x="126" y="19"/>
                  </a:lnTo>
                  <a:lnTo>
                    <a:pt x="108" y="39"/>
                  </a:lnTo>
                  <a:lnTo>
                    <a:pt x="85" y="52"/>
                  </a:lnTo>
                  <a:lnTo>
                    <a:pt x="73" y="55"/>
                  </a:lnTo>
                  <a:lnTo>
                    <a:pt x="52" y="60"/>
                  </a:lnTo>
                  <a:lnTo>
                    <a:pt x="51" y="72"/>
                  </a:lnTo>
                  <a:lnTo>
                    <a:pt x="9" y="70"/>
                  </a:lnTo>
                  <a:lnTo>
                    <a:pt x="0" y="51"/>
                  </a:lnTo>
                  <a:lnTo>
                    <a:pt x="25" y="51"/>
                  </a:lnTo>
                  <a:lnTo>
                    <a:pt x="34" y="36"/>
                  </a:lnTo>
                  <a:lnTo>
                    <a:pt x="28" y="28"/>
                  </a:lnTo>
                  <a:lnTo>
                    <a:pt x="22" y="25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37" name="Freeform 593"/>
            <p:cNvSpPr>
              <a:spLocks/>
            </p:cNvSpPr>
            <p:nvPr>
              <p:custDataLst>
                <p:tags r:id="rId105"/>
              </p:custDataLst>
            </p:nvPr>
          </p:nvSpPr>
          <p:spPr bwMode="gray">
            <a:xfrm>
              <a:off x="3896063" y="2708897"/>
              <a:ext cx="122977" cy="66448"/>
            </a:xfrm>
            <a:custGeom>
              <a:avLst/>
              <a:gdLst>
                <a:gd name="T0" fmla="*/ 17 w 127"/>
                <a:gd name="T1" fmla="*/ 1 h 69"/>
                <a:gd name="T2" fmla="*/ 8 w 127"/>
                <a:gd name="T3" fmla="*/ 16 h 69"/>
                <a:gd name="T4" fmla="*/ 2 w 127"/>
                <a:gd name="T5" fmla="*/ 25 h 69"/>
                <a:gd name="T6" fmla="*/ 20 w 127"/>
                <a:gd name="T7" fmla="*/ 29 h 69"/>
                <a:gd name="T8" fmla="*/ 29 w 127"/>
                <a:gd name="T9" fmla="*/ 38 h 69"/>
                <a:gd name="T10" fmla="*/ 42 w 127"/>
                <a:gd name="T11" fmla="*/ 41 h 69"/>
                <a:gd name="T12" fmla="*/ 64 w 127"/>
                <a:gd name="T13" fmla="*/ 53 h 69"/>
                <a:gd name="T14" fmla="*/ 80 w 127"/>
                <a:gd name="T15" fmla="*/ 61 h 69"/>
                <a:gd name="T16" fmla="*/ 92 w 127"/>
                <a:gd name="T17" fmla="*/ 59 h 69"/>
                <a:gd name="T18" fmla="*/ 117 w 127"/>
                <a:gd name="T19" fmla="*/ 67 h 69"/>
                <a:gd name="T20" fmla="*/ 123 w 127"/>
                <a:gd name="T21" fmla="*/ 47 h 69"/>
                <a:gd name="T22" fmla="*/ 125 w 127"/>
                <a:gd name="T23" fmla="*/ 37 h 69"/>
                <a:gd name="T24" fmla="*/ 111 w 127"/>
                <a:gd name="T25" fmla="*/ 37 h 69"/>
                <a:gd name="T26" fmla="*/ 93 w 127"/>
                <a:gd name="T27" fmla="*/ 29 h 69"/>
                <a:gd name="T28" fmla="*/ 71 w 127"/>
                <a:gd name="T29" fmla="*/ 19 h 69"/>
                <a:gd name="T30" fmla="*/ 54 w 127"/>
                <a:gd name="T31" fmla="*/ 11 h 69"/>
                <a:gd name="T32" fmla="*/ 33 w 127"/>
                <a:gd name="T33" fmla="*/ 2 h 69"/>
                <a:gd name="T34" fmla="*/ 17 w 127"/>
                <a:gd name="T35" fmla="*/ 1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7" h="69">
                  <a:moveTo>
                    <a:pt x="17" y="1"/>
                  </a:moveTo>
                  <a:cubicBezTo>
                    <a:pt x="12" y="4"/>
                    <a:pt x="10" y="12"/>
                    <a:pt x="8" y="16"/>
                  </a:cubicBezTo>
                  <a:cubicBezTo>
                    <a:pt x="6" y="20"/>
                    <a:pt x="0" y="23"/>
                    <a:pt x="2" y="25"/>
                  </a:cubicBezTo>
                  <a:cubicBezTo>
                    <a:pt x="4" y="27"/>
                    <a:pt x="16" y="27"/>
                    <a:pt x="20" y="29"/>
                  </a:cubicBezTo>
                  <a:cubicBezTo>
                    <a:pt x="24" y="31"/>
                    <a:pt x="25" y="36"/>
                    <a:pt x="29" y="38"/>
                  </a:cubicBezTo>
                  <a:cubicBezTo>
                    <a:pt x="33" y="40"/>
                    <a:pt x="36" y="39"/>
                    <a:pt x="42" y="41"/>
                  </a:cubicBezTo>
                  <a:cubicBezTo>
                    <a:pt x="48" y="43"/>
                    <a:pt x="58" y="50"/>
                    <a:pt x="64" y="53"/>
                  </a:cubicBezTo>
                  <a:cubicBezTo>
                    <a:pt x="70" y="56"/>
                    <a:pt x="75" y="60"/>
                    <a:pt x="80" y="61"/>
                  </a:cubicBezTo>
                  <a:cubicBezTo>
                    <a:pt x="85" y="62"/>
                    <a:pt x="86" y="58"/>
                    <a:pt x="92" y="59"/>
                  </a:cubicBezTo>
                  <a:cubicBezTo>
                    <a:pt x="98" y="60"/>
                    <a:pt x="112" y="69"/>
                    <a:pt x="117" y="67"/>
                  </a:cubicBezTo>
                  <a:cubicBezTo>
                    <a:pt x="122" y="65"/>
                    <a:pt x="122" y="52"/>
                    <a:pt x="123" y="47"/>
                  </a:cubicBezTo>
                  <a:cubicBezTo>
                    <a:pt x="124" y="42"/>
                    <a:pt x="127" y="39"/>
                    <a:pt x="125" y="37"/>
                  </a:cubicBezTo>
                  <a:cubicBezTo>
                    <a:pt x="123" y="35"/>
                    <a:pt x="116" y="38"/>
                    <a:pt x="111" y="37"/>
                  </a:cubicBezTo>
                  <a:cubicBezTo>
                    <a:pt x="106" y="36"/>
                    <a:pt x="100" y="32"/>
                    <a:pt x="93" y="29"/>
                  </a:cubicBezTo>
                  <a:cubicBezTo>
                    <a:pt x="86" y="26"/>
                    <a:pt x="77" y="22"/>
                    <a:pt x="71" y="19"/>
                  </a:cubicBezTo>
                  <a:cubicBezTo>
                    <a:pt x="65" y="16"/>
                    <a:pt x="60" y="14"/>
                    <a:pt x="54" y="11"/>
                  </a:cubicBezTo>
                  <a:cubicBezTo>
                    <a:pt x="48" y="8"/>
                    <a:pt x="39" y="4"/>
                    <a:pt x="33" y="2"/>
                  </a:cubicBezTo>
                  <a:cubicBezTo>
                    <a:pt x="27" y="0"/>
                    <a:pt x="20" y="1"/>
                    <a:pt x="17" y="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38" name="Freeform 594"/>
            <p:cNvSpPr>
              <a:spLocks/>
            </p:cNvSpPr>
            <p:nvPr>
              <p:custDataLst>
                <p:tags r:id="rId106"/>
              </p:custDataLst>
            </p:nvPr>
          </p:nvSpPr>
          <p:spPr bwMode="gray">
            <a:xfrm>
              <a:off x="3799863" y="2252691"/>
              <a:ext cx="893569" cy="642655"/>
            </a:xfrm>
            <a:custGeom>
              <a:avLst/>
              <a:gdLst>
                <a:gd name="T0" fmla="*/ 637 w 926"/>
                <a:gd name="T1" fmla="*/ 140 h 666"/>
                <a:gd name="T2" fmla="*/ 682 w 926"/>
                <a:gd name="T3" fmla="*/ 137 h 666"/>
                <a:gd name="T4" fmla="*/ 642 w 926"/>
                <a:gd name="T5" fmla="*/ 170 h 666"/>
                <a:gd name="T6" fmla="*/ 603 w 926"/>
                <a:gd name="T7" fmla="*/ 201 h 666"/>
                <a:gd name="T8" fmla="*/ 571 w 926"/>
                <a:gd name="T9" fmla="*/ 213 h 666"/>
                <a:gd name="T10" fmla="*/ 531 w 926"/>
                <a:gd name="T11" fmla="*/ 243 h 666"/>
                <a:gd name="T12" fmla="*/ 474 w 926"/>
                <a:gd name="T13" fmla="*/ 264 h 666"/>
                <a:gd name="T14" fmla="*/ 418 w 926"/>
                <a:gd name="T15" fmla="*/ 243 h 666"/>
                <a:gd name="T16" fmla="*/ 331 w 926"/>
                <a:gd name="T17" fmla="*/ 219 h 666"/>
                <a:gd name="T18" fmla="*/ 294 w 926"/>
                <a:gd name="T19" fmla="*/ 197 h 666"/>
                <a:gd name="T20" fmla="*/ 268 w 926"/>
                <a:gd name="T21" fmla="*/ 155 h 666"/>
                <a:gd name="T22" fmla="*/ 232 w 926"/>
                <a:gd name="T23" fmla="*/ 117 h 666"/>
                <a:gd name="T24" fmla="*/ 195 w 926"/>
                <a:gd name="T25" fmla="*/ 156 h 666"/>
                <a:gd name="T26" fmla="*/ 141 w 926"/>
                <a:gd name="T27" fmla="*/ 179 h 666"/>
                <a:gd name="T28" fmla="*/ 111 w 926"/>
                <a:gd name="T29" fmla="*/ 194 h 666"/>
                <a:gd name="T30" fmla="*/ 120 w 926"/>
                <a:gd name="T31" fmla="*/ 249 h 666"/>
                <a:gd name="T32" fmla="*/ 70 w 926"/>
                <a:gd name="T33" fmla="*/ 272 h 666"/>
                <a:gd name="T34" fmla="*/ 25 w 926"/>
                <a:gd name="T35" fmla="*/ 287 h 666"/>
                <a:gd name="T36" fmla="*/ 16 w 926"/>
                <a:gd name="T37" fmla="*/ 327 h 666"/>
                <a:gd name="T38" fmla="*/ 64 w 926"/>
                <a:gd name="T39" fmla="*/ 374 h 666"/>
                <a:gd name="T40" fmla="*/ 103 w 926"/>
                <a:gd name="T41" fmla="*/ 396 h 666"/>
                <a:gd name="T42" fmla="*/ 87 w 926"/>
                <a:gd name="T43" fmla="*/ 437 h 666"/>
                <a:gd name="T44" fmla="*/ 129 w 926"/>
                <a:gd name="T45" fmla="*/ 474 h 666"/>
                <a:gd name="T46" fmla="*/ 227 w 926"/>
                <a:gd name="T47" fmla="*/ 503 h 666"/>
                <a:gd name="T48" fmla="*/ 298 w 926"/>
                <a:gd name="T49" fmla="*/ 498 h 666"/>
                <a:gd name="T50" fmla="*/ 367 w 926"/>
                <a:gd name="T51" fmla="*/ 498 h 666"/>
                <a:gd name="T52" fmla="*/ 369 w 926"/>
                <a:gd name="T53" fmla="*/ 578 h 666"/>
                <a:gd name="T54" fmla="*/ 405 w 926"/>
                <a:gd name="T55" fmla="*/ 615 h 666"/>
                <a:gd name="T56" fmla="*/ 459 w 926"/>
                <a:gd name="T57" fmla="*/ 600 h 666"/>
                <a:gd name="T58" fmla="*/ 514 w 926"/>
                <a:gd name="T59" fmla="*/ 618 h 666"/>
                <a:gd name="T60" fmla="*/ 532 w 926"/>
                <a:gd name="T61" fmla="*/ 665 h 666"/>
                <a:gd name="T62" fmla="*/ 568 w 926"/>
                <a:gd name="T63" fmla="*/ 624 h 666"/>
                <a:gd name="T64" fmla="*/ 607 w 926"/>
                <a:gd name="T65" fmla="*/ 606 h 666"/>
                <a:gd name="T66" fmla="*/ 696 w 926"/>
                <a:gd name="T67" fmla="*/ 537 h 666"/>
                <a:gd name="T68" fmla="*/ 724 w 926"/>
                <a:gd name="T69" fmla="*/ 456 h 666"/>
                <a:gd name="T70" fmla="*/ 690 w 926"/>
                <a:gd name="T71" fmla="*/ 392 h 666"/>
                <a:gd name="T72" fmla="*/ 700 w 926"/>
                <a:gd name="T73" fmla="*/ 347 h 666"/>
                <a:gd name="T74" fmla="*/ 660 w 926"/>
                <a:gd name="T75" fmla="*/ 314 h 666"/>
                <a:gd name="T76" fmla="*/ 729 w 926"/>
                <a:gd name="T77" fmla="*/ 279 h 666"/>
                <a:gd name="T78" fmla="*/ 747 w 926"/>
                <a:gd name="T79" fmla="*/ 296 h 666"/>
                <a:gd name="T80" fmla="*/ 795 w 926"/>
                <a:gd name="T81" fmla="*/ 264 h 666"/>
                <a:gd name="T82" fmla="*/ 841 w 926"/>
                <a:gd name="T83" fmla="*/ 236 h 666"/>
                <a:gd name="T84" fmla="*/ 868 w 926"/>
                <a:gd name="T85" fmla="*/ 197 h 666"/>
                <a:gd name="T86" fmla="*/ 915 w 926"/>
                <a:gd name="T87" fmla="*/ 153 h 666"/>
                <a:gd name="T88" fmla="*/ 858 w 926"/>
                <a:gd name="T89" fmla="*/ 128 h 666"/>
                <a:gd name="T90" fmla="*/ 807 w 926"/>
                <a:gd name="T91" fmla="*/ 59 h 666"/>
                <a:gd name="T92" fmla="*/ 700 w 926"/>
                <a:gd name="T93" fmla="*/ 14 h 666"/>
                <a:gd name="T94" fmla="*/ 691 w 926"/>
                <a:gd name="T95" fmla="*/ 87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26" h="666">
                  <a:moveTo>
                    <a:pt x="640" y="99"/>
                  </a:moveTo>
                  <a:cubicBezTo>
                    <a:pt x="637" y="101"/>
                    <a:pt x="635" y="112"/>
                    <a:pt x="634" y="116"/>
                  </a:cubicBezTo>
                  <a:cubicBezTo>
                    <a:pt x="633" y="120"/>
                    <a:pt x="636" y="122"/>
                    <a:pt x="636" y="126"/>
                  </a:cubicBezTo>
                  <a:cubicBezTo>
                    <a:pt x="636" y="130"/>
                    <a:pt x="636" y="139"/>
                    <a:pt x="637" y="140"/>
                  </a:cubicBezTo>
                  <a:cubicBezTo>
                    <a:pt x="638" y="141"/>
                    <a:pt x="641" y="132"/>
                    <a:pt x="645" y="132"/>
                  </a:cubicBezTo>
                  <a:cubicBezTo>
                    <a:pt x="649" y="132"/>
                    <a:pt x="657" y="142"/>
                    <a:pt x="661" y="141"/>
                  </a:cubicBezTo>
                  <a:cubicBezTo>
                    <a:pt x="665" y="140"/>
                    <a:pt x="667" y="129"/>
                    <a:pt x="670" y="128"/>
                  </a:cubicBezTo>
                  <a:cubicBezTo>
                    <a:pt x="673" y="127"/>
                    <a:pt x="679" y="132"/>
                    <a:pt x="682" y="137"/>
                  </a:cubicBezTo>
                  <a:cubicBezTo>
                    <a:pt x="685" y="142"/>
                    <a:pt x="694" y="154"/>
                    <a:pt x="691" y="158"/>
                  </a:cubicBezTo>
                  <a:cubicBezTo>
                    <a:pt x="688" y="162"/>
                    <a:pt x="672" y="160"/>
                    <a:pt x="666" y="161"/>
                  </a:cubicBezTo>
                  <a:cubicBezTo>
                    <a:pt x="660" y="162"/>
                    <a:pt x="658" y="163"/>
                    <a:pt x="654" y="164"/>
                  </a:cubicBezTo>
                  <a:cubicBezTo>
                    <a:pt x="650" y="165"/>
                    <a:pt x="645" y="167"/>
                    <a:pt x="642" y="170"/>
                  </a:cubicBezTo>
                  <a:cubicBezTo>
                    <a:pt x="639" y="173"/>
                    <a:pt x="638" y="182"/>
                    <a:pt x="634" y="185"/>
                  </a:cubicBezTo>
                  <a:cubicBezTo>
                    <a:pt x="630" y="188"/>
                    <a:pt x="624" y="185"/>
                    <a:pt x="621" y="186"/>
                  </a:cubicBezTo>
                  <a:cubicBezTo>
                    <a:pt x="618" y="187"/>
                    <a:pt x="616" y="192"/>
                    <a:pt x="613" y="194"/>
                  </a:cubicBezTo>
                  <a:cubicBezTo>
                    <a:pt x="610" y="196"/>
                    <a:pt x="607" y="201"/>
                    <a:pt x="603" y="201"/>
                  </a:cubicBezTo>
                  <a:cubicBezTo>
                    <a:pt x="599" y="201"/>
                    <a:pt x="593" y="196"/>
                    <a:pt x="589" y="195"/>
                  </a:cubicBezTo>
                  <a:cubicBezTo>
                    <a:pt x="585" y="194"/>
                    <a:pt x="579" y="191"/>
                    <a:pt x="576" y="192"/>
                  </a:cubicBezTo>
                  <a:cubicBezTo>
                    <a:pt x="573" y="193"/>
                    <a:pt x="571" y="197"/>
                    <a:pt x="570" y="200"/>
                  </a:cubicBezTo>
                  <a:cubicBezTo>
                    <a:pt x="569" y="203"/>
                    <a:pt x="571" y="208"/>
                    <a:pt x="571" y="213"/>
                  </a:cubicBezTo>
                  <a:cubicBezTo>
                    <a:pt x="571" y="218"/>
                    <a:pt x="570" y="224"/>
                    <a:pt x="568" y="228"/>
                  </a:cubicBezTo>
                  <a:cubicBezTo>
                    <a:pt x="566" y="232"/>
                    <a:pt x="563" y="233"/>
                    <a:pt x="559" y="236"/>
                  </a:cubicBezTo>
                  <a:cubicBezTo>
                    <a:pt x="555" y="239"/>
                    <a:pt x="549" y="245"/>
                    <a:pt x="544" y="246"/>
                  </a:cubicBezTo>
                  <a:cubicBezTo>
                    <a:pt x="539" y="247"/>
                    <a:pt x="536" y="242"/>
                    <a:pt x="531" y="243"/>
                  </a:cubicBezTo>
                  <a:cubicBezTo>
                    <a:pt x="526" y="244"/>
                    <a:pt x="521" y="248"/>
                    <a:pt x="516" y="249"/>
                  </a:cubicBezTo>
                  <a:cubicBezTo>
                    <a:pt x="511" y="250"/>
                    <a:pt x="503" y="248"/>
                    <a:pt x="498" y="249"/>
                  </a:cubicBezTo>
                  <a:cubicBezTo>
                    <a:pt x="493" y="250"/>
                    <a:pt x="490" y="252"/>
                    <a:pt x="486" y="255"/>
                  </a:cubicBezTo>
                  <a:cubicBezTo>
                    <a:pt x="482" y="258"/>
                    <a:pt x="479" y="263"/>
                    <a:pt x="474" y="264"/>
                  </a:cubicBezTo>
                  <a:cubicBezTo>
                    <a:pt x="469" y="265"/>
                    <a:pt x="462" y="262"/>
                    <a:pt x="457" y="261"/>
                  </a:cubicBezTo>
                  <a:cubicBezTo>
                    <a:pt x="452" y="260"/>
                    <a:pt x="448" y="257"/>
                    <a:pt x="444" y="255"/>
                  </a:cubicBezTo>
                  <a:cubicBezTo>
                    <a:pt x="440" y="253"/>
                    <a:pt x="439" y="248"/>
                    <a:pt x="435" y="246"/>
                  </a:cubicBezTo>
                  <a:cubicBezTo>
                    <a:pt x="431" y="244"/>
                    <a:pt x="424" y="243"/>
                    <a:pt x="418" y="243"/>
                  </a:cubicBezTo>
                  <a:cubicBezTo>
                    <a:pt x="412" y="243"/>
                    <a:pt x="409" y="243"/>
                    <a:pt x="400" y="243"/>
                  </a:cubicBezTo>
                  <a:cubicBezTo>
                    <a:pt x="391" y="243"/>
                    <a:pt x="372" y="244"/>
                    <a:pt x="364" y="243"/>
                  </a:cubicBezTo>
                  <a:cubicBezTo>
                    <a:pt x="356" y="242"/>
                    <a:pt x="357" y="243"/>
                    <a:pt x="352" y="239"/>
                  </a:cubicBezTo>
                  <a:cubicBezTo>
                    <a:pt x="347" y="235"/>
                    <a:pt x="334" y="224"/>
                    <a:pt x="331" y="219"/>
                  </a:cubicBezTo>
                  <a:cubicBezTo>
                    <a:pt x="328" y="214"/>
                    <a:pt x="336" y="208"/>
                    <a:pt x="334" y="206"/>
                  </a:cubicBezTo>
                  <a:cubicBezTo>
                    <a:pt x="332" y="204"/>
                    <a:pt x="324" y="208"/>
                    <a:pt x="321" y="206"/>
                  </a:cubicBezTo>
                  <a:cubicBezTo>
                    <a:pt x="318" y="204"/>
                    <a:pt x="316" y="196"/>
                    <a:pt x="312" y="195"/>
                  </a:cubicBezTo>
                  <a:cubicBezTo>
                    <a:pt x="308" y="194"/>
                    <a:pt x="299" y="198"/>
                    <a:pt x="294" y="197"/>
                  </a:cubicBezTo>
                  <a:cubicBezTo>
                    <a:pt x="289" y="196"/>
                    <a:pt x="286" y="192"/>
                    <a:pt x="282" y="191"/>
                  </a:cubicBezTo>
                  <a:cubicBezTo>
                    <a:pt x="278" y="190"/>
                    <a:pt x="272" y="194"/>
                    <a:pt x="270" y="191"/>
                  </a:cubicBezTo>
                  <a:cubicBezTo>
                    <a:pt x="268" y="188"/>
                    <a:pt x="267" y="179"/>
                    <a:pt x="267" y="173"/>
                  </a:cubicBezTo>
                  <a:cubicBezTo>
                    <a:pt x="267" y="167"/>
                    <a:pt x="269" y="160"/>
                    <a:pt x="268" y="155"/>
                  </a:cubicBezTo>
                  <a:cubicBezTo>
                    <a:pt x="267" y="150"/>
                    <a:pt x="264" y="147"/>
                    <a:pt x="261" y="143"/>
                  </a:cubicBezTo>
                  <a:cubicBezTo>
                    <a:pt x="258" y="139"/>
                    <a:pt x="256" y="131"/>
                    <a:pt x="252" y="129"/>
                  </a:cubicBezTo>
                  <a:cubicBezTo>
                    <a:pt x="248" y="127"/>
                    <a:pt x="241" y="131"/>
                    <a:pt x="238" y="129"/>
                  </a:cubicBezTo>
                  <a:cubicBezTo>
                    <a:pt x="235" y="127"/>
                    <a:pt x="234" y="120"/>
                    <a:pt x="232" y="117"/>
                  </a:cubicBezTo>
                  <a:cubicBezTo>
                    <a:pt x="230" y="114"/>
                    <a:pt x="227" y="108"/>
                    <a:pt x="223" y="108"/>
                  </a:cubicBezTo>
                  <a:cubicBezTo>
                    <a:pt x="219" y="108"/>
                    <a:pt x="215" y="117"/>
                    <a:pt x="210" y="120"/>
                  </a:cubicBezTo>
                  <a:cubicBezTo>
                    <a:pt x="205" y="123"/>
                    <a:pt x="194" y="119"/>
                    <a:pt x="192" y="125"/>
                  </a:cubicBezTo>
                  <a:cubicBezTo>
                    <a:pt x="190" y="131"/>
                    <a:pt x="197" y="152"/>
                    <a:pt x="195" y="156"/>
                  </a:cubicBezTo>
                  <a:cubicBezTo>
                    <a:pt x="193" y="160"/>
                    <a:pt x="186" y="150"/>
                    <a:pt x="180" y="149"/>
                  </a:cubicBezTo>
                  <a:cubicBezTo>
                    <a:pt x="174" y="148"/>
                    <a:pt x="165" y="149"/>
                    <a:pt x="160" y="150"/>
                  </a:cubicBezTo>
                  <a:cubicBezTo>
                    <a:pt x="155" y="151"/>
                    <a:pt x="151" y="148"/>
                    <a:pt x="148" y="153"/>
                  </a:cubicBezTo>
                  <a:cubicBezTo>
                    <a:pt x="145" y="158"/>
                    <a:pt x="142" y="171"/>
                    <a:pt x="141" y="179"/>
                  </a:cubicBezTo>
                  <a:cubicBezTo>
                    <a:pt x="140" y="187"/>
                    <a:pt x="146" y="202"/>
                    <a:pt x="145" y="203"/>
                  </a:cubicBezTo>
                  <a:cubicBezTo>
                    <a:pt x="144" y="204"/>
                    <a:pt x="138" y="188"/>
                    <a:pt x="136" y="186"/>
                  </a:cubicBezTo>
                  <a:cubicBezTo>
                    <a:pt x="134" y="184"/>
                    <a:pt x="136" y="188"/>
                    <a:pt x="132" y="189"/>
                  </a:cubicBezTo>
                  <a:cubicBezTo>
                    <a:pt x="128" y="190"/>
                    <a:pt x="115" y="192"/>
                    <a:pt x="111" y="194"/>
                  </a:cubicBezTo>
                  <a:cubicBezTo>
                    <a:pt x="107" y="196"/>
                    <a:pt x="107" y="198"/>
                    <a:pt x="108" y="204"/>
                  </a:cubicBezTo>
                  <a:cubicBezTo>
                    <a:pt x="109" y="210"/>
                    <a:pt x="118" y="228"/>
                    <a:pt x="118" y="233"/>
                  </a:cubicBezTo>
                  <a:cubicBezTo>
                    <a:pt x="118" y="238"/>
                    <a:pt x="109" y="234"/>
                    <a:pt x="109" y="237"/>
                  </a:cubicBezTo>
                  <a:cubicBezTo>
                    <a:pt x="109" y="240"/>
                    <a:pt x="120" y="246"/>
                    <a:pt x="120" y="249"/>
                  </a:cubicBezTo>
                  <a:cubicBezTo>
                    <a:pt x="120" y="252"/>
                    <a:pt x="116" y="256"/>
                    <a:pt x="111" y="258"/>
                  </a:cubicBezTo>
                  <a:cubicBezTo>
                    <a:pt x="106" y="260"/>
                    <a:pt x="96" y="262"/>
                    <a:pt x="91" y="264"/>
                  </a:cubicBezTo>
                  <a:cubicBezTo>
                    <a:pt x="86" y="266"/>
                    <a:pt x="84" y="268"/>
                    <a:pt x="81" y="269"/>
                  </a:cubicBezTo>
                  <a:cubicBezTo>
                    <a:pt x="78" y="270"/>
                    <a:pt x="74" y="271"/>
                    <a:pt x="70" y="272"/>
                  </a:cubicBezTo>
                  <a:cubicBezTo>
                    <a:pt x="66" y="273"/>
                    <a:pt x="61" y="273"/>
                    <a:pt x="57" y="276"/>
                  </a:cubicBezTo>
                  <a:cubicBezTo>
                    <a:pt x="53" y="279"/>
                    <a:pt x="51" y="288"/>
                    <a:pt x="48" y="290"/>
                  </a:cubicBezTo>
                  <a:cubicBezTo>
                    <a:pt x="45" y="292"/>
                    <a:pt x="40" y="287"/>
                    <a:pt x="36" y="287"/>
                  </a:cubicBezTo>
                  <a:cubicBezTo>
                    <a:pt x="32" y="287"/>
                    <a:pt x="30" y="285"/>
                    <a:pt x="25" y="287"/>
                  </a:cubicBezTo>
                  <a:cubicBezTo>
                    <a:pt x="20" y="289"/>
                    <a:pt x="6" y="295"/>
                    <a:pt x="3" y="299"/>
                  </a:cubicBezTo>
                  <a:cubicBezTo>
                    <a:pt x="0" y="303"/>
                    <a:pt x="7" y="307"/>
                    <a:pt x="7" y="311"/>
                  </a:cubicBezTo>
                  <a:cubicBezTo>
                    <a:pt x="7" y="315"/>
                    <a:pt x="2" y="318"/>
                    <a:pt x="4" y="321"/>
                  </a:cubicBezTo>
                  <a:cubicBezTo>
                    <a:pt x="6" y="324"/>
                    <a:pt x="12" y="325"/>
                    <a:pt x="16" y="327"/>
                  </a:cubicBezTo>
                  <a:cubicBezTo>
                    <a:pt x="20" y="329"/>
                    <a:pt x="27" y="330"/>
                    <a:pt x="30" y="335"/>
                  </a:cubicBezTo>
                  <a:cubicBezTo>
                    <a:pt x="33" y="340"/>
                    <a:pt x="33" y="351"/>
                    <a:pt x="37" y="356"/>
                  </a:cubicBezTo>
                  <a:cubicBezTo>
                    <a:pt x="41" y="361"/>
                    <a:pt x="51" y="360"/>
                    <a:pt x="55" y="363"/>
                  </a:cubicBezTo>
                  <a:cubicBezTo>
                    <a:pt x="59" y="366"/>
                    <a:pt x="58" y="373"/>
                    <a:pt x="64" y="374"/>
                  </a:cubicBezTo>
                  <a:cubicBezTo>
                    <a:pt x="70" y="375"/>
                    <a:pt x="84" y="372"/>
                    <a:pt x="89" y="371"/>
                  </a:cubicBezTo>
                  <a:cubicBezTo>
                    <a:pt x="94" y="370"/>
                    <a:pt x="94" y="365"/>
                    <a:pt x="97" y="366"/>
                  </a:cubicBezTo>
                  <a:cubicBezTo>
                    <a:pt x="100" y="367"/>
                    <a:pt x="105" y="375"/>
                    <a:pt x="106" y="380"/>
                  </a:cubicBezTo>
                  <a:cubicBezTo>
                    <a:pt x="107" y="385"/>
                    <a:pt x="105" y="391"/>
                    <a:pt x="103" y="396"/>
                  </a:cubicBezTo>
                  <a:cubicBezTo>
                    <a:pt x="101" y="401"/>
                    <a:pt x="92" y="409"/>
                    <a:pt x="91" y="413"/>
                  </a:cubicBezTo>
                  <a:cubicBezTo>
                    <a:pt x="90" y="417"/>
                    <a:pt x="96" y="416"/>
                    <a:pt x="97" y="419"/>
                  </a:cubicBezTo>
                  <a:cubicBezTo>
                    <a:pt x="98" y="422"/>
                    <a:pt x="101" y="426"/>
                    <a:pt x="99" y="429"/>
                  </a:cubicBezTo>
                  <a:cubicBezTo>
                    <a:pt x="97" y="432"/>
                    <a:pt x="88" y="433"/>
                    <a:pt x="87" y="437"/>
                  </a:cubicBezTo>
                  <a:cubicBezTo>
                    <a:pt x="86" y="441"/>
                    <a:pt x="88" y="448"/>
                    <a:pt x="90" y="452"/>
                  </a:cubicBezTo>
                  <a:cubicBezTo>
                    <a:pt x="92" y="456"/>
                    <a:pt x="94" y="458"/>
                    <a:pt x="99" y="462"/>
                  </a:cubicBezTo>
                  <a:cubicBezTo>
                    <a:pt x="104" y="466"/>
                    <a:pt x="113" y="471"/>
                    <a:pt x="118" y="473"/>
                  </a:cubicBezTo>
                  <a:cubicBezTo>
                    <a:pt x="123" y="475"/>
                    <a:pt x="124" y="472"/>
                    <a:pt x="129" y="474"/>
                  </a:cubicBezTo>
                  <a:cubicBezTo>
                    <a:pt x="134" y="476"/>
                    <a:pt x="136" y="478"/>
                    <a:pt x="148" y="483"/>
                  </a:cubicBezTo>
                  <a:cubicBezTo>
                    <a:pt x="160" y="488"/>
                    <a:pt x="192" y="500"/>
                    <a:pt x="203" y="504"/>
                  </a:cubicBezTo>
                  <a:cubicBezTo>
                    <a:pt x="214" y="508"/>
                    <a:pt x="213" y="510"/>
                    <a:pt x="217" y="510"/>
                  </a:cubicBezTo>
                  <a:cubicBezTo>
                    <a:pt x="221" y="510"/>
                    <a:pt x="222" y="504"/>
                    <a:pt x="227" y="503"/>
                  </a:cubicBezTo>
                  <a:cubicBezTo>
                    <a:pt x="232" y="502"/>
                    <a:pt x="242" y="506"/>
                    <a:pt x="249" y="506"/>
                  </a:cubicBezTo>
                  <a:cubicBezTo>
                    <a:pt x="256" y="506"/>
                    <a:pt x="263" y="504"/>
                    <a:pt x="268" y="506"/>
                  </a:cubicBezTo>
                  <a:cubicBezTo>
                    <a:pt x="273" y="508"/>
                    <a:pt x="274" y="517"/>
                    <a:pt x="279" y="516"/>
                  </a:cubicBezTo>
                  <a:cubicBezTo>
                    <a:pt x="284" y="515"/>
                    <a:pt x="291" y="502"/>
                    <a:pt x="298" y="498"/>
                  </a:cubicBezTo>
                  <a:cubicBezTo>
                    <a:pt x="305" y="494"/>
                    <a:pt x="314" y="494"/>
                    <a:pt x="319" y="492"/>
                  </a:cubicBezTo>
                  <a:cubicBezTo>
                    <a:pt x="324" y="490"/>
                    <a:pt x="324" y="488"/>
                    <a:pt x="328" y="488"/>
                  </a:cubicBezTo>
                  <a:cubicBezTo>
                    <a:pt x="332" y="488"/>
                    <a:pt x="339" y="490"/>
                    <a:pt x="345" y="492"/>
                  </a:cubicBezTo>
                  <a:cubicBezTo>
                    <a:pt x="351" y="494"/>
                    <a:pt x="361" y="494"/>
                    <a:pt x="367" y="498"/>
                  </a:cubicBezTo>
                  <a:cubicBezTo>
                    <a:pt x="373" y="502"/>
                    <a:pt x="378" y="508"/>
                    <a:pt x="381" y="516"/>
                  </a:cubicBezTo>
                  <a:cubicBezTo>
                    <a:pt x="384" y="524"/>
                    <a:pt x="386" y="539"/>
                    <a:pt x="384" y="546"/>
                  </a:cubicBezTo>
                  <a:cubicBezTo>
                    <a:pt x="382" y="553"/>
                    <a:pt x="371" y="556"/>
                    <a:pt x="369" y="561"/>
                  </a:cubicBezTo>
                  <a:cubicBezTo>
                    <a:pt x="367" y="566"/>
                    <a:pt x="367" y="576"/>
                    <a:pt x="369" y="578"/>
                  </a:cubicBezTo>
                  <a:cubicBezTo>
                    <a:pt x="371" y="580"/>
                    <a:pt x="376" y="571"/>
                    <a:pt x="379" y="573"/>
                  </a:cubicBezTo>
                  <a:cubicBezTo>
                    <a:pt x="382" y="575"/>
                    <a:pt x="385" y="586"/>
                    <a:pt x="388" y="590"/>
                  </a:cubicBezTo>
                  <a:cubicBezTo>
                    <a:pt x="391" y="594"/>
                    <a:pt x="391" y="595"/>
                    <a:pt x="394" y="599"/>
                  </a:cubicBezTo>
                  <a:cubicBezTo>
                    <a:pt x="397" y="603"/>
                    <a:pt x="401" y="612"/>
                    <a:pt x="405" y="615"/>
                  </a:cubicBezTo>
                  <a:cubicBezTo>
                    <a:pt x="409" y="618"/>
                    <a:pt x="415" y="618"/>
                    <a:pt x="420" y="615"/>
                  </a:cubicBezTo>
                  <a:cubicBezTo>
                    <a:pt x="425" y="612"/>
                    <a:pt x="431" y="600"/>
                    <a:pt x="435" y="596"/>
                  </a:cubicBezTo>
                  <a:cubicBezTo>
                    <a:pt x="439" y="592"/>
                    <a:pt x="440" y="589"/>
                    <a:pt x="444" y="590"/>
                  </a:cubicBezTo>
                  <a:cubicBezTo>
                    <a:pt x="448" y="591"/>
                    <a:pt x="453" y="600"/>
                    <a:pt x="459" y="600"/>
                  </a:cubicBezTo>
                  <a:cubicBezTo>
                    <a:pt x="465" y="600"/>
                    <a:pt x="474" y="589"/>
                    <a:pt x="480" y="588"/>
                  </a:cubicBezTo>
                  <a:cubicBezTo>
                    <a:pt x="486" y="587"/>
                    <a:pt x="490" y="591"/>
                    <a:pt x="495" y="594"/>
                  </a:cubicBezTo>
                  <a:cubicBezTo>
                    <a:pt x="500" y="597"/>
                    <a:pt x="505" y="604"/>
                    <a:pt x="508" y="608"/>
                  </a:cubicBezTo>
                  <a:cubicBezTo>
                    <a:pt x="511" y="612"/>
                    <a:pt x="511" y="616"/>
                    <a:pt x="514" y="618"/>
                  </a:cubicBezTo>
                  <a:cubicBezTo>
                    <a:pt x="517" y="620"/>
                    <a:pt x="524" y="618"/>
                    <a:pt x="529" y="621"/>
                  </a:cubicBezTo>
                  <a:cubicBezTo>
                    <a:pt x="534" y="624"/>
                    <a:pt x="543" y="633"/>
                    <a:pt x="543" y="638"/>
                  </a:cubicBezTo>
                  <a:cubicBezTo>
                    <a:pt x="543" y="643"/>
                    <a:pt x="533" y="650"/>
                    <a:pt x="531" y="654"/>
                  </a:cubicBezTo>
                  <a:cubicBezTo>
                    <a:pt x="529" y="658"/>
                    <a:pt x="529" y="664"/>
                    <a:pt x="532" y="665"/>
                  </a:cubicBezTo>
                  <a:cubicBezTo>
                    <a:pt x="535" y="666"/>
                    <a:pt x="543" y="663"/>
                    <a:pt x="547" y="663"/>
                  </a:cubicBezTo>
                  <a:cubicBezTo>
                    <a:pt x="551" y="663"/>
                    <a:pt x="552" y="666"/>
                    <a:pt x="555" y="662"/>
                  </a:cubicBezTo>
                  <a:cubicBezTo>
                    <a:pt x="558" y="658"/>
                    <a:pt x="565" y="642"/>
                    <a:pt x="567" y="636"/>
                  </a:cubicBezTo>
                  <a:cubicBezTo>
                    <a:pt x="569" y="630"/>
                    <a:pt x="564" y="627"/>
                    <a:pt x="568" y="624"/>
                  </a:cubicBezTo>
                  <a:cubicBezTo>
                    <a:pt x="572" y="621"/>
                    <a:pt x="584" y="619"/>
                    <a:pt x="589" y="615"/>
                  </a:cubicBezTo>
                  <a:cubicBezTo>
                    <a:pt x="594" y="611"/>
                    <a:pt x="595" y="604"/>
                    <a:pt x="597" y="600"/>
                  </a:cubicBezTo>
                  <a:cubicBezTo>
                    <a:pt x="599" y="596"/>
                    <a:pt x="599" y="589"/>
                    <a:pt x="601" y="590"/>
                  </a:cubicBezTo>
                  <a:cubicBezTo>
                    <a:pt x="603" y="591"/>
                    <a:pt x="603" y="605"/>
                    <a:pt x="607" y="606"/>
                  </a:cubicBezTo>
                  <a:cubicBezTo>
                    <a:pt x="611" y="607"/>
                    <a:pt x="616" y="599"/>
                    <a:pt x="624" y="596"/>
                  </a:cubicBezTo>
                  <a:cubicBezTo>
                    <a:pt x="632" y="593"/>
                    <a:pt x="644" y="592"/>
                    <a:pt x="654" y="585"/>
                  </a:cubicBezTo>
                  <a:cubicBezTo>
                    <a:pt x="664" y="578"/>
                    <a:pt x="677" y="565"/>
                    <a:pt x="684" y="557"/>
                  </a:cubicBezTo>
                  <a:cubicBezTo>
                    <a:pt x="691" y="549"/>
                    <a:pt x="690" y="546"/>
                    <a:pt x="696" y="537"/>
                  </a:cubicBezTo>
                  <a:cubicBezTo>
                    <a:pt x="702" y="528"/>
                    <a:pt x="712" y="515"/>
                    <a:pt x="718" y="503"/>
                  </a:cubicBezTo>
                  <a:cubicBezTo>
                    <a:pt x="724" y="491"/>
                    <a:pt x="735" y="472"/>
                    <a:pt x="733" y="467"/>
                  </a:cubicBezTo>
                  <a:cubicBezTo>
                    <a:pt x="731" y="462"/>
                    <a:pt x="709" y="475"/>
                    <a:pt x="708" y="473"/>
                  </a:cubicBezTo>
                  <a:cubicBezTo>
                    <a:pt x="707" y="471"/>
                    <a:pt x="723" y="461"/>
                    <a:pt x="724" y="456"/>
                  </a:cubicBezTo>
                  <a:cubicBezTo>
                    <a:pt x="725" y="451"/>
                    <a:pt x="718" y="450"/>
                    <a:pt x="715" y="444"/>
                  </a:cubicBezTo>
                  <a:cubicBezTo>
                    <a:pt x="712" y="438"/>
                    <a:pt x="710" y="423"/>
                    <a:pt x="708" y="417"/>
                  </a:cubicBezTo>
                  <a:cubicBezTo>
                    <a:pt x="706" y="411"/>
                    <a:pt x="705" y="411"/>
                    <a:pt x="702" y="407"/>
                  </a:cubicBezTo>
                  <a:cubicBezTo>
                    <a:pt x="699" y="403"/>
                    <a:pt x="690" y="399"/>
                    <a:pt x="690" y="392"/>
                  </a:cubicBezTo>
                  <a:cubicBezTo>
                    <a:pt x="690" y="385"/>
                    <a:pt x="698" y="373"/>
                    <a:pt x="705" y="365"/>
                  </a:cubicBezTo>
                  <a:cubicBezTo>
                    <a:pt x="712" y="357"/>
                    <a:pt x="732" y="350"/>
                    <a:pt x="733" y="345"/>
                  </a:cubicBezTo>
                  <a:cubicBezTo>
                    <a:pt x="734" y="340"/>
                    <a:pt x="719" y="336"/>
                    <a:pt x="714" y="336"/>
                  </a:cubicBezTo>
                  <a:cubicBezTo>
                    <a:pt x="709" y="336"/>
                    <a:pt x="704" y="345"/>
                    <a:pt x="700" y="347"/>
                  </a:cubicBezTo>
                  <a:cubicBezTo>
                    <a:pt x="696" y="349"/>
                    <a:pt x="690" y="354"/>
                    <a:pt x="687" y="351"/>
                  </a:cubicBezTo>
                  <a:cubicBezTo>
                    <a:pt x="684" y="348"/>
                    <a:pt x="685" y="334"/>
                    <a:pt x="682" y="330"/>
                  </a:cubicBezTo>
                  <a:cubicBezTo>
                    <a:pt x="679" y="326"/>
                    <a:pt x="670" y="329"/>
                    <a:pt x="666" y="326"/>
                  </a:cubicBezTo>
                  <a:cubicBezTo>
                    <a:pt x="662" y="323"/>
                    <a:pt x="657" y="316"/>
                    <a:pt x="660" y="314"/>
                  </a:cubicBezTo>
                  <a:cubicBezTo>
                    <a:pt x="663" y="312"/>
                    <a:pt x="677" y="315"/>
                    <a:pt x="684" y="311"/>
                  </a:cubicBezTo>
                  <a:cubicBezTo>
                    <a:pt x="691" y="307"/>
                    <a:pt x="699" y="295"/>
                    <a:pt x="703" y="290"/>
                  </a:cubicBezTo>
                  <a:cubicBezTo>
                    <a:pt x="707" y="285"/>
                    <a:pt x="705" y="283"/>
                    <a:pt x="709" y="281"/>
                  </a:cubicBezTo>
                  <a:cubicBezTo>
                    <a:pt x="713" y="279"/>
                    <a:pt x="726" y="276"/>
                    <a:pt x="729" y="279"/>
                  </a:cubicBezTo>
                  <a:cubicBezTo>
                    <a:pt x="732" y="282"/>
                    <a:pt x="729" y="290"/>
                    <a:pt x="727" y="296"/>
                  </a:cubicBezTo>
                  <a:cubicBezTo>
                    <a:pt x="725" y="302"/>
                    <a:pt x="716" y="316"/>
                    <a:pt x="718" y="317"/>
                  </a:cubicBezTo>
                  <a:cubicBezTo>
                    <a:pt x="720" y="318"/>
                    <a:pt x="736" y="308"/>
                    <a:pt x="741" y="305"/>
                  </a:cubicBezTo>
                  <a:cubicBezTo>
                    <a:pt x="746" y="302"/>
                    <a:pt x="744" y="297"/>
                    <a:pt x="747" y="296"/>
                  </a:cubicBezTo>
                  <a:cubicBezTo>
                    <a:pt x="750" y="295"/>
                    <a:pt x="756" y="297"/>
                    <a:pt x="760" y="296"/>
                  </a:cubicBezTo>
                  <a:cubicBezTo>
                    <a:pt x="764" y="295"/>
                    <a:pt x="766" y="291"/>
                    <a:pt x="769" y="288"/>
                  </a:cubicBezTo>
                  <a:cubicBezTo>
                    <a:pt x="772" y="285"/>
                    <a:pt x="776" y="279"/>
                    <a:pt x="780" y="275"/>
                  </a:cubicBezTo>
                  <a:cubicBezTo>
                    <a:pt x="784" y="271"/>
                    <a:pt x="790" y="266"/>
                    <a:pt x="795" y="264"/>
                  </a:cubicBezTo>
                  <a:cubicBezTo>
                    <a:pt x="800" y="262"/>
                    <a:pt x="806" y="266"/>
                    <a:pt x="810" y="264"/>
                  </a:cubicBezTo>
                  <a:cubicBezTo>
                    <a:pt x="814" y="262"/>
                    <a:pt x="813" y="257"/>
                    <a:pt x="817" y="255"/>
                  </a:cubicBezTo>
                  <a:cubicBezTo>
                    <a:pt x="821" y="253"/>
                    <a:pt x="830" y="254"/>
                    <a:pt x="834" y="251"/>
                  </a:cubicBezTo>
                  <a:cubicBezTo>
                    <a:pt x="838" y="248"/>
                    <a:pt x="837" y="238"/>
                    <a:pt x="841" y="236"/>
                  </a:cubicBezTo>
                  <a:cubicBezTo>
                    <a:pt x="845" y="234"/>
                    <a:pt x="854" y="238"/>
                    <a:pt x="858" y="236"/>
                  </a:cubicBezTo>
                  <a:cubicBezTo>
                    <a:pt x="862" y="234"/>
                    <a:pt x="863" y="231"/>
                    <a:pt x="864" y="227"/>
                  </a:cubicBezTo>
                  <a:cubicBezTo>
                    <a:pt x="865" y="223"/>
                    <a:pt x="863" y="215"/>
                    <a:pt x="864" y="210"/>
                  </a:cubicBezTo>
                  <a:cubicBezTo>
                    <a:pt x="865" y="205"/>
                    <a:pt x="866" y="199"/>
                    <a:pt x="868" y="197"/>
                  </a:cubicBezTo>
                  <a:cubicBezTo>
                    <a:pt x="870" y="195"/>
                    <a:pt x="875" y="195"/>
                    <a:pt x="879" y="195"/>
                  </a:cubicBezTo>
                  <a:cubicBezTo>
                    <a:pt x="883" y="195"/>
                    <a:pt x="890" y="199"/>
                    <a:pt x="895" y="195"/>
                  </a:cubicBezTo>
                  <a:cubicBezTo>
                    <a:pt x="900" y="191"/>
                    <a:pt x="906" y="178"/>
                    <a:pt x="909" y="171"/>
                  </a:cubicBezTo>
                  <a:cubicBezTo>
                    <a:pt x="912" y="164"/>
                    <a:pt x="913" y="160"/>
                    <a:pt x="915" y="153"/>
                  </a:cubicBezTo>
                  <a:cubicBezTo>
                    <a:pt x="917" y="146"/>
                    <a:pt x="926" y="130"/>
                    <a:pt x="922" y="128"/>
                  </a:cubicBezTo>
                  <a:cubicBezTo>
                    <a:pt x="918" y="126"/>
                    <a:pt x="900" y="136"/>
                    <a:pt x="892" y="140"/>
                  </a:cubicBezTo>
                  <a:cubicBezTo>
                    <a:pt x="884" y="144"/>
                    <a:pt x="877" y="152"/>
                    <a:pt x="871" y="150"/>
                  </a:cubicBezTo>
                  <a:cubicBezTo>
                    <a:pt x="865" y="148"/>
                    <a:pt x="861" y="134"/>
                    <a:pt x="858" y="128"/>
                  </a:cubicBezTo>
                  <a:cubicBezTo>
                    <a:pt x="855" y="122"/>
                    <a:pt x="857" y="116"/>
                    <a:pt x="852" y="113"/>
                  </a:cubicBezTo>
                  <a:cubicBezTo>
                    <a:pt x="847" y="110"/>
                    <a:pt x="834" y="112"/>
                    <a:pt x="828" y="107"/>
                  </a:cubicBezTo>
                  <a:cubicBezTo>
                    <a:pt x="822" y="102"/>
                    <a:pt x="818" y="91"/>
                    <a:pt x="814" y="83"/>
                  </a:cubicBezTo>
                  <a:cubicBezTo>
                    <a:pt x="810" y="75"/>
                    <a:pt x="811" y="67"/>
                    <a:pt x="807" y="59"/>
                  </a:cubicBezTo>
                  <a:cubicBezTo>
                    <a:pt x="803" y="51"/>
                    <a:pt x="796" y="43"/>
                    <a:pt x="792" y="35"/>
                  </a:cubicBezTo>
                  <a:cubicBezTo>
                    <a:pt x="788" y="27"/>
                    <a:pt x="790" y="17"/>
                    <a:pt x="783" y="11"/>
                  </a:cubicBezTo>
                  <a:cubicBezTo>
                    <a:pt x="776" y="5"/>
                    <a:pt x="761" y="0"/>
                    <a:pt x="747" y="0"/>
                  </a:cubicBezTo>
                  <a:cubicBezTo>
                    <a:pt x="733" y="0"/>
                    <a:pt x="706" y="7"/>
                    <a:pt x="700" y="14"/>
                  </a:cubicBezTo>
                  <a:cubicBezTo>
                    <a:pt x="694" y="21"/>
                    <a:pt x="708" y="36"/>
                    <a:pt x="708" y="45"/>
                  </a:cubicBezTo>
                  <a:cubicBezTo>
                    <a:pt x="708" y="54"/>
                    <a:pt x="702" y="61"/>
                    <a:pt x="700" y="66"/>
                  </a:cubicBezTo>
                  <a:cubicBezTo>
                    <a:pt x="698" y="71"/>
                    <a:pt x="695" y="71"/>
                    <a:pt x="694" y="74"/>
                  </a:cubicBezTo>
                  <a:cubicBezTo>
                    <a:pt x="693" y="77"/>
                    <a:pt x="694" y="83"/>
                    <a:pt x="691" y="87"/>
                  </a:cubicBezTo>
                  <a:cubicBezTo>
                    <a:pt x="688" y="91"/>
                    <a:pt x="685" y="96"/>
                    <a:pt x="679" y="98"/>
                  </a:cubicBezTo>
                  <a:cubicBezTo>
                    <a:pt x="673" y="100"/>
                    <a:pt x="661" y="100"/>
                    <a:pt x="655" y="101"/>
                  </a:cubicBezTo>
                  <a:cubicBezTo>
                    <a:pt x="649" y="102"/>
                    <a:pt x="643" y="97"/>
                    <a:pt x="640" y="9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39" name="Freeform 595"/>
            <p:cNvSpPr>
              <a:spLocks/>
            </p:cNvSpPr>
            <p:nvPr>
              <p:custDataLst>
                <p:tags r:id="rId107"/>
              </p:custDataLst>
            </p:nvPr>
          </p:nvSpPr>
          <p:spPr bwMode="gray">
            <a:xfrm>
              <a:off x="4017057" y="2299303"/>
              <a:ext cx="455214" cy="210251"/>
            </a:xfrm>
            <a:custGeom>
              <a:avLst/>
              <a:gdLst>
                <a:gd name="T0" fmla="*/ 4 w 472"/>
                <a:gd name="T1" fmla="*/ 66 h 218"/>
                <a:gd name="T2" fmla="*/ 7 w 472"/>
                <a:gd name="T3" fmla="*/ 78 h 218"/>
                <a:gd name="T4" fmla="*/ 28 w 472"/>
                <a:gd name="T5" fmla="*/ 81 h 218"/>
                <a:gd name="T6" fmla="*/ 45 w 472"/>
                <a:gd name="T7" fmla="*/ 113 h 218"/>
                <a:gd name="T8" fmla="*/ 43 w 472"/>
                <a:gd name="T9" fmla="*/ 123 h 218"/>
                <a:gd name="T10" fmla="*/ 40 w 472"/>
                <a:gd name="T11" fmla="*/ 141 h 218"/>
                <a:gd name="T12" fmla="*/ 57 w 472"/>
                <a:gd name="T13" fmla="*/ 147 h 218"/>
                <a:gd name="T14" fmla="*/ 88 w 472"/>
                <a:gd name="T15" fmla="*/ 149 h 218"/>
                <a:gd name="T16" fmla="*/ 103 w 472"/>
                <a:gd name="T17" fmla="*/ 161 h 218"/>
                <a:gd name="T18" fmla="*/ 118 w 472"/>
                <a:gd name="T19" fmla="*/ 185 h 218"/>
                <a:gd name="T20" fmla="*/ 133 w 472"/>
                <a:gd name="T21" fmla="*/ 197 h 218"/>
                <a:gd name="T22" fmla="*/ 156 w 472"/>
                <a:gd name="T23" fmla="*/ 197 h 218"/>
                <a:gd name="T24" fmla="*/ 199 w 472"/>
                <a:gd name="T25" fmla="*/ 197 h 218"/>
                <a:gd name="T26" fmla="*/ 238 w 472"/>
                <a:gd name="T27" fmla="*/ 215 h 218"/>
                <a:gd name="T28" fmla="*/ 252 w 472"/>
                <a:gd name="T29" fmla="*/ 213 h 218"/>
                <a:gd name="T30" fmla="*/ 271 w 472"/>
                <a:gd name="T31" fmla="*/ 204 h 218"/>
                <a:gd name="T32" fmla="*/ 282 w 472"/>
                <a:gd name="T33" fmla="*/ 200 h 218"/>
                <a:gd name="T34" fmla="*/ 297 w 472"/>
                <a:gd name="T35" fmla="*/ 200 h 218"/>
                <a:gd name="T36" fmla="*/ 322 w 472"/>
                <a:gd name="T37" fmla="*/ 195 h 218"/>
                <a:gd name="T38" fmla="*/ 342 w 472"/>
                <a:gd name="T39" fmla="*/ 183 h 218"/>
                <a:gd name="T40" fmla="*/ 349 w 472"/>
                <a:gd name="T41" fmla="*/ 168 h 218"/>
                <a:gd name="T42" fmla="*/ 349 w 472"/>
                <a:gd name="T43" fmla="*/ 150 h 218"/>
                <a:gd name="T44" fmla="*/ 354 w 472"/>
                <a:gd name="T45" fmla="*/ 141 h 218"/>
                <a:gd name="T46" fmla="*/ 385 w 472"/>
                <a:gd name="T47" fmla="*/ 153 h 218"/>
                <a:gd name="T48" fmla="*/ 393 w 472"/>
                <a:gd name="T49" fmla="*/ 144 h 218"/>
                <a:gd name="T50" fmla="*/ 400 w 472"/>
                <a:gd name="T51" fmla="*/ 135 h 218"/>
                <a:gd name="T52" fmla="*/ 417 w 472"/>
                <a:gd name="T53" fmla="*/ 131 h 218"/>
                <a:gd name="T54" fmla="*/ 430 w 472"/>
                <a:gd name="T55" fmla="*/ 113 h 218"/>
                <a:gd name="T56" fmla="*/ 469 w 472"/>
                <a:gd name="T57" fmla="*/ 110 h 218"/>
                <a:gd name="T58" fmla="*/ 451 w 472"/>
                <a:gd name="T59" fmla="*/ 81 h 218"/>
                <a:gd name="T60" fmla="*/ 436 w 472"/>
                <a:gd name="T61" fmla="*/ 90 h 218"/>
                <a:gd name="T62" fmla="*/ 420 w 472"/>
                <a:gd name="T63" fmla="*/ 83 h 218"/>
                <a:gd name="T64" fmla="*/ 412 w 472"/>
                <a:gd name="T65" fmla="*/ 92 h 218"/>
                <a:gd name="T66" fmla="*/ 415 w 472"/>
                <a:gd name="T67" fmla="*/ 78 h 218"/>
                <a:gd name="T68" fmla="*/ 408 w 472"/>
                <a:gd name="T69" fmla="*/ 66 h 218"/>
                <a:gd name="T70" fmla="*/ 418 w 472"/>
                <a:gd name="T71" fmla="*/ 47 h 218"/>
                <a:gd name="T72" fmla="*/ 403 w 472"/>
                <a:gd name="T73" fmla="*/ 47 h 218"/>
                <a:gd name="T74" fmla="*/ 391 w 472"/>
                <a:gd name="T75" fmla="*/ 44 h 218"/>
                <a:gd name="T76" fmla="*/ 352 w 472"/>
                <a:gd name="T77" fmla="*/ 65 h 218"/>
                <a:gd name="T78" fmla="*/ 334 w 472"/>
                <a:gd name="T79" fmla="*/ 66 h 218"/>
                <a:gd name="T80" fmla="*/ 316 w 472"/>
                <a:gd name="T81" fmla="*/ 69 h 218"/>
                <a:gd name="T82" fmla="*/ 303 w 472"/>
                <a:gd name="T83" fmla="*/ 66 h 218"/>
                <a:gd name="T84" fmla="*/ 294 w 472"/>
                <a:gd name="T85" fmla="*/ 56 h 218"/>
                <a:gd name="T86" fmla="*/ 286 w 472"/>
                <a:gd name="T87" fmla="*/ 44 h 218"/>
                <a:gd name="T88" fmla="*/ 267 w 472"/>
                <a:gd name="T89" fmla="*/ 38 h 218"/>
                <a:gd name="T90" fmla="*/ 226 w 472"/>
                <a:gd name="T91" fmla="*/ 41 h 218"/>
                <a:gd name="T92" fmla="*/ 207 w 472"/>
                <a:gd name="T93" fmla="*/ 17 h 218"/>
                <a:gd name="T94" fmla="*/ 162 w 472"/>
                <a:gd name="T95" fmla="*/ 3 h 218"/>
                <a:gd name="T96" fmla="*/ 148 w 472"/>
                <a:gd name="T97" fmla="*/ 35 h 218"/>
                <a:gd name="T98" fmla="*/ 147 w 472"/>
                <a:gd name="T99" fmla="*/ 48 h 218"/>
                <a:gd name="T100" fmla="*/ 142 w 472"/>
                <a:gd name="T101" fmla="*/ 48 h 218"/>
                <a:gd name="T102" fmla="*/ 136 w 472"/>
                <a:gd name="T103" fmla="*/ 56 h 218"/>
                <a:gd name="T104" fmla="*/ 112 w 472"/>
                <a:gd name="T105" fmla="*/ 53 h 218"/>
                <a:gd name="T106" fmla="*/ 100 w 472"/>
                <a:gd name="T107" fmla="*/ 47 h 218"/>
                <a:gd name="T108" fmla="*/ 85 w 472"/>
                <a:gd name="T109" fmla="*/ 36 h 218"/>
                <a:gd name="T110" fmla="*/ 73 w 472"/>
                <a:gd name="T111" fmla="*/ 30 h 218"/>
                <a:gd name="T112" fmla="*/ 55 w 472"/>
                <a:gd name="T113" fmla="*/ 29 h 218"/>
                <a:gd name="T114" fmla="*/ 42 w 472"/>
                <a:gd name="T115" fmla="*/ 37 h 218"/>
                <a:gd name="T116" fmla="*/ 33 w 472"/>
                <a:gd name="T117" fmla="*/ 47 h 218"/>
                <a:gd name="T118" fmla="*/ 16 w 472"/>
                <a:gd name="T119" fmla="*/ 54 h 218"/>
                <a:gd name="T120" fmla="*/ 4 w 472"/>
                <a:gd name="T121" fmla="*/ 6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72" h="218">
                  <a:moveTo>
                    <a:pt x="4" y="66"/>
                  </a:moveTo>
                  <a:cubicBezTo>
                    <a:pt x="0" y="71"/>
                    <a:pt x="3" y="76"/>
                    <a:pt x="7" y="78"/>
                  </a:cubicBezTo>
                  <a:cubicBezTo>
                    <a:pt x="11" y="80"/>
                    <a:pt x="22" y="75"/>
                    <a:pt x="28" y="81"/>
                  </a:cubicBezTo>
                  <a:cubicBezTo>
                    <a:pt x="34" y="87"/>
                    <a:pt x="43" y="106"/>
                    <a:pt x="45" y="113"/>
                  </a:cubicBezTo>
                  <a:cubicBezTo>
                    <a:pt x="47" y="120"/>
                    <a:pt x="44" y="118"/>
                    <a:pt x="43" y="123"/>
                  </a:cubicBezTo>
                  <a:cubicBezTo>
                    <a:pt x="42" y="128"/>
                    <a:pt x="38" y="137"/>
                    <a:pt x="40" y="141"/>
                  </a:cubicBezTo>
                  <a:cubicBezTo>
                    <a:pt x="42" y="145"/>
                    <a:pt x="49" y="146"/>
                    <a:pt x="57" y="147"/>
                  </a:cubicBezTo>
                  <a:cubicBezTo>
                    <a:pt x="65" y="148"/>
                    <a:pt x="80" y="147"/>
                    <a:pt x="88" y="149"/>
                  </a:cubicBezTo>
                  <a:cubicBezTo>
                    <a:pt x="96" y="151"/>
                    <a:pt x="98" y="155"/>
                    <a:pt x="103" y="161"/>
                  </a:cubicBezTo>
                  <a:cubicBezTo>
                    <a:pt x="108" y="167"/>
                    <a:pt x="113" y="179"/>
                    <a:pt x="118" y="185"/>
                  </a:cubicBezTo>
                  <a:cubicBezTo>
                    <a:pt x="123" y="191"/>
                    <a:pt x="127" y="195"/>
                    <a:pt x="133" y="197"/>
                  </a:cubicBezTo>
                  <a:cubicBezTo>
                    <a:pt x="139" y="199"/>
                    <a:pt x="145" y="197"/>
                    <a:pt x="156" y="197"/>
                  </a:cubicBezTo>
                  <a:cubicBezTo>
                    <a:pt x="167" y="197"/>
                    <a:pt x="185" y="194"/>
                    <a:pt x="199" y="197"/>
                  </a:cubicBezTo>
                  <a:cubicBezTo>
                    <a:pt x="213" y="200"/>
                    <a:pt x="229" y="212"/>
                    <a:pt x="238" y="215"/>
                  </a:cubicBezTo>
                  <a:cubicBezTo>
                    <a:pt x="247" y="218"/>
                    <a:pt x="247" y="215"/>
                    <a:pt x="252" y="213"/>
                  </a:cubicBezTo>
                  <a:cubicBezTo>
                    <a:pt x="257" y="211"/>
                    <a:pt x="266" y="206"/>
                    <a:pt x="271" y="204"/>
                  </a:cubicBezTo>
                  <a:cubicBezTo>
                    <a:pt x="276" y="202"/>
                    <a:pt x="278" y="201"/>
                    <a:pt x="282" y="200"/>
                  </a:cubicBezTo>
                  <a:cubicBezTo>
                    <a:pt x="286" y="199"/>
                    <a:pt x="290" y="201"/>
                    <a:pt x="297" y="200"/>
                  </a:cubicBezTo>
                  <a:cubicBezTo>
                    <a:pt x="304" y="199"/>
                    <a:pt x="315" y="198"/>
                    <a:pt x="322" y="195"/>
                  </a:cubicBezTo>
                  <a:cubicBezTo>
                    <a:pt x="329" y="192"/>
                    <a:pt x="338" y="187"/>
                    <a:pt x="342" y="183"/>
                  </a:cubicBezTo>
                  <a:cubicBezTo>
                    <a:pt x="346" y="179"/>
                    <a:pt x="348" y="173"/>
                    <a:pt x="349" y="168"/>
                  </a:cubicBezTo>
                  <a:cubicBezTo>
                    <a:pt x="350" y="163"/>
                    <a:pt x="348" y="154"/>
                    <a:pt x="349" y="150"/>
                  </a:cubicBezTo>
                  <a:cubicBezTo>
                    <a:pt x="350" y="146"/>
                    <a:pt x="348" y="140"/>
                    <a:pt x="354" y="141"/>
                  </a:cubicBezTo>
                  <a:cubicBezTo>
                    <a:pt x="360" y="142"/>
                    <a:pt x="379" y="153"/>
                    <a:pt x="385" y="153"/>
                  </a:cubicBezTo>
                  <a:cubicBezTo>
                    <a:pt x="391" y="153"/>
                    <a:pt x="391" y="147"/>
                    <a:pt x="393" y="144"/>
                  </a:cubicBezTo>
                  <a:cubicBezTo>
                    <a:pt x="395" y="141"/>
                    <a:pt x="396" y="137"/>
                    <a:pt x="400" y="135"/>
                  </a:cubicBezTo>
                  <a:cubicBezTo>
                    <a:pt x="404" y="133"/>
                    <a:pt x="412" y="135"/>
                    <a:pt x="417" y="131"/>
                  </a:cubicBezTo>
                  <a:cubicBezTo>
                    <a:pt x="422" y="127"/>
                    <a:pt x="421" y="116"/>
                    <a:pt x="430" y="113"/>
                  </a:cubicBezTo>
                  <a:cubicBezTo>
                    <a:pt x="439" y="110"/>
                    <a:pt x="466" y="115"/>
                    <a:pt x="469" y="110"/>
                  </a:cubicBezTo>
                  <a:cubicBezTo>
                    <a:pt x="472" y="105"/>
                    <a:pt x="456" y="84"/>
                    <a:pt x="451" y="81"/>
                  </a:cubicBezTo>
                  <a:cubicBezTo>
                    <a:pt x="446" y="78"/>
                    <a:pt x="441" y="90"/>
                    <a:pt x="436" y="90"/>
                  </a:cubicBezTo>
                  <a:cubicBezTo>
                    <a:pt x="431" y="90"/>
                    <a:pt x="424" y="83"/>
                    <a:pt x="420" y="83"/>
                  </a:cubicBezTo>
                  <a:cubicBezTo>
                    <a:pt x="416" y="83"/>
                    <a:pt x="413" y="93"/>
                    <a:pt x="412" y="92"/>
                  </a:cubicBezTo>
                  <a:cubicBezTo>
                    <a:pt x="411" y="91"/>
                    <a:pt x="416" y="82"/>
                    <a:pt x="415" y="78"/>
                  </a:cubicBezTo>
                  <a:cubicBezTo>
                    <a:pt x="414" y="74"/>
                    <a:pt x="408" y="71"/>
                    <a:pt x="408" y="66"/>
                  </a:cubicBezTo>
                  <a:cubicBezTo>
                    <a:pt x="408" y="61"/>
                    <a:pt x="419" y="50"/>
                    <a:pt x="418" y="47"/>
                  </a:cubicBezTo>
                  <a:cubicBezTo>
                    <a:pt x="417" y="44"/>
                    <a:pt x="407" y="47"/>
                    <a:pt x="403" y="47"/>
                  </a:cubicBezTo>
                  <a:cubicBezTo>
                    <a:pt x="399" y="47"/>
                    <a:pt x="399" y="41"/>
                    <a:pt x="391" y="44"/>
                  </a:cubicBezTo>
                  <a:cubicBezTo>
                    <a:pt x="383" y="47"/>
                    <a:pt x="361" y="61"/>
                    <a:pt x="352" y="65"/>
                  </a:cubicBezTo>
                  <a:cubicBezTo>
                    <a:pt x="343" y="69"/>
                    <a:pt x="340" y="65"/>
                    <a:pt x="334" y="66"/>
                  </a:cubicBezTo>
                  <a:cubicBezTo>
                    <a:pt x="328" y="67"/>
                    <a:pt x="321" y="69"/>
                    <a:pt x="316" y="69"/>
                  </a:cubicBezTo>
                  <a:cubicBezTo>
                    <a:pt x="311" y="69"/>
                    <a:pt x="307" y="68"/>
                    <a:pt x="303" y="66"/>
                  </a:cubicBezTo>
                  <a:cubicBezTo>
                    <a:pt x="299" y="64"/>
                    <a:pt x="297" y="60"/>
                    <a:pt x="294" y="56"/>
                  </a:cubicBezTo>
                  <a:cubicBezTo>
                    <a:pt x="291" y="52"/>
                    <a:pt x="290" y="47"/>
                    <a:pt x="286" y="44"/>
                  </a:cubicBezTo>
                  <a:cubicBezTo>
                    <a:pt x="282" y="41"/>
                    <a:pt x="277" y="38"/>
                    <a:pt x="267" y="38"/>
                  </a:cubicBezTo>
                  <a:cubicBezTo>
                    <a:pt x="257" y="38"/>
                    <a:pt x="236" y="44"/>
                    <a:pt x="226" y="41"/>
                  </a:cubicBezTo>
                  <a:cubicBezTo>
                    <a:pt x="216" y="38"/>
                    <a:pt x="218" y="23"/>
                    <a:pt x="207" y="17"/>
                  </a:cubicBezTo>
                  <a:cubicBezTo>
                    <a:pt x="196" y="11"/>
                    <a:pt x="172" y="0"/>
                    <a:pt x="162" y="3"/>
                  </a:cubicBezTo>
                  <a:cubicBezTo>
                    <a:pt x="152" y="6"/>
                    <a:pt x="150" y="28"/>
                    <a:pt x="148" y="35"/>
                  </a:cubicBezTo>
                  <a:cubicBezTo>
                    <a:pt x="146" y="42"/>
                    <a:pt x="148" y="46"/>
                    <a:pt x="147" y="48"/>
                  </a:cubicBezTo>
                  <a:cubicBezTo>
                    <a:pt x="146" y="50"/>
                    <a:pt x="144" y="47"/>
                    <a:pt x="142" y="48"/>
                  </a:cubicBezTo>
                  <a:cubicBezTo>
                    <a:pt x="140" y="49"/>
                    <a:pt x="141" y="55"/>
                    <a:pt x="136" y="56"/>
                  </a:cubicBezTo>
                  <a:cubicBezTo>
                    <a:pt x="131" y="57"/>
                    <a:pt x="118" y="54"/>
                    <a:pt x="112" y="53"/>
                  </a:cubicBezTo>
                  <a:cubicBezTo>
                    <a:pt x="106" y="52"/>
                    <a:pt x="104" y="50"/>
                    <a:pt x="100" y="47"/>
                  </a:cubicBezTo>
                  <a:cubicBezTo>
                    <a:pt x="96" y="44"/>
                    <a:pt x="89" y="39"/>
                    <a:pt x="85" y="36"/>
                  </a:cubicBezTo>
                  <a:cubicBezTo>
                    <a:pt x="81" y="33"/>
                    <a:pt x="78" y="31"/>
                    <a:pt x="73" y="30"/>
                  </a:cubicBezTo>
                  <a:cubicBezTo>
                    <a:pt x="68" y="29"/>
                    <a:pt x="60" y="28"/>
                    <a:pt x="55" y="29"/>
                  </a:cubicBezTo>
                  <a:cubicBezTo>
                    <a:pt x="50" y="30"/>
                    <a:pt x="46" y="34"/>
                    <a:pt x="42" y="37"/>
                  </a:cubicBezTo>
                  <a:cubicBezTo>
                    <a:pt x="38" y="40"/>
                    <a:pt x="37" y="44"/>
                    <a:pt x="33" y="47"/>
                  </a:cubicBezTo>
                  <a:cubicBezTo>
                    <a:pt x="29" y="50"/>
                    <a:pt x="21" y="51"/>
                    <a:pt x="16" y="54"/>
                  </a:cubicBezTo>
                  <a:cubicBezTo>
                    <a:pt x="11" y="57"/>
                    <a:pt x="6" y="64"/>
                    <a:pt x="4" y="6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40" name="Freeform 596"/>
            <p:cNvSpPr>
              <a:spLocks/>
            </p:cNvSpPr>
            <p:nvPr>
              <p:custDataLst>
                <p:tags r:id="rId108"/>
              </p:custDataLst>
            </p:nvPr>
          </p:nvSpPr>
          <p:spPr bwMode="gray">
            <a:xfrm>
              <a:off x="4011106" y="2765426"/>
              <a:ext cx="64464" cy="82316"/>
            </a:xfrm>
            <a:custGeom>
              <a:avLst/>
              <a:gdLst>
                <a:gd name="T0" fmla="*/ 39 w 65"/>
                <a:gd name="T1" fmla="*/ 79 h 83"/>
                <a:gd name="T2" fmla="*/ 50 w 65"/>
                <a:gd name="T3" fmla="*/ 49 h 83"/>
                <a:gd name="T4" fmla="*/ 65 w 65"/>
                <a:gd name="T5" fmla="*/ 41 h 83"/>
                <a:gd name="T6" fmla="*/ 56 w 65"/>
                <a:gd name="T7" fmla="*/ 28 h 83"/>
                <a:gd name="T8" fmla="*/ 27 w 65"/>
                <a:gd name="T9" fmla="*/ 23 h 83"/>
                <a:gd name="T10" fmla="*/ 18 w 65"/>
                <a:gd name="T11" fmla="*/ 3 h 83"/>
                <a:gd name="T12" fmla="*/ 5 w 65"/>
                <a:gd name="T13" fmla="*/ 3 h 83"/>
                <a:gd name="T14" fmla="*/ 15 w 65"/>
                <a:gd name="T15" fmla="*/ 18 h 83"/>
                <a:gd name="T16" fmla="*/ 4 w 65"/>
                <a:gd name="T17" fmla="*/ 35 h 83"/>
                <a:gd name="T18" fmla="*/ 15 w 65"/>
                <a:gd name="T19" fmla="*/ 40 h 83"/>
                <a:gd name="T20" fmla="*/ 20 w 65"/>
                <a:gd name="T21" fmla="*/ 73 h 83"/>
                <a:gd name="T22" fmla="*/ 24 w 65"/>
                <a:gd name="T23" fmla="*/ 81 h 83"/>
                <a:gd name="T24" fmla="*/ 36 w 65"/>
                <a:gd name="T25" fmla="*/ 75 h 83"/>
                <a:gd name="T26" fmla="*/ 33 w 65"/>
                <a:gd name="T27" fmla="*/ 79 h 83"/>
                <a:gd name="T28" fmla="*/ 39 w 65"/>
                <a:gd name="T29" fmla="*/ 79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5" h="83">
                  <a:moveTo>
                    <a:pt x="39" y="79"/>
                  </a:moveTo>
                  <a:cubicBezTo>
                    <a:pt x="42" y="37"/>
                    <a:pt x="35" y="61"/>
                    <a:pt x="50" y="49"/>
                  </a:cubicBezTo>
                  <a:cubicBezTo>
                    <a:pt x="53" y="41"/>
                    <a:pt x="58" y="44"/>
                    <a:pt x="65" y="41"/>
                  </a:cubicBezTo>
                  <a:cubicBezTo>
                    <a:pt x="64" y="33"/>
                    <a:pt x="65" y="29"/>
                    <a:pt x="56" y="28"/>
                  </a:cubicBezTo>
                  <a:cubicBezTo>
                    <a:pt x="47" y="24"/>
                    <a:pt x="39" y="24"/>
                    <a:pt x="27" y="23"/>
                  </a:cubicBezTo>
                  <a:cubicBezTo>
                    <a:pt x="20" y="19"/>
                    <a:pt x="22" y="6"/>
                    <a:pt x="18" y="3"/>
                  </a:cubicBezTo>
                  <a:cubicBezTo>
                    <a:pt x="14" y="0"/>
                    <a:pt x="5" y="1"/>
                    <a:pt x="5" y="3"/>
                  </a:cubicBezTo>
                  <a:cubicBezTo>
                    <a:pt x="0" y="10"/>
                    <a:pt x="8" y="17"/>
                    <a:pt x="15" y="18"/>
                  </a:cubicBezTo>
                  <a:cubicBezTo>
                    <a:pt x="13" y="30"/>
                    <a:pt x="14" y="29"/>
                    <a:pt x="4" y="35"/>
                  </a:cubicBezTo>
                  <a:cubicBezTo>
                    <a:pt x="7" y="37"/>
                    <a:pt x="14" y="36"/>
                    <a:pt x="15" y="40"/>
                  </a:cubicBezTo>
                  <a:cubicBezTo>
                    <a:pt x="19" y="51"/>
                    <a:pt x="15" y="63"/>
                    <a:pt x="20" y="73"/>
                  </a:cubicBezTo>
                  <a:cubicBezTo>
                    <a:pt x="20" y="77"/>
                    <a:pt x="21" y="79"/>
                    <a:pt x="24" y="81"/>
                  </a:cubicBezTo>
                  <a:cubicBezTo>
                    <a:pt x="25" y="83"/>
                    <a:pt x="34" y="75"/>
                    <a:pt x="36" y="75"/>
                  </a:cubicBezTo>
                  <a:cubicBezTo>
                    <a:pt x="37" y="75"/>
                    <a:pt x="33" y="78"/>
                    <a:pt x="33" y="79"/>
                  </a:cubicBezTo>
                  <a:cubicBezTo>
                    <a:pt x="33" y="80"/>
                    <a:pt x="38" y="79"/>
                    <a:pt x="39" y="7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41" name="Freeform 597"/>
            <p:cNvSpPr>
              <a:spLocks/>
            </p:cNvSpPr>
            <p:nvPr>
              <p:custDataLst>
                <p:tags r:id="rId109"/>
              </p:custDataLst>
            </p:nvPr>
          </p:nvSpPr>
          <p:spPr bwMode="gray">
            <a:xfrm>
              <a:off x="4030941" y="2737657"/>
              <a:ext cx="44629" cy="27769"/>
            </a:xfrm>
            <a:custGeom>
              <a:avLst/>
              <a:gdLst>
                <a:gd name="T0" fmla="*/ 4 w 47"/>
                <a:gd name="T1" fmla="*/ 26 h 29"/>
                <a:gd name="T2" fmla="*/ 28 w 47"/>
                <a:gd name="T3" fmla="*/ 26 h 29"/>
                <a:gd name="T4" fmla="*/ 43 w 47"/>
                <a:gd name="T5" fmla="*/ 26 h 29"/>
                <a:gd name="T6" fmla="*/ 46 w 47"/>
                <a:gd name="T7" fmla="*/ 16 h 29"/>
                <a:gd name="T8" fmla="*/ 38 w 47"/>
                <a:gd name="T9" fmla="*/ 16 h 29"/>
                <a:gd name="T10" fmla="*/ 29 w 47"/>
                <a:gd name="T11" fmla="*/ 2 h 29"/>
                <a:gd name="T12" fmla="*/ 16 w 47"/>
                <a:gd name="T13" fmla="*/ 2 h 29"/>
                <a:gd name="T14" fmla="*/ 2 w 47"/>
                <a:gd name="T15" fmla="*/ 10 h 29"/>
                <a:gd name="T16" fmla="*/ 4 w 47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29">
                  <a:moveTo>
                    <a:pt x="4" y="26"/>
                  </a:moveTo>
                  <a:cubicBezTo>
                    <a:pt x="9" y="29"/>
                    <a:pt x="22" y="26"/>
                    <a:pt x="28" y="26"/>
                  </a:cubicBezTo>
                  <a:cubicBezTo>
                    <a:pt x="34" y="26"/>
                    <a:pt x="40" y="28"/>
                    <a:pt x="43" y="26"/>
                  </a:cubicBezTo>
                  <a:cubicBezTo>
                    <a:pt x="46" y="24"/>
                    <a:pt x="47" y="18"/>
                    <a:pt x="46" y="16"/>
                  </a:cubicBezTo>
                  <a:cubicBezTo>
                    <a:pt x="45" y="14"/>
                    <a:pt x="41" y="18"/>
                    <a:pt x="38" y="16"/>
                  </a:cubicBezTo>
                  <a:cubicBezTo>
                    <a:pt x="35" y="14"/>
                    <a:pt x="33" y="4"/>
                    <a:pt x="29" y="2"/>
                  </a:cubicBezTo>
                  <a:cubicBezTo>
                    <a:pt x="25" y="0"/>
                    <a:pt x="20" y="1"/>
                    <a:pt x="16" y="2"/>
                  </a:cubicBezTo>
                  <a:cubicBezTo>
                    <a:pt x="12" y="3"/>
                    <a:pt x="4" y="6"/>
                    <a:pt x="2" y="10"/>
                  </a:cubicBezTo>
                  <a:cubicBezTo>
                    <a:pt x="0" y="14"/>
                    <a:pt x="4" y="23"/>
                    <a:pt x="4" y="2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42" name="Freeform 598"/>
            <p:cNvSpPr>
              <a:spLocks/>
            </p:cNvSpPr>
            <p:nvPr>
              <p:custDataLst>
                <p:tags r:id="rId110"/>
              </p:custDataLst>
            </p:nvPr>
          </p:nvSpPr>
          <p:spPr bwMode="gray">
            <a:xfrm>
              <a:off x="4072595" y="2741624"/>
              <a:ext cx="120002" cy="193392"/>
            </a:xfrm>
            <a:custGeom>
              <a:avLst/>
              <a:gdLst>
                <a:gd name="T0" fmla="*/ 2 w 124"/>
                <a:gd name="T1" fmla="*/ 106 h 201"/>
                <a:gd name="T2" fmla="*/ 6 w 124"/>
                <a:gd name="T3" fmla="*/ 117 h 201"/>
                <a:gd name="T4" fmla="*/ 24 w 124"/>
                <a:gd name="T5" fmla="*/ 141 h 201"/>
                <a:gd name="T6" fmla="*/ 33 w 124"/>
                <a:gd name="T7" fmla="*/ 153 h 201"/>
                <a:gd name="T8" fmla="*/ 36 w 124"/>
                <a:gd name="T9" fmla="*/ 192 h 201"/>
                <a:gd name="T10" fmla="*/ 65 w 124"/>
                <a:gd name="T11" fmla="*/ 183 h 201"/>
                <a:gd name="T12" fmla="*/ 71 w 124"/>
                <a:gd name="T13" fmla="*/ 175 h 201"/>
                <a:gd name="T14" fmla="*/ 80 w 124"/>
                <a:gd name="T15" fmla="*/ 183 h 201"/>
                <a:gd name="T16" fmla="*/ 86 w 124"/>
                <a:gd name="T17" fmla="*/ 199 h 201"/>
                <a:gd name="T18" fmla="*/ 98 w 124"/>
                <a:gd name="T19" fmla="*/ 195 h 201"/>
                <a:gd name="T20" fmla="*/ 86 w 124"/>
                <a:gd name="T21" fmla="*/ 175 h 201"/>
                <a:gd name="T22" fmla="*/ 81 w 124"/>
                <a:gd name="T23" fmla="*/ 165 h 201"/>
                <a:gd name="T24" fmla="*/ 83 w 124"/>
                <a:gd name="T25" fmla="*/ 145 h 201"/>
                <a:gd name="T26" fmla="*/ 90 w 124"/>
                <a:gd name="T27" fmla="*/ 132 h 201"/>
                <a:gd name="T28" fmla="*/ 105 w 124"/>
                <a:gd name="T29" fmla="*/ 132 h 201"/>
                <a:gd name="T30" fmla="*/ 116 w 124"/>
                <a:gd name="T31" fmla="*/ 123 h 201"/>
                <a:gd name="T32" fmla="*/ 122 w 124"/>
                <a:gd name="T33" fmla="*/ 114 h 201"/>
                <a:gd name="T34" fmla="*/ 105 w 124"/>
                <a:gd name="T35" fmla="*/ 84 h 201"/>
                <a:gd name="T36" fmla="*/ 98 w 124"/>
                <a:gd name="T37" fmla="*/ 70 h 201"/>
                <a:gd name="T38" fmla="*/ 86 w 124"/>
                <a:gd name="T39" fmla="*/ 72 h 201"/>
                <a:gd name="T40" fmla="*/ 83 w 124"/>
                <a:gd name="T41" fmla="*/ 57 h 201"/>
                <a:gd name="T42" fmla="*/ 98 w 124"/>
                <a:gd name="T43" fmla="*/ 40 h 201"/>
                <a:gd name="T44" fmla="*/ 99 w 124"/>
                <a:gd name="T45" fmla="*/ 16 h 201"/>
                <a:gd name="T46" fmla="*/ 89 w 124"/>
                <a:gd name="T47" fmla="*/ 0 h 201"/>
                <a:gd name="T48" fmla="*/ 60 w 124"/>
                <a:gd name="T49" fmla="*/ 19 h 201"/>
                <a:gd name="T50" fmla="*/ 47 w 124"/>
                <a:gd name="T51" fmla="*/ 21 h 201"/>
                <a:gd name="T52" fmla="*/ 47 w 124"/>
                <a:gd name="T53" fmla="*/ 46 h 201"/>
                <a:gd name="T54" fmla="*/ 33 w 124"/>
                <a:gd name="T55" fmla="*/ 75 h 201"/>
                <a:gd name="T56" fmla="*/ 18 w 124"/>
                <a:gd name="T57" fmla="*/ 70 h 201"/>
                <a:gd name="T58" fmla="*/ 21 w 124"/>
                <a:gd name="T59" fmla="*/ 97 h 201"/>
                <a:gd name="T60" fmla="*/ 2 w 124"/>
                <a:gd name="T61" fmla="*/ 106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24" h="201">
                  <a:moveTo>
                    <a:pt x="2" y="106"/>
                  </a:moveTo>
                  <a:cubicBezTo>
                    <a:pt x="0" y="109"/>
                    <a:pt x="2" y="111"/>
                    <a:pt x="6" y="117"/>
                  </a:cubicBezTo>
                  <a:cubicBezTo>
                    <a:pt x="10" y="123"/>
                    <a:pt x="19" y="135"/>
                    <a:pt x="24" y="141"/>
                  </a:cubicBezTo>
                  <a:cubicBezTo>
                    <a:pt x="29" y="147"/>
                    <a:pt x="31" y="145"/>
                    <a:pt x="33" y="153"/>
                  </a:cubicBezTo>
                  <a:cubicBezTo>
                    <a:pt x="35" y="161"/>
                    <a:pt x="31" y="187"/>
                    <a:pt x="36" y="192"/>
                  </a:cubicBezTo>
                  <a:cubicBezTo>
                    <a:pt x="41" y="197"/>
                    <a:pt x="59" y="186"/>
                    <a:pt x="65" y="183"/>
                  </a:cubicBezTo>
                  <a:cubicBezTo>
                    <a:pt x="71" y="180"/>
                    <a:pt x="69" y="175"/>
                    <a:pt x="71" y="175"/>
                  </a:cubicBezTo>
                  <a:cubicBezTo>
                    <a:pt x="73" y="175"/>
                    <a:pt x="77" y="179"/>
                    <a:pt x="80" y="183"/>
                  </a:cubicBezTo>
                  <a:cubicBezTo>
                    <a:pt x="83" y="187"/>
                    <a:pt x="83" y="197"/>
                    <a:pt x="86" y="199"/>
                  </a:cubicBezTo>
                  <a:cubicBezTo>
                    <a:pt x="89" y="201"/>
                    <a:pt x="98" y="199"/>
                    <a:pt x="98" y="195"/>
                  </a:cubicBezTo>
                  <a:cubicBezTo>
                    <a:pt x="98" y="191"/>
                    <a:pt x="89" y="180"/>
                    <a:pt x="86" y="175"/>
                  </a:cubicBezTo>
                  <a:cubicBezTo>
                    <a:pt x="83" y="170"/>
                    <a:pt x="81" y="170"/>
                    <a:pt x="81" y="165"/>
                  </a:cubicBezTo>
                  <a:cubicBezTo>
                    <a:pt x="81" y="160"/>
                    <a:pt x="82" y="150"/>
                    <a:pt x="83" y="145"/>
                  </a:cubicBezTo>
                  <a:cubicBezTo>
                    <a:pt x="84" y="140"/>
                    <a:pt x="86" y="134"/>
                    <a:pt x="90" y="132"/>
                  </a:cubicBezTo>
                  <a:cubicBezTo>
                    <a:pt x="94" y="130"/>
                    <a:pt x="101" y="133"/>
                    <a:pt x="105" y="132"/>
                  </a:cubicBezTo>
                  <a:cubicBezTo>
                    <a:pt x="109" y="131"/>
                    <a:pt x="113" y="126"/>
                    <a:pt x="116" y="123"/>
                  </a:cubicBezTo>
                  <a:cubicBezTo>
                    <a:pt x="119" y="120"/>
                    <a:pt x="124" y="120"/>
                    <a:pt x="122" y="114"/>
                  </a:cubicBezTo>
                  <a:cubicBezTo>
                    <a:pt x="120" y="108"/>
                    <a:pt x="109" y="91"/>
                    <a:pt x="105" y="84"/>
                  </a:cubicBezTo>
                  <a:cubicBezTo>
                    <a:pt x="101" y="77"/>
                    <a:pt x="101" y="72"/>
                    <a:pt x="98" y="70"/>
                  </a:cubicBezTo>
                  <a:cubicBezTo>
                    <a:pt x="95" y="68"/>
                    <a:pt x="88" y="74"/>
                    <a:pt x="86" y="72"/>
                  </a:cubicBezTo>
                  <a:cubicBezTo>
                    <a:pt x="84" y="70"/>
                    <a:pt x="81" y="62"/>
                    <a:pt x="83" y="57"/>
                  </a:cubicBezTo>
                  <a:cubicBezTo>
                    <a:pt x="85" y="52"/>
                    <a:pt x="95" y="47"/>
                    <a:pt x="98" y="40"/>
                  </a:cubicBezTo>
                  <a:cubicBezTo>
                    <a:pt x="101" y="33"/>
                    <a:pt x="100" y="23"/>
                    <a:pt x="99" y="16"/>
                  </a:cubicBezTo>
                  <a:cubicBezTo>
                    <a:pt x="98" y="9"/>
                    <a:pt x="95" y="0"/>
                    <a:pt x="89" y="0"/>
                  </a:cubicBezTo>
                  <a:cubicBezTo>
                    <a:pt x="83" y="0"/>
                    <a:pt x="67" y="16"/>
                    <a:pt x="60" y="19"/>
                  </a:cubicBezTo>
                  <a:cubicBezTo>
                    <a:pt x="53" y="22"/>
                    <a:pt x="49" y="17"/>
                    <a:pt x="47" y="21"/>
                  </a:cubicBezTo>
                  <a:cubicBezTo>
                    <a:pt x="45" y="25"/>
                    <a:pt x="49" y="37"/>
                    <a:pt x="47" y="46"/>
                  </a:cubicBezTo>
                  <a:cubicBezTo>
                    <a:pt x="45" y="55"/>
                    <a:pt x="38" y="71"/>
                    <a:pt x="33" y="75"/>
                  </a:cubicBezTo>
                  <a:cubicBezTo>
                    <a:pt x="28" y="79"/>
                    <a:pt x="20" y="66"/>
                    <a:pt x="18" y="70"/>
                  </a:cubicBezTo>
                  <a:cubicBezTo>
                    <a:pt x="16" y="74"/>
                    <a:pt x="23" y="91"/>
                    <a:pt x="21" y="97"/>
                  </a:cubicBezTo>
                  <a:cubicBezTo>
                    <a:pt x="19" y="103"/>
                    <a:pt x="4" y="103"/>
                    <a:pt x="2" y="10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43" name="Freeform 599"/>
            <p:cNvSpPr>
              <a:spLocks/>
            </p:cNvSpPr>
            <p:nvPr>
              <p:custDataLst>
                <p:tags r:id="rId111"/>
              </p:custDataLst>
            </p:nvPr>
          </p:nvSpPr>
          <p:spPr bwMode="gray">
            <a:xfrm>
              <a:off x="3896063" y="3025265"/>
              <a:ext cx="28761" cy="54547"/>
            </a:xfrm>
            <a:custGeom>
              <a:avLst/>
              <a:gdLst>
                <a:gd name="T0" fmla="*/ 6 w 30"/>
                <a:gd name="T1" fmla="*/ 52 h 57"/>
                <a:gd name="T2" fmla="*/ 29 w 30"/>
                <a:gd name="T3" fmla="*/ 43 h 57"/>
                <a:gd name="T4" fmla="*/ 24 w 30"/>
                <a:gd name="T5" fmla="*/ 22 h 57"/>
                <a:gd name="T6" fmla="*/ 17 w 30"/>
                <a:gd name="T7" fmla="*/ 7 h 57"/>
                <a:gd name="T8" fmla="*/ 6 w 30"/>
                <a:gd name="T9" fmla="*/ 3 h 57"/>
                <a:gd name="T10" fmla="*/ 0 w 30"/>
                <a:gd name="T11" fmla="*/ 27 h 57"/>
                <a:gd name="T12" fmla="*/ 2 w 30"/>
                <a:gd name="T13" fmla="*/ 51 h 57"/>
                <a:gd name="T14" fmla="*/ 6 w 30"/>
                <a:gd name="T15" fmla="*/ 5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57">
                  <a:moveTo>
                    <a:pt x="6" y="52"/>
                  </a:moveTo>
                  <a:cubicBezTo>
                    <a:pt x="18" y="57"/>
                    <a:pt x="23" y="53"/>
                    <a:pt x="29" y="43"/>
                  </a:cubicBezTo>
                  <a:cubicBezTo>
                    <a:pt x="30" y="34"/>
                    <a:pt x="29" y="30"/>
                    <a:pt x="24" y="22"/>
                  </a:cubicBezTo>
                  <a:cubicBezTo>
                    <a:pt x="27" y="0"/>
                    <a:pt x="27" y="15"/>
                    <a:pt x="17" y="7"/>
                  </a:cubicBezTo>
                  <a:cubicBezTo>
                    <a:pt x="14" y="1"/>
                    <a:pt x="12" y="0"/>
                    <a:pt x="6" y="3"/>
                  </a:cubicBezTo>
                  <a:cubicBezTo>
                    <a:pt x="1" y="10"/>
                    <a:pt x="3" y="19"/>
                    <a:pt x="0" y="27"/>
                  </a:cubicBezTo>
                  <a:cubicBezTo>
                    <a:pt x="1" y="35"/>
                    <a:pt x="0" y="43"/>
                    <a:pt x="2" y="51"/>
                  </a:cubicBezTo>
                  <a:cubicBezTo>
                    <a:pt x="2" y="52"/>
                    <a:pt x="6" y="53"/>
                    <a:pt x="6" y="5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44" name="Freeform 601"/>
            <p:cNvSpPr>
              <a:spLocks/>
            </p:cNvSpPr>
            <p:nvPr>
              <p:custDataLst>
                <p:tags r:id="rId112"/>
              </p:custDataLst>
            </p:nvPr>
          </p:nvSpPr>
          <p:spPr bwMode="gray">
            <a:xfrm>
              <a:off x="3734537" y="2593436"/>
              <a:ext cx="422410" cy="473424"/>
            </a:xfrm>
            <a:custGeom>
              <a:avLst/>
              <a:gdLst/>
              <a:ahLst/>
              <a:cxnLst/>
              <a:rect l="l" t="t" r="r" b="b"/>
              <a:pathLst>
                <a:path w="676153" h="757812">
                  <a:moveTo>
                    <a:pt x="574188" y="719349"/>
                  </a:moveTo>
                  <a:cubicBezTo>
                    <a:pt x="577276" y="737897"/>
                    <a:pt x="578821" y="737897"/>
                    <a:pt x="586542" y="751807"/>
                  </a:cubicBezTo>
                  <a:cubicBezTo>
                    <a:pt x="581909" y="761081"/>
                    <a:pt x="577276" y="757990"/>
                    <a:pt x="568010" y="753353"/>
                  </a:cubicBezTo>
                  <a:cubicBezTo>
                    <a:pt x="571099" y="728623"/>
                    <a:pt x="552567" y="736351"/>
                    <a:pt x="574188" y="719349"/>
                  </a:cubicBezTo>
                  <a:close/>
                  <a:moveTo>
                    <a:pt x="551022" y="693073"/>
                  </a:moveTo>
                  <a:cubicBezTo>
                    <a:pt x="555655" y="694619"/>
                    <a:pt x="560288" y="693073"/>
                    <a:pt x="563377" y="696165"/>
                  </a:cubicBezTo>
                  <a:cubicBezTo>
                    <a:pt x="566466" y="700802"/>
                    <a:pt x="552567" y="706984"/>
                    <a:pt x="549478" y="702347"/>
                  </a:cubicBezTo>
                  <a:cubicBezTo>
                    <a:pt x="547934" y="699256"/>
                    <a:pt x="551022" y="696165"/>
                    <a:pt x="551022" y="693073"/>
                  </a:cubicBezTo>
                  <a:close/>
                  <a:moveTo>
                    <a:pt x="553725" y="665445"/>
                  </a:moveTo>
                  <a:cubicBezTo>
                    <a:pt x="556814" y="666797"/>
                    <a:pt x="557972" y="670661"/>
                    <a:pt x="555656" y="677616"/>
                  </a:cubicBezTo>
                  <a:cubicBezTo>
                    <a:pt x="549479" y="676071"/>
                    <a:pt x="540213" y="668343"/>
                    <a:pt x="540213" y="668343"/>
                  </a:cubicBezTo>
                  <a:cubicBezTo>
                    <a:pt x="545618" y="665251"/>
                    <a:pt x="550637" y="664092"/>
                    <a:pt x="553725" y="665445"/>
                  </a:cubicBezTo>
                  <a:close/>
                  <a:moveTo>
                    <a:pt x="555656" y="600335"/>
                  </a:moveTo>
                  <a:cubicBezTo>
                    <a:pt x="575732" y="614246"/>
                    <a:pt x="584998" y="643613"/>
                    <a:pt x="555656" y="649795"/>
                  </a:cubicBezTo>
                  <a:cubicBezTo>
                    <a:pt x="543302" y="640521"/>
                    <a:pt x="546390" y="631248"/>
                    <a:pt x="549479" y="617337"/>
                  </a:cubicBezTo>
                  <a:cubicBezTo>
                    <a:pt x="544846" y="608063"/>
                    <a:pt x="546390" y="604972"/>
                    <a:pt x="555656" y="600335"/>
                  </a:cubicBezTo>
                  <a:close/>
                  <a:moveTo>
                    <a:pt x="564922" y="577150"/>
                  </a:moveTo>
                  <a:lnTo>
                    <a:pt x="573995" y="581594"/>
                  </a:lnTo>
                  <a:cubicBezTo>
                    <a:pt x="574960" y="582560"/>
                    <a:pt x="574960" y="584105"/>
                    <a:pt x="577276" y="589515"/>
                  </a:cubicBezTo>
                  <a:lnTo>
                    <a:pt x="572089" y="593886"/>
                  </a:lnTo>
                  <a:cubicBezTo>
                    <a:pt x="568397" y="593959"/>
                    <a:pt x="568397" y="582946"/>
                    <a:pt x="564922" y="577150"/>
                  </a:cubicBezTo>
                  <a:close/>
                  <a:moveTo>
                    <a:pt x="462993" y="229418"/>
                  </a:moveTo>
                  <a:cubicBezTo>
                    <a:pt x="467624" y="226276"/>
                    <a:pt x="475320" y="243257"/>
                    <a:pt x="476886" y="255675"/>
                  </a:cubicBezTo>
                  <a:lnTo>
                    <a:pt x="475550" y="274409"/>
                  </a:lnTo>
                  <a:cubicBezTo>
                    <a:pt x="466839" y="274523"/>
                    <a:pt x="458349" y="274740"/>
                    <a:pt x="451843" y="275222"/>
                  </a:cubicBezTo>
                  <a:cubicBezTo>
                    <a:pt x="452047" y="274924"/>
                    <a:pt x="452107" y="274584"/>
                    <a:pt x="452164" y="274228"/>
                  </a:cubicBezTo>
                  <a:cubicBezTo>
                    <a:pt x="453731" y="264952"/>
                    <a:pt x="458362" y="232485"/>
                    <a:pt x="462993" y="229418"/>
                  </a:cubicBezTo>
                  <a:close/>
                  <a:moveTo>
                    <a:pt x="628213" y="210865"/>
                  </a:moveTo>
                  <a:cubicBezTo>
                    <a:pt x="640608" y="213932"/>
                    <a:pt x="674592" y="226276"/>
                    <a:pt x="676090" y="233981"/>
                  </a:cubicBezTo>
                  <a:cubicBezTo>
                    <a:pt x="677657" y="241761"/>
                    <a:pt x="649870" y="252534"/>
                    <a:pt x="642106" y="257172"/>
                  </a:cubicBezTo>
                  <a:cubicBezTo>
                    <a:pt x="634411" y="261810"/>
                    <a:pt x="632844" y="261810"/>
                    <a:pt x="628213" y="264952"/>
                  </a:cubicBezTo>
                  <a:cubicBezTo>
                    <a:pt x="623582" y="268019"/>
                    <a:pt x="612822" y="269590"/>
                    <a:pt x="611255" y="274228"/>
                  </a:cubicBezTo>
                  <a:cubicBezTo>
                    <a:pt x="609689" y="278866"/>
                    <a:pt x="617453" y="288143"/>
                    <a:pt x="615886" y="297419"/>
                  </a:cubicBezTo>
                  <a:cubicBezTo>
                    <a:pt x="614320" y="306695"/>
                    <a:pt x="609689" y="323677"/>
                    <a:pt x="605058" y="331382"/>
                  </a:cubicBezTo>
                  <a:cubicBezTo>
                    <a:pt x="600427" y="339087"/>
                    <a:pt x="594298" y="343725"/>
                    <a:pt x="588100" y="345296"/>
                  </a:cubicBezTo>
                  <a:cubicBezTo>
                    <a:pt x="581903" y="346867"/>
                    <a:pt x="571074" y="331382"/>
                    <a:pt x="569576" y="339087"/>
                  </a:cubicBezTo>
                  <a:cubicBezTo>
                    <a:pt x="568009" y="346867"/>
                    <a:pt x="577272" y="379334"/>
                    <a:pt x="577272" y="390107"/>
                  </a:cubicBezTo>
                  <a:cubicBezTo>
                    <a:pt x="577272" y="400954"/>
                    <a:pt x="571074" y="397887"/>
                    <a:pt x="566443" y="400954"/>
                  </a:cubicBezTo>
                  <a:cubicBezTo>
                    <a:pt x="561812" y="404021"/>
                    <a:pt x="549485" y="408660"/>
                    <a:pt x="546420" y="404021"/>
                  </a:cubicBezTo>
                  <a:cubicBezTo>
                    <a:pt x="543287" y="399383"/>
                    <a:pt x="549485" y="377763"/>
                    <a:pt x="546420" y="373125"/>
                  </a:cubicBezTo>
                  <a:cubicBezTo>
                    <a:pt x="543287" y="368487"/>
                    <a:pt x="532459" y="371554"/>
                    <a:pt x="526329" y="373125"/>
                  </a:cubicBezTo>
                  <a:cubicBezTo>
                    <a:pt x="520132" y="374696"/>
                    <a:pt x="510870" y="387040"/>
                    <a:pt x="507805" y="387040"/>
                  </a:cubicBezTo>
                  <a:cubicBezTo>
                    <a:pt x="504672" y="387040"/>
                    <a:pt x="504672" y="377763"/>
                    <a:pt x="507805" y="371554"/>
                  </a:cubicBezTo>
                  <a:cubicBezTo>
                    <a:pt x="510870" y="365420"/>
                    <a:pt x="521698" y="353002"/>
                    <a:pt x="527828" y="348364"/>
                  </a:cubicBezTo>
                  <a:cubicBezTo>
                    <a:pt x="534025" y="343725"/>
                    <a:pt x="540223" y="343725"/>
                    <a:pt x="543287" y="339087"/>
                  </a:cubicBezTo>
                  <a:cubicBezTo>
                    <a:pt x="546420" y="334449"/>
                    <a:pt x="551051" y="325248"/>
                    <a:pt x="546420" y="320610"/>
                  </a:cubicBezTo>
                  <a:cubicBezTo>
                    <a:pt x="541789" y="315971"/>
                    <a:pt x="524763" y="314400"/>
                    <a:pt x="513935" y="311333"/>
                  </a:cubicBezTo>
                  <a:cubicBezTo>
                    <a:pt x="503174" y="308191"/>
                    <a:pt x="483083" y="311333"/>
                    <a:pt x="476886" y="302057"/>
                  </a:cubicBezTo>
                  <a:cubicBezTo>
                    <a:pt x="473142" y="296452"/>
                    <a:pt x="474494" y="285195"/>
                    <a:pt x="475550" y="274409"/>
                  </a:cubicBezTo>
                  <a:lnTo>
                    <a:pt x="507805" y="274228"/>
                  </a:lnTo>
                  <a:cubicBezTo>
                    <a:pt x="524763" y="274228"/>
                    <a:pt x="540223" y="277295"/>
                    <a:pt x="546420" y="274228"/>
                  </a:cubicBezTo>
                  <a:cubicBezTo>
                    <a:pt x="552549" y="271086"/>
                    <a:pt x="546420" y="261810"/>
                    <a:pt x="546420" y="255675"/>
                  </a:cubicBezTo>
                  <a:cubicBezTo>
                    <a:pt x="546420" y="249466"/>
                    <a:pt x="546420" y="243257"/>
                    <a:pt x="549485" y="238619"/>
                  </a:cubicBezTo>
                  <a:cubicBezTo>
                    <a:pt x="552549" y="233981"/>
                    <a:pt x="555682" y="227847"/>
                    <a:pt x="563378" y="224779"/>
                  </a:cubicBezTo>
                  <a:cubicBezTo>
                    <a:pt x="571074" y="221637"/>
                    <a:pt x="586534" y="216999"/>
                    <a:pt x="597362" y="215503"/>
                  </a:cubicBezTo>
                  <a:cubicBezTo>
                    <a:pt x="608191" y="213932"/>
                    <a:pt x="615886" y="207723"/>
                    <a:pt x="628213" y="210865"/>
                  </a:cubicBezTo>
                  <a:close/>
                  <a:moveTo>
                    <a:pt x="148370" y="250"/>
                  </a:moveTo>
                  <a:cubicBezTo>
                    <a:pt x="148762" y="633"/>
                    <a:pt x="148762" y="1400"/>
                    <a:pt x="151077" y="2148"/>
                  </a:cubicBezTo>
                  <a:lnTo>
                    <a:pt x="171100" y="6786"/>
                  </a:lnTo>
                  <a:cubicBezTo>
                    <a:pt x="177297" y="9928"/>
                    <a:pt x="186559" y="14567"/>
                    <a:pt x="192757" y="19205"/>
                  </a:cubicBezTo>
                  <a:cubicBezTo>
                    <a:pt x="198954" y="23843"/>
                    <a:pt x="202019" y="31548"/>
                    <a:pt x="206650" y="33119"/>
                  </a:cubicBezTo>
                  <a:cubicBezTo>
                    <a:pt x="211281" y="34615"/>
                    <a:pt x="217478" y="31548"/>
                    <a:pt x="225174" y="29977"/>
                  </a:cubicBezTo>
                  <a:cubicBezTo>
                    <a:pt x="232870" y="28481"/>
                    <a:pt x="246763" y="16063"/>
                    <a:pt x="254527" y="20701"/>
                  </a:cubicBezTo>
                  <a:cubicBezTo>
                    <a:pt x="262223" y="25339"/>
                    <a:pt x="268420" y="48530"/>
                    <a:pt x="268420" y="57806"/>
                  </a:cubicBezTo>
                  <a:cubicBezTo>
                    <a:pt x="268420" y="67082"/>
                    <a:pt x="256093" y="68653"/>
                    <a:pt x="252961" y="74788"/>
                  </a:cubicBezTo>
                  <a:cubicBezTo>
                    <a:pt x="249896" y="80997"/>
                    <a:pt x="248330" y="88702"/>
                    <a:pt x="248330" y="94911"/>
                  </a:cubicBezTo>
                  <a:cubicBezTo>
                    <a:pt x="248330" y="101120"/>
                    <a:pt x="259158" y="108826"/>
                    <a:pt x="257592" y="113464"/>
                  </a:cubicBezTo>
                  <a:cubicBezTo>
                    <a:pt x="256093" y="118102"/>
                    <a:pt x="246763" y="118102"/>
                    <a:pt x="243698" y="122740"/>
                  </a:cubicBezTo>
                  <a:cubicBezTo>
                    <a:pt x="240634" y="127378"/>
                    <a:pt x="236003" y="133587"/>
                    <a:pt x="239067" y="141293"/>
                  </a:cubicBezTo>
                  <a:cubicBezTo>
                    <a:pt x="242132" y="148998"/>
                    <a:pt x="251394" y="161342"/>
                    <a:pt x="259158" y="167551"/>
                  </a:cubicBezTo>
                  <a:cubicBezTo>
                    <a:pt x="266854" y="173760"/>
                    <a:pt x="285378" y="172189"/>
                    <a:pt x="286944" y="181465"/>
                  </a:cubicBezTo>
                  <a:cubicBezTo>
                    <a:pt x="288511" y="190741"/>
                    <a:pt x="268420" y="212361"/>
                    <a:pt x="268420" y="220141"/>
                  </a:cubicBezTo>
                  <a:cubicBezTo>
                    <a:pt x="268420" y="227847"/>
                    <a:pt x="280747" y="226276"/>
                    <a:pt x="286944" y="229418"/>
                  </a:cubicBezTo>
                  <a:cubicBezTo>
                    <a:pt x="293142" y="232485"/>
                    <a:pt x="302404" y="237123"/>
                    <a:pt x="308533" y="241761"/>
                  </a:cubicBezTo>
                  <a:cubicBezTo>
                    <a:pt x="314731" y="246399"/>
                    <a:pt x="320928" y="249466"/>
                    <a:pt x="327126" y="252534"/>
                  </a:cubicBezTo>
                  <a:cubicBezTo>
                    <a:pt x="333255" y="255675"/>
                    <a:pt x="342517" y="258743"/>
                    <a:pt x="351779" y="261810"/>
                  </a:cubicBezTo>
                  <a:cubicBezTo>
                    <a:pt x="361041" y="264952"/>
                    <a:pt x="371870" y="272657"/>
                    <a:pt x="379634" y="275724"/>
                  </a:cubicBezTo>
                  <a:cubicBezTo>
                    <a:pt x="387329" y="278866"/>
                    <a:pt x="388896" y="277295"/>
                    <a:pt x="396592" y="278866"/>
                  </a:cubicBezTo>
                  <a:cubicBezTo>
                    <a:pt x="404287" y="280362"/>
                    <a:pt x="422880" y="285001"/>
                    <a:pt x="430575" y="285001"/>
                  </a:cubicBezTo>
                  <a:cubicBezTo>
                    <a:pt x="438271" y="285001"/>
                    <a:pt x="432142" y="277295"/>
                    <a:pt x="444469" y="275724"/>
                  </a:cubicBezTo>
                  <a:cubicBezTo>
                    <a:pt x="446429" y="275486"/>
                    <a:pt x="448937" y="275286"/>
                    <a:pt x="451843" y="275222"/>
                  </a:cubicBezTo>
                  <a:cubicBezTo>
                    <a:pt x="450433" y="283397"/>
                    <a:pt x="447593" y="282229"/>
                    <a:pt x="449100" y="289639"/>
                  </a:cubicBezTo>
                  <a:cubicBezTo>
                    <a:pt x="450666" y="297419"/>
                    <a:pt x="462993" y="311333"/>
                    <a:pt x="462993" y="317468"/>
                  </a:cubicBezTo>
                  <a:cubicBezTo>
                    <a:pt x="462993" y="323677"/>
                    <a:pt x="447533" y="326744"/>
                    <a:pt x="447533" y="329811"/>
                  </a:cubicBezTo>
                  <a:cubicBezTo>
                    <a:pt x="447533" y="332953"/>
                    <a:pt x="461426" y="336020"/>
                    <a:pt x="466058" y="339087"/>
                  </a:cubicBezTo>
                  <a:cubicBezTo>
                    <a:pt x="470689" y="342229"/>
                    <a:pt x="472255" y="343725"/>
                    <a:pt x="472255" y="353002"/>
                  </a:cubicBezTo>
                  <a:cubicBezTo>
                    <a:pt x="472255" y="362278"/>
                    <a:pt x="472255" y="387040"/>
                    <a:pt x="467624" y="394745"/>
                  </a:cubicBezTo>
                  <a:cubicBezTo>
                    <a:pt x="462993" y="402525"/>
                    <a:pt x="446035" y="396316"/>
                    <a:pt x="439838" y="400954"/>
                  </a:cubicBezTo>
                  <a:cubicBezTo>
                    <a:pt x="433640" y="405592"/>
                    <a:pt x="435206" y="421003"/>
                    <a:pt x="429009" y="427212"/>
                  </a:cubicBezTo>
                  <a:cubicBezTo>
                    <a:pt x="422880" y="433421"/>
                    <a:pt x="415116" y="436488"/>
                    <a:pt x="405854" y="442698"/>
                  </a:cubicBezTo>
                  <a:cubicBezTo>
                    <a:pt x="396592" y="448832"/>
                    <a:pt x="376501" y="453470"/>
                    <a:pt x="368805" y="461250"/>
                  </a:cubicBezTo>
                  <a:cubicBezTo>
                    <a:pt x="361041" y="468955"/>
                    <a:pt x="364174" y="479803"/>
                    <a:pt x="356410" y="487508"/>
                  </a:cubicBezTo>
                  <a:cubicBezTo>
                    <a:pt x="348715" y="495213"/>
                    <a:pt x="330190" y="499852"/>
                    <a:pt x="323993" y="507632"/>
                  </a:cubicBezTo>
                  <a:cubicBezTo>
                    <a:pt x="317864" y="515337"/>
                    <a:pt x="322495" y="529251"/>
                    <a:pt x="317864" y="533890"/>
                  </a:cubicBezTo>
                  <a:cubicBezTo>
                    <a:pt x="313232" y="538528"/>
                    <a:pt x="307035" y="530748"/>
                    <a:pt x="299271" y="533890"/>
                  </a:cubicBezTo>
                  <a:cubicBezTo>
                    <a:pt x="291575" y="536957"/>
                    <a:pt x="276116" y="543166"/>
                    <a:pt x="271485" y="552442"/>
                  </a:cubicBezTo>
                  <a:cubicBezTo>
                    <a:pt x="266854" y="561718"/>
                    <a:pt x="271485" y="572491"/>
                    <a:pt x="271485" y="586406"/>
                  </a:cubicBezTo>
                  <a:cubicBezTo>
                    <a:pt x="271485" y="600320"/>
                    <a:pt x="274618" y="620444"/>
                    <a:pt x="271485" y="635854"/>
                  </a:cubicBezTo>
                  <a:cubicBezTo>
                    <a:pt x="268420" y="651340"/>
                    <a:pt x="257592" y="668321"/>
                    <a:pt x="249896" y="682236"/>
                  </a:cubicBezTo>
                  <a:cubicBezTo>
                    <a:pt x="242132" y="696150"/>
                    <a:pt x="234436" y="708494"/>
                    <a:pt x="226741" y="716274"/>
                  </a:cubicBezTo>
                  <a:cubicBezTo>
                    <a:pt x="220918" y="722053"/>
                    <a:pt x="218619" y="736542"/>
                    <a:pt x="211312" y="734305"/>
                  </a:cubicBezTo>
                  <a:lnTo>
                    <a:pt x="202019" y="725550"/>
                  </a:lnTo>
                  <a:cubicBezTo>
                    <a:pt x="186559" y="703856"/>
                    <a:pt x="151077" y="626578"/>
                    <a:pt x="134051" y="581767"/>
                  </a:cubicBezTo>
                  <a:cubicBezTo>
                    <a:pt x="117093" y="536957"/>
                    <a:pt x="107831" y="482870"/>
                    <a:pt x="100067" y="451974"/>
                  </a:cubicBezTo>
                  <a:cubicBezTo>
                    <a:pt x="92372" y="421003"/>
                    <a:pt x="97003" y="404021"/>
                    <a:pt x="90805" y="399383"/>
                  </a:cubicBezTo>
                  <a:cubicBezTo>
                    <a:pt x="84676" y="394745"/>
                    <a:pt x="73847" y="425641"/>
                    <a:pt x="63019" y="427212"/>
                  </a:cubicBezTo>
                  <a:cubicBezTo>
                    <a:pt x="52190" y="428783"/>
                    <a:pt x="27537" y="414869"/>
                    <a:pt x="21339" y="408660"/>
                  </a:cubicBezTo>
                  <a:cubicBezTo>
                    <a:pt x="15142" y="402525"/>
                    <a:pt x="16708" y="391678"/>
                    <a:pt x="21339" y="387040"/>
                  </a:cubicBezTo>
                  <a:cubicBezTo>
                    <a:pt x="25970" y="382402"/>
                    <a:pt x="52190" y="379334"/>
                    <a:pt x="49126" y="377763"/>
                  </a:cubicBezTo>
                  <a:cubicBezTo>
                    <a:pt x="46061" y="376193"/>
                    <a:pt x="12077" y="377763"/>
                    <a:pt x="4313" y="373125"/>
                  </a:cubicBezTo>
                  <a:cubicBezTo>
                    <a:pt x="-3382" y="368487"/>
                    <a:pt x="1249" y="357640"/>
                    <a:pt x="2815" y="353002"/>
                  </a:cubicBezTo>
                  <a:lnTo>
                    <a:pt x="18207" y="340658"/>
                  </a:lnTo>
                  <a:cubicBezTo>
                    <a:pt x="25970" y="339087"/>
                    <a:pt x="42928" y="342229"/>
                    <a:pt x="50692" y="340658"/>
                  </a:cubicBezTo>
                  <a:cubicBezTo>
                    <a:pt x="58388" y="339087"/>
                    <a:pt x="61453" y="334449"/>
                    <a:pt x="63019" y="329811"/>
                  </a:cubicBezTo>
                  <a:lnTo>
                    <a:pt x="63019" y="311333"/>
                  </a:lnTo>
                  <a:cubicBezTo>
                    <a:pt x="61453" y="306695"/>
                    <a:pt x="52190" y="308191"/>
                    <a:pt x="49126" y="303553"/>
                  </a:cubicBezTo>
                  <a:cubicBezTo>
                    <a:pt x="46061" y="298915"/>
                    <a:pt x="44495" y="286572"/>
                    <a:pt x="39864" y="280362"/>
                  </a:cubicBezTo>
                  <a:cubicBezTo>
                    <a:pt x="35233" y="274228"/>
                    <a:pt x="19773" y="266448"/>
                    <a:pt x="21339" y="261810"/>
                  </a:cubicBezTo>
                  <a:cubicBezTo>
                    <a:pt x="22838" y="257172"/>
                    <a:pt x="44495" y="252534"/>
                    <a:pt x="53757" y="251037"/>
                  </a:cubicBezTo>
                  <a:cubicBezTo>
                    <a:pt x="63019" y="249466"/>
                    <a:pt x="73847" y="257172"/>
                    <a:pt x="81543" y="251037"/>
                  </a:cubicBezTo>
                  <a:cubicBezTo>
                    <a:pt x="89307" y="244828"/>
                    <a:pt x="86174" y="227847"/>
                    <a:pt x="95436" y="215503"/>
                  </a:cubicBezTo>
                  <a:cubicBezTo>
                    <a:pt x="104698" y="203085"/>
                    <a:pt x="127854" y="187674"/>
                    <a:pt x="137116" y="173760"/>
                  </a:cubicBezTo>
                  <a:cubicBezTo>
                    <a:pt x="146446" y="159845"/>
                    <a:pt x="157207" y="138226"/>
                    <a:pt x="155708" y="127378"/>
                  </a:cubicBezTo>
                  <a:cubicBezTo>
                    <a:pt x="154142" y="116531"/>
                    <a:pt x="130987" y="121169"/>
                    <a:pt x="124789" y="111893"/>
                  </a:cubicBezTo>
                  <a:cubicBezTo>
                    <a:pt x="118592" y="102617"/>
                    <a:pt x="118592" y="80997"/>
                    <a:pt x="117093" y="74788"/>
                  </a:cubicBezTo>
                  <a:cubicBezTo>
                    <a:pt x="115943" y="70284"/>
                    <a:pt x="112297" y="72393"/>
                    <a:pt x="110896" y="71721"/>
                  </a:cubicBezTo>
                  <a:cubicBezTo>
                    <a:pt x="112462" y="68653"/>
                    <a:pt x="121724" y="56235"/>
                    <a:pt x="123223" y="51597"/>
                  </a:cubicBezTo>
                  <a:cubicBezTo>
                    <a:pt x="124789" y="46959"/>
                    <a:pt x="123223" y="45463"/>
                    <a:pt x="118592" y="42395"/>
                  </a:cubicBezTo>
                  <a:cubicBezTo>
                    <a:pt x="113961" y="39254"/>
                    <a:pt x="98569" y="33119"/>
                    <a:pt x="95436" y="28481"/>
                  </a:cubicBezTo>
                  <a:cubicBezTo>
                    <a:pt x="92372" y="23843"/>
                    <a:pt x="95436" y="14567"/>
                    <a:pt x="100067" y="9928"/>
                  </a:cubicBezTo>
                  <a:cubicBezTo>
                    <a:pt x="104698" y="5290"/>
                    <a:pt x="120158" y="3719"/>
                    <a:pt x="123223" y="2148"/>
                  </a:cubicBezTo>
                  <a:lnTo>
                    <a:pt x="120374" y="5011"/>
                  </a:lnTo>
                  <a:cubicBezTo>
                    <a:pt x="112239" y="6642"/>
                    <a:pt x="104549" y="8451"/>
                    <a:pt x="101634" y="9928"/>
                  </a:cubicBezTo>
                  <a:cubicBezTo>
                    <a:pt x="95436" y="12996"/>
                    <a:pt x="101634" y="20701"/>
                    <a:pt x="101634" y="23843"/>
                  </a:cubicBezTo>
                  <a:lnTo>
                    <a:pt x="120374" y="5011"/>
                  </a:lnTo>
                  <a:cubicBezTo>
                    <a:pt x="129524" y="3119"/>
                    <a:pt x="139237" y="1445"/>
                    <a:pt x="143313" y="652"/>
                  </a:cubicBezTo>
                  <a:cubicBezTo>
                    <a:pt x="147195" y="-133"/>
                    <a:pt x="147979" y="-133"/>
                    <a:pt x="148370" y="25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45" name="Freeform 616"/>
            <p:cNvSpPr>
              <a:spLocks/>
            </p:cNvSpPr>
            <p:nvPr>
              <p:custDataLst>
                <p:tags r:id="rId113"/>
              </p:custDataLst>
            </p:nvPr>
          </p:nvSpPr>
          <p:spPr bwMode="gray">
            <a:xfrm>
              <a:off x="4145985" y="2862618"/>
              <a:ext cx="120994" cy="221161"/>
            </a:xfrm>
            <a:custGeom>
              <a:avLst/>
              <a:gdLst>
                <a:gd name="T0" fmla="*/ 65 w 125"/>
                <a:gd name="T1" fmla="*/ 217 h 229"/>
                <a:gd name="T2" fmla="*/ 50 w 125"/>
                <a:gd name="T3" fmla="*/ 208 h 229"/>
                <a:gd name="T4" fmla="*/ 46 w 125"/>
                <a:gd name="T5" fmla="*/ 192 h 229"/>
                <a:gd name="T6" fmla="*/ 43 w 125"/>
                <a:gd name="T7" fmla="*/ 180 h 229"/>
                <a:gd name="T8" fmla="*/ 46 w 125"/>
                <a:gd name="T9" fmla="*/ 168 h 229"/>
                <a:gd name="T10" fmla="*/ 34 w 125"/>
                <a:gd name="T11" fmla="*/ 171 h 229"/>
                <a:gd name="T12" fmla="*/ 28 w 125"/>
                <a:gd name="T13" fmla="*/ 157 h 229"/>
                <a:gd name="T14" fmla="*/ 41 w 125"/>
                <a:gd name="T15" fmla="*/ 142 h 229"/>
                <a:gd name="T16" fmla="*/ 43 w 125"/>
                <a:gd name="T17" fmla="*/ 127 h 229"/>
                <a:gd name="T18" fmla="*/ 44 w 125"/>
                <a:gd name="T19" fmla="*/ 112 h 229"/>
                <a:gd name="T20" fmla="*/ 53 w 125"/>
                <a:gd name="T21" fmla="*/ 108 h 229"/>
                <a:gd name="T22" fmla="*/ 58 w 125"/>
                <a:gd name="T23" fmla="*/ 124 h 229"/>
                <a:gd name="T24" fmla="*/ 71 w 125"/>
                <a:gd name="T25" fmla="*/ 126 h 229"/>
                <a:gd name="T26" fmla="*/ 82 w 125"/>
                <a:gd name="T27" fmla="*/ 139 h 229"/>
                <a:gd name="T28" fmla="*/ 91 w 125"/>
                <a:gd name="T29" fmla="*/ 153 h 229"/>
                <a:gd name="T30" fmla="*/ 101 w 125"/>
                <a:gd name="T31" fmla="*/ 157 h 229"/>
                <a:gd name="T32" fmla="*/ 112 w 125"/>
                <a:gd name="T33" fmla="*/ 159 h 229"/>
                <a:gd name="T34" fmla="*/ 100 w 125"/>
                <a:gd name="T35" fmla="*/ 147 h 229"/>
                <a:gd name="T36" fmla="*/ 83 w 125"/>
                <a:gd name="T37" fmla="*/ 126 h 229"/>
                <a:gd name="T38" fmla="*/ 83 w 125"/>
                <a:gd name="T39" fmla="*/ 100 h 229"/>
                <a:gd name="T40" fmla="*/ 106 w 125"/>
                <a:gd name="T41" fmla="*/ 99 h 229"/>
                <a:gd name="T42" fmla="*/ 122 w 125"/>
                <a:gd name="T43" fmla="*/ 94 h 229"/>
                <a:gd name="T44" fmla="*/ 124 w 125"/>
                <a:gd name="T45" fmla="*/ 73 h 229"/>
                <a:gd name="T46" fmla="*/ 113 w 125"/>
                <a:gd name="T47" fmla="*/ 63 h 229"/>
                <a:gd name="T48" fmla="*/ 115 w 125"/>
                <a:gd name="T49" fmla="*/ 46 h 229"/>
                <a:gd name="T50" fmla="*/ 97 w 125"/>
                <a:gd name="T51" fmla="*/ 33 h 229"/>
                <a:gd name="T52" fmla="*/ 83 w 125"/>
                <a:gd name="T53" fmla="*/ 39 h 229"/>
                <a:gd name="T54" fmla="*/ 68 w 125"/>
                <a:gd name="T55" fmla="*/ 36 h 229"/>
                <a:gd name="T56" fmla="*/ 58 w 125"/>
                <a:gd name="T57" fmla="*/ 46 h 229"/>
                <a:gd name="T58" fmla="*/ 62 w 125"/>
                <a:gd name="T59" fmla="*/ 19 h 229"/>
                <a:gd name="T60" fmla="*/ 50 w 125"/>
                <a:gd name="T61" fmla="*/ 9 h 229"/>
                <a:gd name="T62" fmla="*/ 43 w 125"/>
                <a:gd name="T63" fmla="*/ 0 h 229"/>
                <a:gd name="T64" fmla="*/ 17 w 125"/>
                <a:gd name="T65" fmla="*/ 7 h 229"/>
                <a:gd name="T66" fmla="*/ 5 w 125"/>
                <a:gd name="T67" fmla="*/ 18 h 229"/>
                <a:gd name="T68" fmla="*/ 5 w 125"/>
                <a:gd name="T69" fmla="*/ 37 h 229"/>
                <a:gd name="T70" fmla="*/ 17 w 125"/>
                <a:gd name="T71" fmla="*/ 57 h 229"/>
                <a:gd name="T72" fmla="*/ 16 w 125"/>
                <a:gd name="T73" fmla="*/ 73 h 229"/>
                <a:gd name="T74" fmla="*/ 3 w 125"/>
                <a:gd name="T75" fmla="*/ 63 h 229"/>
                <a:gd name="T76" fmla="*/ 1 w 125"/>
                <a:gd name="T77" fmla="*/ 57 h 229"/>
                <a:gd name="T78" fmla="*/ 7 w 125"/>
                <a:gd name="T79" fmla="*/ 90 h 229"/>
                <a:gd name="T80" fmla="*/ 8 w 125"/>
                <a:gd name="T81" fmla="*/ 100 h 229"/>
                <a:gd name="T82" fmla="*/ 17 w 125"/>
                <a:gd name="T83" fmla="*/ 111 h 229"/>
                <a:gd name="T84" fmla="*/ 5 w 125"/>
                <a:gd name="T85" fmla="*/ 117 h 229"/>
                <a:gd name="T86" fmla="*/ 2 w 125"/>
                <a:gd name="T87" fmla="*/ 124 h 229"/>
                <a:gd name="T88" fmla="*/ 14 w 125"/>
                <a:gd name="T89" fmla="*/ 150 h 229"/>
                <a:gd name="T90" fmla="*/ 14 w 125"/>
                <a:gd name="T91" fmla="*/ 163 h 229"/>
                <a:gd name="T92" fmla="*/ 25 w 125"/>
                <a:gd name="T93" fmla="*/ 192 h 229"/>
                <a:gd name="T94" fmla="*/ 38 w 125"/>
                <a:gd name="T95" fmla="*/ 213 h 229"/>
                <a:gd name="T96" fmla="*/ 58 w 125"/>
                <a:gd name="T97" fmla="*/ 229 h 229"/>
                <a:gd name="T98" fmla="*/ 65 w 125"/>
                <a:gd name="T99" fmla="*/ 21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5" h="229">
                  <a:moveTo>
                    <a:pt x="65" y="217"/>
                  </a:moveTo>
                  <a:cubicBezTo>
                    <a:pt x="64" y="214"/>
                    <a:pt x="53" y="212"/>
                    <a:pt x="50" y="208"/>
                  </a:cubicBezTo>
                  <a:cubicBezTo>
                    <a:pt x="47" y="204"/>
                    <a:pt x="47" y="197"/>
                    <a:pt x="46" y="192"/>
                  </a:cubicBezTo>
                  <a:cubicBezTo>
                    <a:pt x="45" y="187"/>
                    <a:pt x="43" y="184"/>
                    <a:pt x="43" y="180"/>
                  </a:cubicBezTo>
                  <a:cubicBezTo>
                    <a:pt x="43" y="176"/>
                    <a:pt x="47" y="169"/>
                    <a:pt x="46" y="168"/>
                  </a:cubicBezTo>
                  <a:cubicBezTo>
                    <a:pt x="45" y="167"/>
                    <a:pt x="37" y="173"/>
                    <a:pt x="34" y="171"/>
                  </a:cubicBezTo>
                  <a:cubicBezTo>
                    <a:pt x="31" y="169"/>
                    <a:pt x="27" y="162"/>
                    <a:pt x="28" y="157"/>
                  </a:cubicBezTo>
                  <a:cubicBezTo>
                    <a:pt x="29" y="152"/>
                    <a:pt x="39" y="147"/>
                    <a:pt x="41" y="142"/>
                  </a:cubicBezTo>
                  <a:cubicBezTo>
                    <a:pt x="43" y="137"/>
                    <a:pt x="43" y="132"/>
                    <a:pt x="43" y="127"/>
                  </a:cubicBezTo>
                  <a:cubicBezTo>
                    <a:pt x="43" y="122"/>
                    <a:pt x="42" y="115"/>
                    <a:pt x="44" y="112"/>
                  </a:cubicBezTo>
                  <a:cubicBezTo>
                    <a:pt x="46" y="109"/>
                    <a:pt x="51" y="106"/>
                    <a:pt x="53" y="108"/>
                  </a:cubicBezTo>
                  <a:cubicBezTo>
                    <a:pt x="55" y="110"/>
                    <a:pt x="55" y="121"/>
                    <a:pt x="58" y="124"/>
                  </a:cubicBezTo>
                  <a:cubicBezTo>
                    <a:pt x="61" y="127"/>
                    <a:pt x="67" y="124"/>
                    <a:pt x="71" y="126"/>
                  </a:cubicBezTo>
                  <a:cubicBezTo>
                    <a:pt x="75" y="128"/>
                    <a:pt x="79" y="134"/>
                    <a:pt x="82" y="139"/>
                  </a:cubicBezTo>
                  <a:cubicBezTo>
                    <a:pt x="85" y="144"/>
                    <a:pt x="88" y="150"/>
                    <a:pt x="91" y="153"/>
                  </a:cubicBezTo>
                  <a:cubicBezTo>
                    <a:pt x="94" y="156"/>
                    <a:pt x="97" y="156"/>
                    <a:pt x="101" y="157"/>
                  </a:cubicBezTo>
                  <a:cubicBezTo>
                    <a:pt x="105" y="158"/>
                    <a:pt x="112" y="161"/>
                    <a:pt x="112" y="159"/>
                  </a:cubicBezTo>
                  <a:cubicBezTo>
                    <a:pt x="112" y="157"/>
                    <a:pt x="105" y="152"/>
                    <a:pt x="100" y="147"/>
                  </a:cubicBezTo>
                  <a:cubicBezTo>
                    <a:pt x="95" y="142"/>
                    <a:pt x="86" y="134"/>
                    <a:pt x="83" y="126"/>
                  </a:cubicBezTo>
                  <a:cubicBezTo>
                    <a:pt x="80" y="118"/>
                    <a:pt x="79" y="104"/>
                    <a:pt x="83" y="100"/>
                  </a:cubicBezTo>
                  <a:cubicBezTo>
                    <a:pt x="87" y="96"/>
                    <a:pt x="100" y="100"/>
                    <a:pt x="106" y="99"/>
                  </a:cubicBezTo>
                  <a:cubicBezTo>
                    <a:pt x="112" y="98"/>
                    <a:pt x="119" y="98"/>
                    <a:pt x="122" y="94"/>
                  </a:cubicBezTo>
                  <a:cubicBezTo>
                    <a:pt x="125" y="90"/>
                    <a:pt x="125" y="78"/>
                    <a:pt x="124" y="73"/>
                  </a:cubicBezTo>
                  <a:cubicBezTo>
                    <a:pt x="123" y="68"/>
                    <a:pt x="114" y="67"/>
                    <a:pt x="113" y="63"/>
                  </a:cubicBezTo>
                  <a:cubicBezTo>
                    <a:pt x="112" y="59"/>
                    <a:pt x="118" y="51"/>
                    <a:pt x="115" y="46"/>
                  </a:cubicBezTo>
                  <a:cubicBezTo>
                    <a:pt x="112" y="41"/>
                    <a:pt x="102" y="34"/>
                    <a:pt x="97" y="33"/>
                  </a:cubicBezTo>
                  <a:cubicBezTo>
                    <a:pt x="92" y="32"/>
                    <a:pt x="88" y="39"/>
                    <a:pt x="83" y="39"/>
                  </a:cubicBezTo>
                  <a:cubicBezTo>
                    <a:pt x="78" y="39"/>
                    <a:pt x="72" y="35"/>
                    <a:pt x="68" y="36"/>
                  </a:cubicBezTo>
                  <a:cubicBezTo>
                    <a:pt x="64" y="37"/>
                    <a:pt x="59" y="49"/>
                    <a:pt x="58" y="46"/>
                  </a:cubicBezTo>
                  <a:cubicBezTo>
                    <a:pt x="57" y="43"/>
                    <a:pt x="63" y="25"/>
                    <a:pt x="62" y="19"/>
                  </a:cubicBezTo>
                  <a:cubicBezTo>
                    <a:pt x="61" y="13"/>
                    <a:pt x="53" y="12"/>
                    <a:pt x="50" y="9"/>
                  </a:cubicBezTo>
                  <a:cubicBezTo>
                    <a:pt x="47" y="6"/>
                    <a:pt x="48" y="0"/>
                    <a:pt x="43" y="0"/>
                  </a:cubicBezTo>
                  <a:cubicBezTo>
                    <a:pt x="38" y="0"/>
                    <a:pt x="23" y="4"/>
                    <a:pt x="17" y="7"/>
                  </a:cubicBezTo>
                  <a:cubicBezTo>
                    <a:pt x="11" y="10"/>
                    <a:pt x="7" y="13"/>
                    <a:pt x="5" y="18"/>
                  </a:cubicBezTo>
                  <a:cubicBezTo>
                    <a:pt x="3" y="23"/>
                    <a:pt x="3" y="30"/>
                    <a:pt x="5" y="37"/>
                  </a:cubicBezTo>
                  <a:cubicBezTo>
                    <a:pt x="7" y="44"/>
                    <a:pt x="15" y="51"/>
                    <a:pt x="17" y="57"/>
                  </a:cubicBezTo>
                  <a:cubicBezTo>
                    <a:pt x="19" y="63"/>
                    <a:pt x="18" y="72"/>
                    <a:pt x="16" y="73"/>
                  </a:cubicBezTo>
                  <a:cubicBezTo>
                    <a:pt x="14" y="74"/>
                    <a:pt x="5" y="66"/>
                    <a:pt x="3" y="63"/>
                  </a:cubicBezTo>
                  <a:cubicBezTo>
                    <a:pt x="1" y="60"/>
                    <a:pt x="0" y="53"/>
                    <a:pt x="1" y="57"/>
                  </a:cubicBezTo>
                  <a:cubicBezTo>
                    <a:pt x="2" y="61"/>
                    <a:pt x="6" y="83"/>
                    <a:pt x="7" y="90"/>
                  </a:cubicBezTo>
                  <a:cubicBezTo>
                    <a:pt x="8" y="97"/>
                    <a:pt x="6" y="97"/>
                    <a:pt x="8" y="100"/>
                  </a:cubicBezTo>
                  <a:cubicBezTo>
                    <a:pt x="10" y="103"/>
                    <a:pt x="17" y="108"/>
                    <a:pt x="17" y="111"/>
                  </a:cubicBezTo>
                  <a:cubicBezTo>
                    <a:pt x="17" y="114"/>
                    <a:pt x="7" y="115"/>
                    <a:pt x="5" y="117"/>
                  </a:cubicBezTo>
                  <a:cubicBezTo>
                    <a:pt x="3" y="119"/>
                    <a:pt x="1" y="119"/>
                    <a:pt x="2" y="124"/>
                  </a:cubicBezTo>
                  <a:cubicBezTo>
                    <a:pt x="3" y="129"/>
                    <a:pt x="12" y="144"/>
                    <a:pt x="14" y="150"/>
                  </a:cubicBezTo>
                  <a:cubicBezTo>
                    <a:pt x="16" y="156"/>
                    <a:pt x="12" y="156"/>
                    <a:pt x="14" y="163"/>
                  </a:cubicBezTo>
                  <a:cubicBezTo>
                    <a:pt x="16" y="170"/>
                    <a:pt x="21" y="184"/>
                    <a:pt x="25" y="192"/>
                  </a:cubicBezTo>
                  <a:cubicBezTo>
                    <a:pt x="29" y="200"/>
                    <a:pt x="33" y="207"/>
                    <a:pt x="38" y="213"/>
                  </a:cubicBezTo>
                  <a:cubicBezTo>
                    <a:pt x="43" y="219"/>
                    <a:pt x="53" y="229"/>
                    <a:pt x="58" y="229"/>
                  </a:cubicBezTo>
                  <a:cubicBezTo>
                    <a:pt x="63" y="229"/>
                    <a:pt x="66" y="220"/>
                    <a:pt x="65" y="217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46" name="Freeform 617"/>
            <p:cNvSpPr>
              <a:spLocks/>
            </p:cNvSpPr>
            <p:nvPr>
              <p:custDataLst>
                <p:tags r:id="rId114"/>
              </p:custDataLst>
            </p:nvPr>
          </p:nvSpPr>
          <p:spPr bwMode="gray">
            <a:xfrm>
              <a:off x="4219374" y="2816006"/>
              <a:ext cx="105126" cy="226119"/>
            </a:xfrm>
            <a:custGeom>
              <a:avLst/>
              <a:gdLst>
                <a:gd name="T0" fmla="*/ 33 w 109"/>
                <a:gd name="T1" fmla="*/ 202 h 235"/>
                <a:gd name="T2" fmla="*/ 49 w 109"/>
                <a:gd name="T3" fmla="*/ 187 h 235"/>
                <a:gd name="T4" fmla="*/ 75 w 109"/>
                <a:gd name="T5" fmla="*/ 176 h 235"/>
                <a:gd name="T6" fmla="*/ 75 w 109"/>
                <a:gd name="T7" fmla="*/ 148 h 235"/>
                <a:gd name="T8" fmla="*/ 54 w 109"/>
                <a:gd name="T9" fmla="*/ 143 h 235"/>
                <a:gd name="T10" fmla="*/ 76 w 109"/>
                <a:gd name="T11" fmla="*/ 139 h 235"/>
                <a:gd name="T12" fmla="*/ 64 w 109"/>
                <a:gd name="T13" fmla="*/ 110 h 235"/>
                <a:gd name="T14" fmla="*/ 45 w 109"/>
                <a:gd name="T15" fmla="*/ 86 h 235"/>
                <a:gd name="T16" fmla="*/ 25 w 109"/>
                <a:gd name="T17" fmla="*/ 70 h 235"/>
                <a:gd name="T18" fmla="*/ 39 w 109"/>
                <a:gd name="T19" fmla="*/ 53 h 235"/>
                <a:gd name="T20" fmla="*/ 27 w 109"/>
                <a:gd name="T21" fmla="*/ 45 h 235"/>
                <a:gd name="T22" fmla="*/ 20 w 109"/>
                <a:gd name="T23" fmla="*/ 38 h 235"/>
                <a:gd name="T24" fmla="*/ 6 w 109"/>
                <a:gd name="T25" fmla="*/ 28 h 235"/>
                <a:gd name="T26" fmla="*/ 0 w 109"/>
                <a:gd name="T27" fmla="*/ 16 h 235"/>
                <a:gd name="T28" fmla="*/ 6 w 109"/>
                <a:gd name="T29" fmla="*/ 7 h 235"/>
                <a:gd name="T30" fmla="*/ 19 w 109"/>
                <a:gd name="T31" fmla="*/ 16 h 235"/>
                <a:gd name="T32" fmla="*/ 34 w 109"/>
                <a:gd name="T33" fmla="*/ 10 h 235"/>
                <a:gd name="T34" fmla="*/ 45 w 109"/>
                <a:gd name="T35" fmla="*/ 4 h 235"/>
                <a:gd name="T36" fmla="*/ 81 w 109"/>
                <a:gd name="T37" fmla="*/ 32 h 235"/>
                <a:gd name="T38" fmla="*/ 63 w 109"/>
                <a:gd name="T39" fmla="*/ 49 h 235"/>
                <a:gd name="T40" fmla="*/ 51 w 109"/>
                <a:gd name="T41" fmla="*/ 65 h 235"/>
                <a:gd name="T42" fmla="*/ 55 w 109"/>
                <a:gd name="T43" fmla="*/ 82 h 235"/>
                <a:gd name="T44" fmla="*/ 79 w 109"/>
                <a:gd name="T45" fmla="*/ 110 h 235"/>
                <a:gd name="T46" fmla="*/ 94 w 109"/>
                <a:gd name="T47" fmla="*/ 130 h 235"/>
                <a:gd name="T48" fmla="*/ 105 w 109"/>
                <a:gd name="T49" fmla="*/ 154 h 235"/>
                <a:gd name="T50" fmla="*/ 105 w 109"/>
                <a:gd name="T51" fmla="*/ 193 h 235"/>
                <a:gd name="T52" fmla="*/ 81 w 109"/>
                <a:gd name="T53" fmla="*/ 197 h 235"/>
                <a:gd name="T54" fmla="*/ 64 w 109"/>
                <a:gd name="T55" fmla="*/ 209 h 235"/>
                <a:gd name="T56" fmla="*/ 61 w 109"/>
                <a:gd name="T57" fmla="*/ 221 h 235"/>
                <a:gd name="T58" fmla="*/ 43 w 109"/>
                <a:gd name="T59" fmla="*/ 235 h 235"/>
                <a:gd name="T60" fmla="*/ 36 w 109"/>
                <a:gd name="T61" fmla="*/ 220 h 235"/>
                <a:gd name="T62" fmla="*/ 33 w 109"/>
                <a:gd name="T63" fmla="*/ 202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" h="235">
                  <a:moveTo>
                    <a:pt x="33" y="202"/>
                  </a:moveTo>
                  <a:cubicBezTo>
                    <a:pt x="35" y="197"/>
                    <a:pt x="42" y="191"/>
                    <a:pt x="49" y="187"/>
                  </a:cubicBezTo>
                  <a:cubicBezTo>
                    <a:pt x="56" y="183"/>
                    <a:pt x="71" y="182"/>
                    <a:pt x="75" y="176"/>
                  </a:cubicBezTo>
                  <a:cubicBezTo>
                    <a:pt x="79" y="170"/>
                    <a:pt x="78" y="153"/>
                    <a:pt x="75" y="148"/>
                  </a:cubicBezTo>
                  <a:cubicBezTo>
                    <a:pt x="72" y="143"/>
                    <a:pt x="54" y="144"/>
                    <a:pt x="54" y="143"/>
                  </a:cubicBezTo>
                  <a:cubicBezTo>
                    <a:pt x="54" y="142"/>
                    <a:pt x="74" y="144"/>
                    <a:pt x="76" y="139"/>
                  </a:cubicBezTo>
                  <a:cubicBezTo>
                    <a:pt x="78" y="134"/>
                    <a:pt x="69" y="119"/>
                    <a:pt x="64" y="110"/>
                  </a:cubicBezTo>
                  <a:cubicBezTo>
                    <a:pt x="59" y="101"/>
                    <a:pt x="51" y="93"/>
                    <a:pt x="45" y="86"/>
                  </a:cubicBezTo>
                  <a:cubicBezTo>
                    <a:pt x="39" y="79"/>
                    <a:pt x="26" y="75"/>
                    <a:pt x="25" y="70"/>
                  </a:cubicBezTo>
                  <a:cubicBezTo>
                    <a:pt x="24" y="65"/>
                    <a:pt x="39" y="57"/>
                    <a:pt x="39" y="53"/>
                  </a:cubicBezTo>
                  <a:cubicBezTo>
                    <a:pt x="39" y="49"/>
                    <a:pt x="30" y="47"/>
                    <a:pt x="27" y="45"/>
                  </a:cubicBezTo>
                  <a:cubicBezTo>
                    <a:pt x="24" y="43"/>
                    <a:pt x="23" y="41"/>
                    <a:pt x="20" y="38"/>
                  </a:cubicBezTo>
                  <a:cubicBezTo>
                    <a:pt x="17" y="35"/>
                    <a:pt x="9" y="32"/>
                    <a:pt x="6" y="28"/>
                  </a:cubicBezTo>
                  <a:cubicBezTo>
                    <a:pt x="3" y="24"/>
                    <a:pt x="0" y="19"/>
                    <a:pt x="0" y="16"/>
                  </a:cubicBezTo>
                  <a:cubicBezTo>
                    <a:pt x="0" y="13"/>
                    <a:pt x="3" y="7"/>
                    <a:pt x="6" y="7"/>
                  </a:cubicBezTo>
                  <a:cubicBezTo>
                    <a:pt x="9" y="7"/>
                    <a:pt x="14" y="15"/>
                    <a:pt x="19" y="16"/>
                  </a:cubicBezTo>
                  <a:cubicBezTo>
                    <a:pt x="24" y="17"/>
                    <a:pt x="30" y="12"/>
                    <a:pt x="34" y="10"/>
                  </a:cubicBezTo>
                  <a:cubicBezTo>
                    <a:pt x="38" y="8"/>
                    <a:pt x="37" y="0"/>
                    <a:pt x="45" y="4"/>
                  </a:cubicBezTo>
                  <a:cubicBezTo>
                    <a:pt x="53" y="8"/>
                    <a:pt x="78" y="25"/>
                    <a:pt x="81" y="32"/>
                  </a:cubicBezTo>
                  <a:cubicBezTo>
                    <a:pt x="84" y="39"/>
                    <a:pt x="68" y="43"/>
                    <a:pt x="63" y="49"/>
                  </a:cubicBezTo>
                  <a:cubicBezTo>
                    <a:pt x="58" y="55"/>
                    <a:pt x="52" y="60"/>
                    <a:pt x="51" y="65"/>
                  </a:cubicBezTo>
                  <a:cubicBezTo>
                    <a:pt x="50" y="70"/>
                    <a:pt x="50" y="75"/>
                    <a:pt x="55" y="82"/>
                  </a:cubicBezTo>
                  <a:cubicBezTo>
                    <a:pt x="60" y="89"/>
                    <a:pt x="72" y="102"/>
                    <a:pt x="79" y="110"/>
                  </a:cubicBezTo>
                  <a:cubicBezTo>
                    <a:pt x="86" y="118"/>
                    <a:pt x="90" y="123"/>
                    <a:pt x="94" y="130"/>
                  </a:cubicBezTo>
                  <a:cubicBezTo>
                    <a:pt x="98" y="137"/>
                    <a:pt x="103" y="144"/>
                    <a:pt x="105" y="154"/>
                  </a:cubicBezTo>
                  <a:cubicBezTo>
                    <a:pt x="107" y="164"/>
                    <a:pt x="109" y="186"/>
                    <a:pt x="105" y="193"/>
                  </a:cubicBezTo>
                  <a:cubicBezTo>
                    <a:pt x="101" y="200"/>
                    <a:pt x="88" y="194"/>
                    <a:pt x="81" y="197"/>
                  </a:cubicBezTo>
                  <a:cubicBezTo>
                    <a:pt x="74" y="200"/>
                    <a:pt x="67" y="205"/>
                    <a:pt x="64" y="209"/>
                  </a:cubicBezTo>
                  <a:cubicBezTo>
                    <a:pt x="61" y="213"/>
                    <a:pt x="65" y="217"/>
                    <a:pt x="61" y="221"/>
                  </a:cubicBezTo>
                  <a:cubicBezTo>
                    <a:pt x="57" y="225"/>
                    <a:pt x="47" y="235"/>
                    <a:pt x="43" y="235"/>
                  </a:cubicBezTo>
                  <a:cubicBezTo>
                    <a:pt x="39" y="235"/>
                    <a:pt x="37" y="225"/>
                    <a:pt x="36" y="220"/>
                  </a:cubicBezTo>
                  <a:cubicBezTo>
                    <a:pt x="35" y="215"/>
                    <a:pt x="31" y="207"/>
                    <a:pt x="33" y="202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48" name="Freeform 633"/>
            <p:cNvSpPr>
              <a:spLocks/>
            </p:cNvSpPr>
            <p:nvPr>
              <p:custDataLst>
                <p:tags r:id="rId115"/>
              </p:custDataLst>
            </p:nvPr>
          </p:nvSpPr>
          <p:spPr bwMode="gray">
            <a:xfrm>
              <a:off x="4466319" y="2855676"/>
              <a:ext cx="107109" cy="225128"/>
            </a:xfrm>
            <a:custGeom>
              <a:avLst/>
              <a:gdLst/>
              <a:ahLst/>
              <a:cxnLst/>
              <a:rect l="l" t="t" r="r" b="b"/>
              <a:pathLst>
                <a:path w="171450" h="360363">
                  <a:moveTo>
                    <a:pt x="80593" y="262595"/>
                  </a:moveTo>
                  <a:lnTo>
                    <a:pt x="80319" y="263313"/>
                  </a:lnTo>
                  <a:cubicBezTo>
                    <a:pt x="74971" y="264545"/>
                    <a:pt x="76197" y="263917"/>
                    <a:pt x="80593" y="262595"/>
                  </a:cubicBezTo>
                  <a:close/>
                  <a:moveTo>
                    <a:pt x="51744" y="45901"/>
                  </a:moveTo>
                  <a:cubicBezTo>
                    <a:pt x="55992" y="45515"/>
                    <a:pt x="59467" y="46672"/>
                    <a:pt x="64873" y="52069"/>
                  </a:cubicBezTo>
                  <a:cubicBezTo>
                    <a:pt x="66418" y="62862"/>
                    <a:pt x="66418" y="72114"/>
                    <a:pt x="61784" y="81365"/>
                  </a:cubicBezTo>
                  <a:cubicBezTo>
                    <a:pt x="69507" y="99868"/>
                    <a:pt x="67962" y="112204"/>
                    <a:pt x="47883" y="116830"/>
                  </a:cubicBezTo>
                  <a:cubicBezTo>
                    <a:pt x="30892" y="138417"/>
                    <a:pt x="46338" y="139959"/>
                    <a:pt x="69507" y="141500"/>
                  </a:cubicBezTo>
                  <a:cubicBezTo>
                    <a:pt x="75685" y="169255"/>
                    <a:pt x="75685" y="163087"/>
                    <a:pt x="112756" y="164629"/>
                  </a:cubicBezTo>
                  <a:cubicBezTo>
                    <a:pt x="108122" y="187758"/>
                    <a:pt x="115845" y="195468"/>
                    <a:pt x="135925" y="204720"/>
                  </a:cubicBezTo>
                  <a:cubicBezTo>
                    <a:pt x="139014" y="229390"/>
                    <a:pt x="142103" y="232474"/>
                    <a:pt x="152915" y="250977"/>
                  </a:cubicBezTo>
                  <a:cubicBezTo>
                    <a:pt x="154460" y="281816"/>
                    <a:pt x="154460" y="294151"/>
                    <a:pt x="171450" y="317280"/>
                  </a:cubicBezTo>
                  <a:cubicBezTo>
                    <a:pt x="149826" y="331158"/>
                    <a:pt x="168361" y="341951"/>
                    <a:pt x="135925" y="345035"/>
                  </a:cubicBezTo>
                  <a:lnTo>
                    <a:pt x="131291" y="360069"/>
                  </a:lnTo>
                  <a:cubicBezTo>
                    <a:pt x="128974" y="361225"/>
                    <a:pt x="125112" y="358912"/>
                    <a:pt x="117389" y="354287"/>
                  </a:cubicBezTo>
                  <a:cubicBezTo>
                    <a:pt x="109666" y="343493"/>
                    <a:pt x="100399" y="335784"/>
                    <a:pt x="94221" y="321906"/>
                  </a:cubicBezTo>
                  <a:cubicBezTo>
                    <a:pt x="94221" y="306487"/>
                    <a:pt x="118934" y="267939"/>
                    <a:pt x="117389" y="258687"/>
                  </a:cubicBezTo>
                  <a:cubicBezTo>
                    <a:pt x="117131" y="252616"/>
                    <a:pt x="90607" y="259480"/>
                    <a:pt x="80593" y="262595"/>
                  </a:cubicBezTo>
                  <a:cubicBezTo>
                    <a:pt x="96504" y="254860"/>
                    <a:pt x="58776" y="219961"/>
                    <a:pt x="66418" y="203178"/>
                  </a:cubicBezTo>
                  <a:cubicBezTo>
                    <a:pt x="57150" y="193926"/>
                    <a:pt x="30892" y="209345"/>
                    <a:pt x="24713" y="206262"/>
                  </a:cubicBezTo>
                  <a:cubicBezTo>
                    <a:pt x="32436" y="201636"/>
                    <a:pt x="38615" y="201636"/>
                    <a:pt x="29347" y="187758"/>
                  </a:cubicBezTo>
                  <a:cubicBezTo>
                    <a:pt x="26258" y="183133"/>
                    <a:pt x="15446" y="176965"/>
                    <a:pt x="15446" y="176965"/>
                  </a:cubicBezTo>
                  <a:cubicBezTo>
                    <a:pt x="20079" y="150752"/>
                    <a:pt x="12357" y="143042"/>
                    <a:pt x="0" y="122997"/>
                  </a:cubicBezTo>
                  <a:cubicBezTo>
                    <a:pt x="4634" y="113746"/>
                    <a:pt x="9267" y="110662"/>
                    <a:pt x="13901" y="102952"/>
                  </a:cubicBezTo>
                  <a:cubicBezTo>
                    <a:pt x="13901" y="90617"/>
                    <a:pt x="12357" y="78281"/>
                    <a:pt x="15446" y="67488"/>
                  </a:cubicBezTo>
                  <a:cubicBezTo>
                    <a:pt x="16990" y="59778"/>
                    <a:pt x="33981" y="58236"/>
                    <a:pt x="33981" y="48985"/>
                  </a:cubicBezTo>
                  <a:cubicBezTo>
                    <a:pt x="42476" y="48214"/>
                    <a:pt x="47496" y="46286"/>
                    <a:pt x="51744" y="45901"/>
                  </a:cubicBezTo>
                  <a:close/>
                  <a:moveTo>
                    <a:pt x="51753" y="0"/>
                  </a:moveTo>
                  <a:cubicBezTo>
                    <a:pt x="56198" y="12212"/>
                    <a:pt x="50272" y="21371"/>
                    <a:pt x="65088" y="25950"/>
                  </a:cubicBezTo>
                  <a:cubicBezTo>
                    <a:pt x="54717" y="39688"/>
                    <a:pt x="50272" y="25950"/>
                    <a:pt x="42863" y="16791"/>
                  </a:cubicBezTo>
                  <a:cubicBezTo>
                    <a:pt x="45826" y="1527"/>
                    <a:pt x="42863" y="7632"/>
                    <a:pt x="51753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49" name="Freeform 635"/>
            <p:cNvSpPr>
              <a:spLocks/>
            </p:cNvSpPr>
            <p:nvPr>
              <p:custDataLst>
                <p:tags r:id="rId116"/>
              </p:custDataLst>
            </p:nvPr>
          </p:nvSpPr>
          <p:spPr bwMode="gray">
            <a:xfrm>
              <a:off x="4535743" y="2483769"/>
              <a:ext cx="87274" cy="91241"/>
            </a:xfrm>
            <a:custGeom>
              <a:avLst/>
              <a:gdLst>
                <a:gd name="T0" fmla="*/ 1 w 91"/>
                <a:gd name="T1" fmla="*/ 61 h 95"/>
                <a:gd name="T2" fmla="*/ 12 w 91"/>
                <a:gd name="T3" fmla="*/ 63 h 95"/>
                <a:gd name="T4" fmla="*/ 9 w 91"/>
                <a:gd name="T5" fmla="*/ 84 h 95"/>
                <a:gd name="T6" fmla="*/ 4 w 91"/>
                <a:gd name="T7" fmla="*/ 94 h 95"/>
                <a:gd name="T8" fmla="*/ 24 w 91"/>
                <a:gd name="T9" fmla="*/ 90 h 95"/>
                <a:gd name="T10" fmla="*/ 51 w 91"/>
                <a:gd name="T11" fmla="*/ 69 h 95"/>
                <a:gd name="T12" fmla="*/ 58 w 91"/>
                <a:gd name="T13" fmla="*/ 52 h 95"/>
                <a:gd name="T14" fmla="*/ 79 w 91"/>
                <a:gd name="T15" fmla="*/ 37 h 95"/>
                <a:gd name="T16" fmla="*/ 91 w 91"/>
                <a:gd name="T17" fmla="*/ 13 h 95"/>
                <a:gd name="T18" fmla="*/ 78 w 91"/>
                <a:gd name="T19" fmla="*/ 1 h 95"/>
                <a:gd name="T20" fmla="*/ 72 w 91"/>
                <a:gd name="T21" fmla="*/ 9 h 95"/>
                <a:gd name="T22" fmla="*/ 55 w 91"/>
                <a:gd name="T23" fmla="*/ 13 h 95"/>
                <a:gd name="T24" fmla="*/ 46 w 91"/>
                <a:gd name="T25" fmla="*/ 24 h 95"/>
                <a:gd name="T26" fmla="*/ 31 w 91"/>
                <a:gd name="T27" fmla="*/ 28 h 95"/>
                <a:gd name="T28" fmla="*/ 6 w 91"/>
                <a:gd name="T29" fmla="*/ 46 h 95"/>
                <a:gd name="T30" fmla="*/ 1 w 91"/>
                <a:gd name="T31" fmla="*/ 6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1" h="95">
                  <a:moveTo>
                    <a:pt x="1" y="61"/>
                  </a:moveTo>
                  <a:cubicBezTo>
                    <a:pt x="2" y="64"/>
                    <a:pt x="11" y="59"/>
                    <a:pt x="12" y="63"/>
                  </a:cubicBezTo>
                  <a:cubicBezTo>
                    <a:pt x="13" y="67"/>
                    <a:pt x="10" y="79"/>
                    <a:pt x="9" y="84"/>
                  </a:cubicBezTo>
                  <a:cubicBezTo>
                    <a:pt x="8" y="89"/>
                    <a:pt x="2" y="93"/>
                    <a:pt x="4" y="94"/>
                  </a:cubicBezTo>
                  <a:cubicBezTo>
                    <a:pt x="6" y="95"/>
                    <a:pt x="16" y="94"/>
                    <a:pt x="24" y="90"/>
                  </a:cubicBezTo>
                  <a:cubicBezTo>
                    <a:pt x="32" y="86"/>
                    <a:pt x="45" y="75"/>
                    <a:pt x="51" y="69"/>
                  </a:cubicBezTo>
                  <a:cubicBezTo>
                    <a:pt x="57" y="63"/>
                    <a:pt x="53" y="57"/>
                    <a:pt x="58" y="52"/>
                  </a:cubicBezTo>
                  <a:cubicBezTo>
                    <a:pt x="63" y="47"/>
                    <a:pt x="74" y="43"/>
                    <a:pt x="79" y="37"/>
                  </a:cubicBezTo>
                  <a:cubicBezTo>
                    <a:pt x="84" y="31"/>
                    <a:pt x="91" y="19"/>
                    <a:pt x="91" y="13"/>
                  </a:cubicBezTo>
                  <a:cubicBezTo>
                    <a:pt x="91" y="7"/>
                    <a:pt x="81" y="2"/>
                    <a:pt x="78" y="1"/>
                  </a:cubicBezTo>
                  <a:cubicBezTo>
                    <a:pt x="75" y="0"/>
                    <a:pt x="76" y="7"/>
                    <a:pt x="72" y="9"/>
                  </a:cubicBezTo>
                  <a:cubicBezTo>
                    <a:pt x="68" y="11"/>
                    <a:pt x="59" y="10"/>
                    <a:pt x="55" y="13"/>
                  </a:cubicBezTo>
                  <a:cubicBezTo>
                    <a:pt x="51" y="16"/>
                    <a:pt x="50" y="21"/>
                    <a:pt x="46" y="24"/>
                  </a:cubicBezTo>
                  <a:cubicBezTo>
                    <a:pt x="42" y="27"/>
                    <a:pt x="38" y="24"/>
                    <a:pt x="31" y="28"/>
                  </a:cubicBezTo>
                  <a:cubicBezTo>
                    <a:pt x="24" y="32"/>
                    <a:pt x="11" y="42"/>
                    <a:pt x="6" y="46"/>
                  </a:cubicBezTo>
                  <a:cubicBezTo>
                    <a:pt x="1" y="50"/>
                    <a:pt x="0" y="58"/>
                    <a:pt x="1" y="6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50" name="Freeform 637"/>
            <p:cNvSpPr>
              <a:spLocks/>
            </p:cNvSpPr>
            <p:nvPr>
              <p:custDataLst>
                <p:tags r:id="rId117"/>
              </p:custDataLst>
            </p:nvPr>
          </p:nvSpPr>
          <p:spPr bwMode="gray">
            <a:xfrm>
              <a:off x="4543677" y="2550217"/>
              <a:ext cx="67439" cy="93225"/>
            </a:xfrm>
            <a:custGeom>
              <a:avLst/>
              <a:gdLst>
                <a:gd name="T0" fmla="*/ 0 w 69"/>
                <a:gd name="T1" fmla="*/ 24 h 97"/>
                <a:gd name="T2" fmla="*/ 24 w 69"/>
                <a:gd name="T3" fmla="*/ 15 h 97"/>
                <a:gd name="T4" fmla="*/ 39 w 69"/>
                <a:gd name="T5" fmla="*/ 0 h 97"/>
                <a:gd name="T6" fmla="*/ 58 w 69"/>
                <a:gd name="T7" fmla="*/ 21 h 97"/>
                <a:gd name="T8" fmla="*/ 69 w 69"/>
                <a:gd name="T9" fmla="*/ 45 h 97"/>
                <a:gd name="T10" fmla="*/ 34 w 69"/>
                <a:gd name="T11" fmla="*/ 87 h 97"/>
                <a:gd name="T12" fmla="*/ 22 w 69"/>
                <a:gd name="T13" fmla="*/ 94 h 97"/>
                <a:gd name="T14" fmla="*/ 21 w 69"/>
                <a:gd name="T15" fmla="*/ 54 h 97"/>
                <a:gd name="T16" fmla="*/ 7 w 69"/>
                <a:gd name="T17" fmla="*/ 30 h 97"/>
                <a:gd name="T18" fmla="*/ 0 w 69"/>
                <a:gd name="T19" fmla="*/ 2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97">
                  <a:moveTo>
                    <a:pt x="0" y="24"/>
                  </a:moveTo>
                  <a:cubicBezTo>
                    <a:pt x="19" y="21"/>
                    <a:pt x="11" y="25"/>
                    <a:pt x="24" y="15"/>
                  </a:cubicBezTo>
                  <a:cubicBezTo>
                    <a:pt x="32" y="9"/>
                    <a:pt x="28" y="2"/>
                    <a:pt x="39" y="0"/>
                  </a:cubicBezTo>
                  <a:cubicBezTo>
                    <a:pt x="49" y="2"/>
                    <a:pt x="48" y="16"/>
                    <a:pt x="58" y="21"/>
                  </a:cubicBezTo>
                  <a:cubicBezTo>
                    <a:pt x="64" y="28"/>
                    <a:pt x="64" y="37"/>
                    <a:pt x="69" y="45"/>
                  </a:cubicBezTo>
                  <a:cubicBezTo>
                    <a:pt x="66" y="74"/>
                    <a:pt x="65" y="83"/>
                    <a:pt x="34" y="87"/>
                  </a:cubicBezTo>
                  <a:cubicBezTo>
                    <a:pt x="26" y="91"/>
                    <a:pt x="30" y="97"/>
                    <a:pt x="22" y="94"/>
                  </a:cubicBezTo>
                  <a:cubicBezTo>
                    <a:pt x="20" y="81"/>
                    <a:pt x="13" y="69"/>
                    <a:pt x="21" y="54"/>
                  </a:cubicBezTo>
                  <a:cubicBezTo>
                    <a:pt x="19" y="42"/>
                    <a:pt x="20" y="33"/>
                    <a:pt x="7" y="30"/>
                  </a:cubicBezTo>
                  <a:cubicBezTo>
                    <a:pt x="2" y="26"/>
                    <a:pt x="4" y="28"/>
                    <a:pt x="0" y="2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51" name="Freeform 638"/>
            <p:cNvSpPr>
              <a:spLocks/>
            </p:cNvSpPr>
            <p:nvPr>
              <p:custDataLst>
                <p:tags r:id="rId118"/>
              </p:custDataLst>
            </p:nvPr>
          </p:nvSpPr>
          <p:spPr bwMode="gray">
            <a:xfrm>
              <a:off x="4221358" y="2949892"/>
              <a:ext cx="74382" cy="65456"/>
            </a:xfrm>
            <a:custGeom>
              <a:avLst/>
              <a:gdLst>
                <a:gd name="T0" fmla="*/ 47 w 77"/>
                <a:gd name="T1" fmla="*/ 3 h 68"/>
                <a:gd name="T2" fmla="*/ 76 w 77"/>
                <a:gd name="T3" fmla="*/ 10 h 68"/>
                <a:gd name="T4" fmla="*/ 68 w 77"/>
                <a:gd name="T5" fmla="*/ 37 h 68"/>
                <a:gd name="T6" fmla="*/ 56 w 77"/>
                <a:gd name="T7" fmla="*/ 46 h 68"/>
                <a:gd name="T8" fmla="*/ 44 w 77"/>
                <a:gd name="T9" fmla="*/ 48 h 68"/>
                <a:gd name="T10" fmla="*/ 35 w 77"/>
                <a:gd name="T11" fmla="*/ 61 h 68"/>
                <a:gd name="T12" fmla="*/ 23 w 77"/>
                <a:gd name="T13" fmla="*/ 61 h 68"/>
                <a:gd name="T14" fmla="*/ 8 w 77"/>
                <a:gd name="T15" fmla="*/ 39 h 68"/>
                <a:gd name="T16" fmla="*/ 44 w 77"/>
                <a:gd name="T17" fmla="*/ 7 h 68"/>
                <a:gd name="T18" fmla="*/ 47 w 77"/>
                <a:gd name="T19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68">
                  <a:moveTo>
                    <a:pt x="47" y="3"/>
                  </a:moveTo>
                  <a:cubicBezTo>
                    <a:pt x="57" y="5"/>
                    <a:pt x="67" y="3"/>
                    <a:pt x="76" y="10"/>
                  </a:cubicBezTo>
                  <a:cubicBezTo>
                    <a:pt x="75" y="20"/>
                    <a:pt x="77" y="32"/>
                    <a:pt x="68" y="37"/>
                  </a:cubicBezTo>
                  <a:cubicBezTo>
                    <a:pt x="64" y="43"/>
                    <a:pt x="63" y="45"/>
                    <a:pt x="56" y="46"/>
                  </a:cubicBezTo>
                  <a:cubicBezTo>
                    <a:pt x="52" y="49"/>
                    <a:pt x="47" y="46"/>
                    <a:pt x="44" y="48"/>
                  </a:cubicBezTo>
                  <a:cubicBezTo>
                    <a:pt x="41" y="50"/>
                    <a:pt x="38" y="59"/>
                    <a:pt x="35" y="61"/>
                  </a:cubicBezTo>
                  <a:cubicBezTo>
                    <a:pt x="31" y="68"/>
                    <a:pt x="30" y="65"/>
                    <a:pt x="23" y="61"/>
                  </a:cubicBezTo>
                  <a:cubicBezTo>
                    <a:pt x="18" y="54"/>
                    <a:pt x="13" y="46"/>
                    <a:pt x="8" y="39"/>
                  </a:cubicBezTo>
                  <a:cubicBezTo>
                    <a:pt x="0" y="0"/>
                    <a:pt x="1" y="10"/>
                    <a:pt x="44" y="7"/>
                  </a:cubicBezTo>
                  <a:cubicBezTo>
                    <a:pt x="50" y="4"/>
                    <a:pt x="51" y="5"/>
                    <a:pt x="47" y="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52" name="Freeform 639"/>
            <p:cNvSpPr>
              <a:spLocks/>
            </p:cNvSpPr>
            <p:nvPr>
              <p:custDataLst>
                <p:tags r:id="rId119"/>
              </p:custDataLst>
            </p:nvPr>
          </p:nvSpPr>
          <p:spPr bwMode="gray">
            <a:xfrm>
              <a:off x="4182679" y="2833858"/>
              <a:ext cx="111076" cy="122977"/>
            </a:xfrm>
            <a:custGeom>
              <a:avLst/>
              <a:gdLst>
                <a:gd name="T0" fmla="*/ 11 w 115"/>
                <a:gd name="T1" fmla="*/ 15 h 127"/>
                <a:gd name="T2" fmla="*/ 35 w 115"/>
                <a:gd name="T3" fmla="*/ 6 h 127"/>
                <a:gd name="T4" fmla="*/ 38 w 115"/>
                <a:gd name="T5" fmla="*/ 1 h 127"/>
                <a:gd name="T6" fmla="*/ 44 w 115"/>
                <a:gd name="T7" fmla="*/ 9 h 127"/>
                <a:gd name="T8" fmla="*/ 65 w 115"/>
                <a:gd name="T9" fmla="*/ 22 h 127"/>
                <a:gd name="T10" fmla="*/ 75 w 115"/>
                <a:gd name="T11" fmla="*/ 33 h 127"/>
                <a:gd name="T12" fmla="*/ 63 w 115"/>
                <a:gd name="T13" fmla="*/ 48 h 127"/>
                <a:gd name="T14" fmla="*/ 89 w 115"/>
                <a:gd name="T15" fmla="*/ 70 h 127"/>
                <a:gd name="T16" fmla="*/ 96 w 115"/>
                <a:gd name="T17" fmla="*/ 85 h 127"/>
                <a:gd name="T18" fmla="*/ 108 w 115"/>
                <a:gd name="T19" fmla="*/ 99 h 127"/>
                <a:gd name="T20" fmla="*/ 115 w 115"/>
                <a:gd name="T21" fmla="*/ 111 h 127"/>
                <a:gd name="T22" fmla="*/ 110 w 115"/>
                <a:gd name="T23" fmla="*/ 124 h 127"/>
                <a:gd name="T24" fmla="*/ 90 w 115"/>
                <a:gd name="T25" fmla="*/ 123 h 127"/>
                <a:gd name="T26" fmla="*/ 83 w 115"/>
                <a:gd name="T27" fmla="*/ 103 h 127"/>
                <a:gd name="T28" fmla="*/ 75 w 115"/>
                <a:gd name="T29" fmla="*/ 73 h 127"/>
                <a:gd name="T30" fmla="*/ 59 w 115"/>
                <a:gd name="T31" fmla="*/ 61 h 127"/>
                <a:gd name="T32" fmla="*/ 44 w 115"/>
                <a:gd name="T33" fmla="*/ 69 h 127"/>
                <a:gd name="T34" fmla="*/ 24 w 115"/>
                <a:gd name="T35" fmla="*/ 69 h 127"/>
                <a:gd name="T36" fmla="*/ 27 w 115"/>
                <a:gd name="T37" fmla="*/ 51 h 127"/>
                <a:gd name="T38" fmla="*/ 9 w 115"/>
                <a:gd name="T39" fmla="*/ 36 h 127"/>
                <a:gd name="T40" fmla="*/ 8 w 115"/>
                <a:gd name="T41" fmla="*/ 25 h 127"/>
                <a:gd name="T42" fmla="*/ 11 w 115"/>
                <a:gd name="T43" fmla="*/ 15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5" h="127">
                  <a:moveTo>
                    <a:pt x="11" y="15"/>
                  </a:moveTo>
                  <a:cubicBezTo>
                    <a:pt x="31" y="11"/>
                    <a:pt x="23" y="8"/>
                    <a:pt x="35" y="6"/>
                  </a:cubicBezTo>
                  <a:cubicBezTo>
                    <a:pt x="36" y="4"/>
                    <a:pt x="36" y="2"/>
                    <a:pt x="38" y="1"/>
                  </a:cubicBezTo>
                  <a:cubicBezTo>
                    <a:pt x="42" y="0"/>
                    <a:pt x="43" y="8"/>
                    <a:pt x="44" y="9"/>
                  </a:cubicBezTo>
                  <a:cubicBezTo>
                    <a:pt x="49" y="16"/>
                    <a:pt x="57" y="20"/>
                    <a:pt x="65" y="22"/>
                  </a:cubicBezTo>
                  <a:cubicBezTo>
                    <a:pt x="71" y="27"/>
                    <a:pt x="74" y="25"/>
                    <a:pt x="75" y="33"/>
                  </a:cubicBezTo>
                  <a:cubicBezTo>
                    <a:pt x="73" y="43"/>
                    <a:pt x="71" y="43"/>
                    <a:pt x="63" y="48"/>
                  </a:cubicBezTo>
                  <a:cubicBezTo>
                    <a:pt x="69" y="59"/>
                    <a:pt x="76" y="67"/>
                    <a:pt x="89" y="70"/>
                  </a:cubicBezTo>
                  <a:cubicBezTo>
                    <a:pt x="94" y="76"/>
                    <a:pt x="93" y="80"/>
                    <a:pt x="96" y="85"/>
                  </a:cubicBezTo>
                  <a:cubicBezTo>
                    <a:pt x="99" y="90"/>
                    <a:pt x="105" y="95"/>
                    <a:pt x="108" y="99"/>
                  </a:cubicBezTo>
                  <a:cubicBezTo>
                    <a:pt x="110" y="103"/>
                    <a:pt x="115" y="107"/>
                    <a:pt x="115" y="111"/>
                  </a:cubicBezTo>
                  <a:cubicBezTo>
                    <a:pt x="115" y="115"/>
                    <a:pt x="114" y="122"/>
                    <a:pt x="110" y="124"/>
                  </a:cubicBezTo>
                  <a:cubicBezTo>
                    <a:pt x="103" y="124"/>
                    <a:pt x="95" y="127"/>
                    <a:pt x="90" y="123"/>
                  </a:cubicBezTo>
                  <a:cubicBezTo>
                    <a:pt x="81" y="117"/>
                    <a:pt x="94" y="108"/>
                    <a:pt x="83" y="103"/>
                  </a:cubicBezTo>
                  <a:cubicBezTo>
                    <a:pt x="74" y="91"/>
                    <a:pt x="80" y="92"/>
                    <a:pt x="75" y="73"/>
                  </a:cubicBezTo>
                  <a:cubicBezTo>
                    <a:pt x="74" y="68"/>
                    <a:pt x="63" y="64"/>
                    <a:pt x="59" y="61"/>
                  </a:cubicBezTo>
                  <a:cubicBezTo>
                    <a:pt x="54" y="60"/>
                    <a:pt x="50" y="68"/>
                    <a:pt x="44" y="69"/>
                  </a:cubicBezTo>
                  <a:cubicBezTo>
                    <a:pt x="38" y="70"/>
                    <a:pt x="27" y="72"/>
                    <a:pt x="24" y="69"/>
                  </a:cubicBezTo>
                  <a:cubicBezTo>
                    <a:pt x="17" y="68"/>
                    <a:pt x="29" y="56"/>
                    <a:pt x="27" y="51"/>
                  </a:cubicBezTo>
                  <a:cubicBezTo>
                    <a:pt x="25" y="46"/>
                    <a:pt x="12" y="40"/>
                    <a:pt x="9" y="36"/>
                  </a:cubicBezTo>
                  <a:cubicBezTo>
                    <a:pt x="5" y="30"/>
                    <a:pt x="0" y="28"/>
                    <a:pt x="8" y="25"/>
                  </a:cubicBezTo>
                  <a:cubicBezTo>
                    <a:pt x="9" y="18"/>
                    <a:pt x="8" y="21"/>
                    <a:pt x="11" y="1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53" name="Freeform 640"/>
            <p:cNvSpPr>
              <a:spLocks/>
            </p:cNvSpPr>
            <p:nvPr>
              <p:custDataLst>
                <p:tags r:id="rId120"/>
              </p:custDataLst>
            </p:nvPr>
          </p:nvSpPr>
          <p:spPr bwMode="gray">
            <a:xfrm>
              <a:off x="4386980" y="3093696"/>
              <a:ext cx="15868" cy="16860"/>
            </a:xfrm>
            <a:custGeom>
              <a:avLst/>
              <a:gdLst>
                <a:gd name="T0" fmla="*/ 0 w 17"/>
                <a:gd name="T1" fmla="*/ 9 h 18"/>
                <a:gd name="T2" fmla="*/ 14 w 17"/>
                <a:gd name="T3" fmla="*/ 13 h 18"/>
                <a:gd name="T4" fmla="*/ 6 w 17"/>
                <a:gd name="T5" fmla="*/ 3 h 18"/>
                <a:gd name="T6" fmla="*/ 0 w 17"/>
                <a:gd name="T7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8">
                  <a:moveTo>
                    <a:pt x="0" y="9"/>
                  </a:moveTo>
                  <a:cubicBezTo>
                    <a:pt x="3" y="18"/>
                    <a:pt x="6" y="18"/>
                    <a:pt x="14" y="13"/>
                  </a:cubicBezTo>
                  <a:cubicBezTo>
                    <a:pt x="17" y="3"/>
                    <a:pt x="17" y="0"/>
                    <a:pt x="6" y="3"/>
                  </a:cubicBezTo>
                  <a:cubicBezTo>
                    <a:pt x="2" y="10"/>
                    <a:pt x="4" y="9"/>
                    <a:pt x="0" y="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54" name="Freeform 641"/>
            <p:cNvSpPr>
              <a:spLocks/>
            </p:cNvSpPr>
            <p:nvPr>
              <p:custDataLst>
                <p:tags r:id="rId121"/>
              </p:custDataLst>
            </p:nvPr>
          </p:nvSpPr>
          <p:spPr bwMode="gray">
            <a:xfrm>
              <a:off x="4459378" y="2790221"/>
              <a:ext cx="47604" cy="56530"/>
            </a:xfrm>
            <a:custGeom>
              <a:avLst/>
              <a:gdLst>
                <a:gd name="T0" fmla="*/ 4 w 50"/>
                <a:gd name="T1" fmla="*/ 24 h 58"/>
                <a:gd name="T2" fmla="*/ 16 w 50"/>
                <a:gd name="T3" fmla="*/ 22 h 58"/>
                <a:gd name="T4" fmla="*/ 22 w 50"/>
                <a:gd name="T5" fmla="*/ 12 h 58"/>
                <a:gd name="T6" fmla="*/ 37 w 50"/>
                <a:gd name="T7" fmla="*/ 0 h 58"/>
                <a:gd name="T8" fmla="*/ 38 w 50"/>
                <a:gd name="T9" fmla="*/ 22 h 58"/>
                <a:gd name="T10" fmla="*/ 25 w 50"/>
                <a:gd name="T11" fmla="*/ 39 h 58"/>
                <a:gd name="T12" fmla="*/ 17 w 50"/>
                <a:gd name="T13" fmla="*/ 46 h 58"/>
                <a:gd name="T14" fmla="*/ 4 w 50"/>
                <a:gd name="T15" fmla="*/ 30 h 58"/>
                <a:gd name="T16" fmla="*/ 4 w 50"/>
                <a:gd name="T17" fmla="*/ 2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58">
                  <a:moveTo>
                    <a:pt x="4" y="24"/>
                  </a:moveTo>
                  <a:cubicBezTo>
                    <a:pt x="8" y="23"/>
                    <a:pt x="13" y="25"/>
                    <a:pt x="16" y="22"/>
                  </a:cubicBezTo>
                  <a:cubicBezTo>
                    <a:pt x="32" y="8"/>
                    <a:pt x="6" y="15"/>
                    <a:pt x="22" y="12"/>
                  </a:cubicBezTo>
                  <a:cubicBezTo>
                    <a:pt x="29" y="7"/>
                    <a:pt x="28" y="2"/>
                    <a:pt x="37" y="0"/>
                  </a:cubicBezTo>
                  <a:cubicBezTo>
                    <a:pt x="50" y="2"/>
                    <a:pt x="44" y="14"/>
                    <a:pt x="38" y="22"/>
                  </a:cubicBezTo>
                  <a:cubicBezTo>
                    <a:pt x="34" y="40"/>
                    <a:pt x="40" y="36"/>
                    <a:pt x="25" y="39"/>
                  </a:cubicBezTo>
                  <a:cubicBezTo>
                    <a:pt x="24" y="45"/>
                    <a:pt x="22" y="58"/>
                    <a:pt x="17" y="46"/>
                  </a:cubicBezTo>
                  <a:cubicBezTo>
                    <a:pt x="15" y="37"/>
                    <a:pt x="11" y="35"/>
                    <a:pt x="4" y="30"/>
                  </a:cubicBezTo>
                  <a:cubicBezTo>
                    <a:pt x="2" y="24"/>
                    <a:pt x="0" y="26"/>
                    <a:pt x="4" y="2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55" name="Freeform 674"/>
            <p:cNvSpPr>
              <a:spLocks/>
            </p:cNvSpPr>
            <p:nvPr>
              <p:custDataLst>
                <p:tags r:id="rId122"/>
              </p:custDataLst>
            </p:nvPr>
          </p:nvSpPr>
          <p:spPr bwMode="gray">
            <a:xfrm>
              <a:off x="4962542" y="3312562"/>
              <a:ext cx="29927" cy="23122"/>
            </a:xfrm>
            <a:custGeom>
              <a:avLst/>
              <a:gdLst>
                <a:gd name="T0" fmla="*/ 1 w 31"/>
                <a:gd name="T1" fmla="*/ 0 h 24"/>
                <a:gd name="T2" fmla="*/ 12 w 31"/>
                <a:gd name="T3" fmla="*/ 3 h 24"/>
                <a:gd name="T4" fmla="*/ 31 w 31"/>
                <a:gd name="T5" fmla="*/ 14 h 24"/>
                <a:gd name="T6" fmla="*/ 3 w 31"/>
                <a:gd name="T7" fmla="*/ 14 h 24"/>
                <a:gd name="T8" fmla="*/ 1 w 31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4">
                  <a:moveTo>
                    <a:pt x="1" y="0"/>
                  </a:moveTo>
                  <a:cubicBezTo>
                    <a:pt x="5" y="1"/>
                    <a:pt x="9" y="1"/>
                    <a:pt x="12" y="3"/>
                  </a:cubicBezTo>
                  <a:cubicBezTo>
                    <a:pt x="25" y="11"/>
                    <a:pt x="8" y="10"/>
                    <a:pt x="31" y="14"/>
                  </a:cubicBezTo>
                  <a:cubicBezTo>
                    <a:pt x="24" y="24"/>
                    <a:pt x="12" y="16"/>
                    <a:pt x="3" y="14"/>
                  </a:cubicBezTo>
                  <a:cubicBezTo>
                    <a:pt x="0" y="7"/>
                    <a:pt x="4" y="7"/>
                    <a:pt x="1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56" name="Freeform 675"/>
            <p:cNvSpPr>
              <a:spLocks/>
            </p:cNvSpPr>
            <p:nvPr>
              <p:custDataLst>
                <p:tags r:id="rId123"/>
              </p:custDataLst>
            </p:nvPr>
          </p:nvSpPr>
          <p:spPr bwMode="gray">
            <a:xfrm>
              <a:off x="4793598" y="3200806"/>
              <a:ext cx="141913" cy="122354"/>
            </a:xfrm>
            <a:custGeom>
              <a:avLst/>
              <a:gdLst>
                <a:gd name="T0" fmla="*/ 0 w 123"/>
                <a:gd name="T1" fmla="*/ 80 h 106"/>
                <a:gd name="T2" fmla="*/ 0 w 123"/>
                <a:gd name="T3" fmla="*/ 33 h 106"/>
                <a:gd name="T4" fmla="*/ 0 w 123"/>
                <a:gd name="T5" fmla="*/ 0 h 106"/>
                <a:gd name="T6" fmla="*/ 32 w 123"/>
                <a:gd name="T7" fmla="*/ 9 h 106"/>
                <a:gd name="T8" fmla="*/ 57 w 123"/>
                <a:gd name="T9" fmla="*/ 25 h 106"/>
                <a:gd name="T10" fmla="*/ 57 w 123"/>
                <a:gd name="T11" fmla="*/ 33 h 106"/>
                <a:gd name="T12" fmla="*/ 88 w 123"/>
                <a:gd name="T13" fmla="*/ 49 h 106"/>
                <a:gd name="T14" fmla="*/ 72 w 123"/>
                <a:gd name="T15" fmla="*/ 57 h 106"/>
                <a:gd name="T16" fmla="*/ 81 w 123"/>
                <a:gd name="T17" fmla="*/ 57 h 106"/>
                <a:gd name="T18" fmla="*/ 88 w 123"/>
                <a:gd name="T19" fmla="*/ 65 h 106"/>
                <a:gd name="T20" fmla="*/ 97 w 123"/>
                <a:gd name="T21" fmla="*/ 80 h 106"/>
                <a:gd name="T22" fmla="*/ 104 w 123"/>
                <a:gd name="T23" fmla="*/ 80 h 106"/>
                <a:gd name="T24" fmla="*/ 104 w 123"/>
                <a:gd name="T25" fmla="*/ 90 h 106"/>
                <a:gd name="T26" fmla="*/ 122 w 123"/>
                <a:gd name="T27" fmla="*/ 99 h 106"/>
                <a:gd name="T28" fmla="*/ 122 w 123"/>
                <a:gd name="T29" fmla="*/ 105 h 106"/>
                <a:gd name="T30" fmla="*/ 81 w 123"/>
                <a:gd name="T31" fmla="*/ 99 h 106"/>
                <a:gd name="T32" fmla="*/ 63 w 123"/>
                <a:gd name="T33" fmla="*/ 65 h 106"/>
                <a:gd name="T34" fmla="*/ 47 w 123"/>
                <a:gd name="T35" fmla="*/ 65 h 106"/>
                <a:gd name="T36" fmla="*/ 40 w 123"/>
                <a:gd name="T37" fmla="*/ 65 h 106"/>
                <a:gd name="T38" fmla="*/ 23 w 123"/>
                <a:gd name="T39" fmla="*/ 74 h 106"/>
                <a:gd name="T40" fmla="*/ 32 w 123"/>
                <a:gd name="T41" fmla="*/ 80 h 106"/>
                <a:gd name="T42" fmla="*/ 15 w 123"/>
                <a:gd name="T43" fmla="*/ 80 h 106"/>
                <a:gd name="T44" fmla="*/ 0 w 123"/>
                <a:gd name="T45" fmla="*/ 8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3" h="106">
                  <a:moveTo>
                    <a:pt x="0" y="80"/>
                  </a:moveTo>
                  <a:lnTo>
                    <a:pt x="0" y="33"/>
                  </a:lnTo>
                  <a:lnTo>
                    <a:pt x="0" y="0"/>
                  </a:lnTo>
                  <a:lnTo>
                    <a:pt x="32" y="9"/>
                  </a:lnTo>
                  <a:lnTo>
                    <a:pt x="57" y="25"/>
                  </a:lnTo>
                  <a:lnTo>
                    <a:pt x="57" y="33"/>
                  </a:lnTo>
                  <a:lnTo>
                    <a:pt x="88" y="49"/>
                  </a:lnTo>
                  <a:lnTo>
                    <a:pt x="72" y="57"/>
                  </a:lnTo>
                  <a:lnTo>
                    <a:pt x="81" y="57"/>
                  </a:lnTo>
                  <a:lnTo>
                    <a:pt x="88" y="65"/>
                  </a:lnTo>
                  <a:lnTo>
                    <a:pt x="97" y="80"/>
                  </a:lnTo>
                  <a:lnTo>
                    <a:pt x="104" y="80"/>
                  </a:lnTo>
                  <a:lnTo>
                    <a:pt x="104" y="90"/>
                  </a:lnTo>
                  <a:lnTo>
                    <a:pt x="122" y="99"/>
                  </a:lnTo>
                  <a:lnTo>
                    <a:pt x="122" y="105"/>
                  </a:lnTo>
                  <a:lnTo>
                    <a:pt x="81" y="99"/>
                  </a:lnTo>
                  <a:lnTo>
                    <a:pt x="63" y="65"/>
                  </a:lnTo>
                  <a:lnTo>
                    <a:pt x="47" y="65"/>
                  </a:lnTo>
                  <a:lnTo>
                    <a:pt x="40" y="65"/>
                  </a:lnTo>
                  <a:lnTo>
                    <a:pt x="23" y="74"/>
                  </a:lnTo>
                  <a:lnTo>
                    <a:pt x="32" y="80"/>
                  </a:lnTo>
                  <a:lnTo>
                    <a:pt x="15" y="80"/>
                  </a:lnTo>
                  <a:lnTo>
                    <a:pt x="0" y="8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57" name="Freeform 676"/>
            <p:cNvSpPr>
              <a:spLocks/>
            </p:cNvSpPr>
            <p:nvPr>
              <p:custDataLst>
                <p:tags r:id="rId124"/>
              </p:custDataLst>
            </p:nvPr>
          </p:nvSpPr>
          <p:spPr bwMode="gray">
            <a:xfrm>
              <a:off x="4895930" y="3219111"/>
              <a:ext cx="65647" cy="38537"/>
            </a:xfrm>
            <a:custGeom>
              <a:avLst/>
              <a:gdLst>
                <a:gd name="T0" fmla="*/ 0 w 57"/>
                <a:gd name="T1" fmla="*/ 16 h 33"/>
                <a:gd name="T2" fmla="*/ 16 w 57"/>
                <a:gd name="T3" fmla="*/ 32 h 33"/>
                <a:gd name="T4" fmla="*/ 34 w 57"/>
                <a:gd name="T5" fmla="*/ 32 h 33"/>
                <a:gd name="T6" fmla="*/ 49 w 57"/>
                <a:gd name="T7" fmla="*/ 23 h 33"/>
                <a:gd name="T8" fmla="*/ 56 w 57"/>
                <a:gd name="T9" fmla="*/ 8 h 33"/>
                <a:gd name="T10" fmla="*/ 56 w 57"/>
                <a:gd name="T11" fmla="*/ 0 h 33"/>
                <a:gd name="T12" fmla="*/ 49 w 57"/>
                <a:gd name="T13" fmla="*/ 0 h 33"/>
                <a:gd name="T14" fmla="*/ 49 w 57"/>
                <a:gd name="T15" fmla="*/ 16 h 33"/>
                <a:gd name="T16" fmla="*/ 41 w 57"/>
                <a:gd name="T17" fmla="*/ 16 h 33"/>
                <a:gd name="T18" fmla="*/ 34 w 57"/>
                <a:gd name="T19" fmla="*/ 16 h 33"/>
                <a:gd name="T20" fmla="*/ 0 w 57"/>
                <a:gd name="T21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33">
                  <a:moveTo>
                    <a:pt x="0" y="16"/>
                  </a:moveTo>
                  <a:lnTo>
                    <a:pt x="16" y="32"/>
                  </a:lnTo>
                  <a:lnTo>
                    <a:pt x="34" y="32"/>
                  </a:lnTo>
                  <a:lnTo>
                    <a:pt x="49" y="23"/>
                  </a:lnTo>
                  <a:lnTo>
                    <a:pt x="56" y="8"/>
                  </a:lnTo>
                  <a:lnTo>
                    <a:pt x="56" y="0"/>
                  </a:lnTo>
                  <a:lnTo>
                    <a:pt x="49" y="0"/>
                  </a:lnTo>
                  <a:lnTo>
                    <a:pt x="49" y="16"/>
                  </a:lnTo>
                  <a:lnTo>
                    <a:pt x="41" y="16"/>
                  </a:lnTo>
                  <a:lnTo>
                    <a:pt x="34" y="16"/>
                  </a:lnTo>
                  <a:lnTo>
                    <a:pt x="0" y="16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58" name="Freeform 677"/>
            <p:cNvSpPr>
              <a:spLocks/>
            </p:cNvSpPr>
            <p:nvPr>
              <p:custDataLst>
                <p:tags r:id="rId125"/>
              </p:custDataLst>
            </p:nvPr>
          </p:nvSpPr>
          <p:spPr bwMode="gray">
            <a:xfrm>
              <a:off x="4943234" y="3211403"/>
              <a:ext cx="28962" cy="19268"/>
            </a:xfrm>
            <a:custGeom>
              <a:avLst/>
              <a:gdLst>
                <a:gd name="T0" fmla="*/ 0 w 25"/>
                <a:gd name="T1" fmla="*/ 0 h 17"/>
                <a:gd name="T2" fmla="*/ 15 w 25"/>
                <a:gd name="T3" fmla="*/ 8 h 17"/>
                <a:gd name="T4" fmla="*/ 24 w 25"/>
                <a:gd name="T5" fmla="*/ 16 h 17"/>
                <a:gd name="T6" fmla="*/ 24 w 25"/>
                <a:gd name="T7" fmla="*/ 8 h 17"/>
                <a:gd name="T8" fmla="*/ 0 w 25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7">
                  <a:moveTo>
                    <a:pt x="0" y="0"/>
                  </a:moveTo>
                  <a:lnTo>
                    <a:pt x="15" y="8"/>
                  </a:lnTo>
                  <a:lnTo>
                    <a:pt x="24" y="16"/>
                  </a:lnTo>
                  <a:lnTo>
                    <a:pt x="24" y="8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grpSp>
          <p:nvGrpSpPr>
            <p:cNvPr id="161" name="Group 160"/>
            <p:cNvGrpSpPr/>
            <p:nvPr/>
          </p:nvGrpSpPr>
          <p:grpSpPr>
            <a:xfrm>
              <a:off x="4191605" y="3057993"/>
              <a:ext cx="281513" cy="85291"/>
              <a:chOff x="6637338" y="4348163"/>
              <a:chExt cx="450618" cy="136525"/>
            </a:xfrm>
            <a:solidFill>
              <a:schemeClr val="bg1"/>
            </a:solidFill>
          </p:grpSpPr>
          <p:sp>
            <p:nvSpPr>
              <p:cNvPr id="219" name="Freeform 682"/>
              <p:cNvSpPr>
                <a:spLocks/>
              </p:cNvSpPr>
              <p:nvPr>
                <p:custDataLst>
                  <p:tags r:id="rId175"/>
                </p:custDataLst>
              </p:nvPr>
            </p:nvSpPr>
            <p:spPr bwMode="gray">
              <a:xfrm>
                <a:off x="6637338" y="4348163"/>
                <a:ext cx="94194" cy="136525"/>
              </a:xfrm>
              <a:custGeom>
                <a:avLst/>
                <a:gdLst>
                  <a:gd name="T0" fmla="*/ 24 w 50"/>
                  <a:gd name="T1" fmla="*/ 9 h 75"/>
                  <a:gd name="T2" fmla="*/ 18 w 50"/>
                  <a:gd name="T3" fmla="*/ 18 h 75"/>
                  <a:gd name="T4" fmla="*/ 9 w 50"/>
                  <a:gd name="T5" fmla="*/ 9 h 75"/>
                  <a:gd name="T6" fmla="*/ 0 w 50"/>
                  <a:gd name="T7" fmla="*/ 0 h 75"/>
                  <a:gd name="T8" fmla="*/ 0 w 50"/>
                  <a:gd name="T9" fmla="*/ 9 h 75"/>
                  <a:gd name="T10" fmla="*/ 0 w 50"/>
                  <a:gd name="T11" fmla="*/ 34 h 75"/>
                  <a:gd name="T12" fmla="*/ 18 w 50"/>
                  <a:gd name="T13" fmla="*/ 50 h 75"/>
                  <a:gd name="T14" fmla="*/ 43 w 50"/>
                  <a:gd name="T15" fmla="*/ 74 h 75"/>
                  <a:gd name="T16" fmla="*/ 49 w 50"/>
                  <a:gd name="T17" fmla="*/ 74 h 75"/>
                  <a:gd name="T18" fmla="*/ 43 w 50"/>
                  <a:gd name="T19" fmla="*/ 50 h 75"/>
                  <a:gd name="T20" fmla="*/ 43 w 50"/>
                  <a:gd name="T21" fmla="*/ 25 h 75"/>
                  <a:gd name="T22" fmla="*/ 24 w 50"/>
                  <a:gd name="T23" fmla="*/ 9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0" h="75">
                    <a:moveTo>
                      <a:pt x="24" y="9"/>
                    </a:moveTo>
                    <a:lnTo>
                      <a:pt x="18" y="18"/>
                    </a:lnTo>
                    <a:lnTo>
                      <a:pt x="9" y="9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34"/>
                    </a:lnTo>
                    <a:lnTo>
                      <a:pt x="18" y="50"/>
                    </a:lnTo>
                    <a:lnTo>
                      <a:pt x="43" y="74"/>
                    </a:lnTo>
                    <a:lnTo>
                      <a:pt x="49" y="74"/>
                    </a:lnTo>
                    <a:lnTo>
                      <a:pt x="43" y="50"/>
                    </a:lnTo>
                    <a:lnTo>
                      <a:pt x="43" y="25"/>
                    </a:lnTo>
                    <a:lnTo>
                      <a:pt x="24" y="9"/>
                    </a:lnTo>
                  </a:path>
                </a:pathLst>
              </a:custGeom>
              <a:grpFill/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CA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0" name="Freeform 683"/>
              <p:cNvSpPr>
                <a:spLocks/>
              </p:cNvSpPr>
              <p:nvPr>
                <p:custDataLst>
                  <p:tags r:id="rId176"/>
                </p:custDataLst>
              </p:nvPr>
            </p:nvSpPr>
            <p:spPr bwMode="gray">
              <a:xfrm>
                <a:off x="6850431" y="4348163"/>
                <a:ext cx="237525" cy="134709"/>
              </a:xfrm>
              <a:custGeom>
                <a:avLst/>
                <a:gdLst>
                  <a:gd name="T0" fmla="*/ 71 w 131"/>
                  <a:gd name="T1" fmla="*/ 25 h 75"/>
                  <a:gd name="T2" fmla="*/ 80 w 131"/>
                  <a:gd name="T3" fmla="*/ 25 h 75"/>
                  <a:gd name="T4" fmla="*/ 71 w 131"/>
                  <a:gd name="T5" fmla="*/ 34 h 75"/>
                  <a:gd name="T6" fmla="*/ 65 w 131"/>
                  <a:gd name="T7" fmla="*/ 34 h 75"/>
                  <a:gd name="T8" fmla="*/ 56 w 131"/>
                  <a:gd name="T9" fmla="*/ 34 h 75"/>
                  <a:gd name="T10" fmla="*/ 40 w 131"/>
                  <a:gd name="T11" fmla="*/ 50 h 75"/>
                  <a:gd name="T12" fmla="*/ 25 w 131"/>
                  <a:gd name="T13" fmla="*/ 50 h 75"/>
                  <a:gd name="T14" fmla="*/ 25 w 131"/>
                  <a:gd name="T15" fmla="*/ 65 h 75"/>
                  <a:gd name="T16" fmla="*/ 0 w 131"/>
                  <a:gd name="T17" fmla="*/ 65 h 75"/>
                  <a:gd name="T18" fmla="*/ 15 w 131"/>
                  <a:gd name="T19" fmla="*/ 74 h 75"/>
                  <a:gd name="T20" fmla="*/ 31 w 131"/>
                  <a:gd name="T21" fmla="*/ 74 h 75"/>
                  <a:gd name="T22" fmla="*/ 40 w 131"/>
                  <a:gd name="T23" fmla="*/ 65 h 75"/>
                  <a:gd name="T24" fmla="*/ 56 w 131"/>
                  <a:gd name="T25" fmla="*/ 74 h 75"/>
                  <a:gd name="T26" fmla="*/ 65 w 131"/>
                  <a:gd name="T27" fmla="*/ 65 h 75"/>
                  <a:gd name="T28" fmla="*/ 89 w 131"/>
                  <a:gd name="T29" fmla="*/ 34 h 75"/>
                  <a:gd name="T30" fmla="*/ 112 w 131"/>
                  <a:gd name="T31" fmla="*/ 34 h 75"/>
                  <a:gd name="T32" fmla="*/ 120 w 131"/>
                  <a:gd name="T33" fmla="*/ 34 h 75"/>
                  <a:gd name="T34" fmla="*/ 112 w 131"/>
                  <a:gd name="T35" fmla="*/ 25 h 75"/>
                  <a:gd name="T36" fmla="*/ 130 w 131"/>
                  <a:gd name="T37" fmla="*/ 25 h 75"/>
                  <a:gd name="T38" fmla="*/ 105 w 131"/>
                  <a:gd name="T39" fmla="*/ 18 h 75"/>
                  <a:gd name="T40" fmla="*/ 105 w 131"/>
                  <a:gd name="T41" fmla="*/ 9 h 75"/>
                  <a:gd name="T42" fmla="*/ 96 w 131"/>
                  <a:gd name="T43" fmla="*/ 0 h 75"/>
                  <a:gd name="T44" fmla="*/ 80 w 131"/>
                  <a:gd name="T45" fmla="*/ 18 h 75"/>
                  <a:gd name="T46" fmla="*/ 71 w 131"/>
                  <a:gd name="T47" fmla="*/ 25 h 75"/>
                  <a:gd name="connsiteX0" fmla="*/ 5420 w 9924"/>
                  <a:gd name="connsiteY0" fmla="*/ 3333 h 9867"/>
                  <a:gd name="connsiteX1" fmla="*/ 6107 w 9924"/>
                  <a:gd name="connsiteY1" fmla="*/ 3333 h 9867"/>
                  <a:gd name="connsiteX2" fmla="*/ 5420 w 9924"/>
                  <a:gd name="connsiteY2" fmla="*/ 4533 h 9867"/>
                  <a:gd name="connsiteX3" fmla="*/ 4962 w 9924"/>
                  <a:gd name="connsiteY3" fmla="*/ 4533 h 9867"/>
                  <a:gd name="connsiteX4" fmla="*/ 4275 w 9924"/>
                  <a:gd name="connsiteY4" fmla="*/ 4533 h 9867"/>
                  <a:gd name="connsiteX5" fmla="*/ 3053 w 9924"/>
                  <a:gd name="connsiteY5" fmla="*/ 6667 h 9867"/>
                  <a:gd name="connsiteX6" fmla="*/ 1908 w 9924"/>
                  <a:gd name="connsiteY6" fmla="*/ 6667 h 9867"/>
                  <a:gd name="connsiteX7" fmla="*/ 1908 w 9924"/>
                  <a:gd name="connsiteY7" fmla="*/ 8667 h 9867"/>
                  <a:gd name="connsiteX8" fmla="*/ 0 w 9924"/>
                  <a:gd name="connsiteY8" fmla="*/ 8667 h 9867"/>
                  <a:gd name="connsiteX9" fmla="*/ 1145 w 9924"/>
                  <a:gd name="connsiteY9" fmla="*/ 9867 h 9867"/>
                  <a:gd name="connsiteX10" fmla="*/ 2366 w 9924"/>
                  <a:gd name="connsiteY10" fmla="*/ 9867 h 9867"/>
                  <a:gd name="connsiteX11" fmla="*/ 3053 w 9924"/>
                  <a:gd name="connsiteY11" fmla="*/ 8667 h 9867"/>
                  <a:gd name="connsiteX12" fmla="*/ 4275 w 9924"/>
                  <a:gd name="connsiteY12" fmla="*/ 9867 h 9867"/>
                  <a:gd name="connsiteX13" fmla="*/ 4962 w 9924"/>
                  <a:gd name="connsiteY13" fmla="*/ 8667 h 9867"/>
                  <a:gd name="connsiteX14" fmla="*/ 6794 w 9924"/>
                  <a:gd name="connsiteY14" fmla="*/ 4533 h 9867"/>
                  <a:gd name="connsiteX15" fmla="*/ 8550 w 9924"/>
                  <a:gd name="connsiteY15" fmla="*/ 4533 h 9867"/>
                  <a:gd name="connsiteX16" fmla="*/ 9160 w 9924"/>
                  <a:gd name="connsiteY16" fmla="*/ 4533 h 9867"/>
                  <a:gd name="connsiteX17" fmla="*/ 8550 w 9924"/>
                  <a:gd name="connsiteY17" fmla="*/ 3333 h 9867"/>
                  <a:gd name="connsiteX18" fmla="*/ 9924 w 9924"/>
                  <a:gd name="connsiteY18" fmla="*/ 3333 h 9867"/>
                  <a:gd name="connsiteX19" fmla="*/ 8015 w 9924"/>
                  <a:gd name="connsiteY19" fmla="*/ 2400 h 9867"/>
                  <a:gd name="connsiteX20" fmla="*/ 8015 w 9924"/>
                  <a:gd name="connsiteY20" fmla="*/ 1200 h 9867"/>
                  <a:gd name="connsiteX21" fmla="*/ 7328 w 9924"/>
                  <a:gd name="connsiteY21" fmla="*/ 0 h 9867"/>
                  <a:gd name="connsiteX22" fmla="*/ 6107 w 9924"/>
                  <a:gd name="connsiteY22" fmla="*/ 2400 h 9867"/>
                  <a:gd name="connsiteX23" fmla="*/ 5420 w 9924"/>
                  <a:gd name="connsiteY23" fmla="*/ 3333 h 9867"/>
                  <a:gd name="connsiteX24" fmla="*/ 5420 w 9924"/>
                  <a:gd name="connsiteY24" fmla="*/ 3333 h 9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9924" h="9867">
                    <a:moveTo>
                      <a:pt x="5420" y="3333"/>
                    </a:moveTo>
                    <a:lnTo>
                      <a:pt x="6107" y="3333"/>
                    </a:lnTo>
                    <a:lnTo>
                      <a:pt x="5420" y="4533"/>
                    </a:lnTo>
                    <a:lnTo>
                      <a:pt x="4962" y="4533"/>
                    </a:lnTo>
                    <a:lnTo>
                      <a:pt x="4275" y="4533"/>
                    </a:lnTo>
                    <a:lnTo>
                      <a:pt x="3053" y="6667"/>
                    </a:lnTo>
                    <a:lnTo>
                      <a:pt x="1908" y="6667"/>
                    </a:lnTo>
                    <a:lnTo>
                      <a:pt x="1908" y="8667"/>
                    </a:lnTo>
                    <a:lnTo>
                      <a:pt x="0" y="8667"/>
                    </a:lnTo>
                    <a:lnTo>
                      <a:pt x="1145" y="9867"/>
                    </a:lnTo>
                    <a:lnTo>
                      <a:pt x="2366" y="9867"/>
                    </a:lnTo>
                    <a:lnTo>
                      <a:pt x="3053" y="8667"/>
                    </a:lnTo>
                    <a:lnTo>
                      <a:pt x="4275" y="9867"/>
                    </a:lnTo>
                    <a:lnTo>
                      <a:pt x="4962" y="8667"/>
                    </a:lnTo>
                    <a:lnTo>
                      <a:pt x="6794" y="4533"/>
                    </a:lnTo>
                    <a:lnTo>
                      <a:pt x="8550" y="4533"/>
                    </a:lnTo>
                    <a:lnTo>
                      <a:pt x="9160" y="4533"/>
                    </a:lnTo>
                    <a:lnTo>
                      <a:pt x="8550" y="3333"/>
                    </a:lnTo>
                    <a:lnTo>
                      <a:pt x="9924" y="3333"/>
                    </a:lnTo>
                    <a:lnTo>
                      <a:pt x="8015" y="2400"/>
                    </a:lnTo>
                    <a:lnTo>
                      <a:pt x="8015" y="1200"/>
                    </a:lnTo>
                    <a:lnTo>
                      <a:pt x="7328" y="0"/>
                    </a:lnTo>
                    <a:lnTo>
                      <a:pt x="6107" y="2400"/>
                    </a:lnTo>
                    <a:lnTo>
                      <a:pt x="5420" y="3333"/>
                    </a:lnTo>
                    <a:lnTo>
                      <a:pt x="5420" y="333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CA" sz="1632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62" name="Freeform 684"/>
            <p:cNvSpPr>
              <a:spLocks/>
            </p:cNvSpPr>
            <p:nvPr>
              <p:custDataLst>
                <p:tags r:id="rId126"/>
              </p:custDataLst>
            </p:nvPr>
          </p:nvSpPr>
          <p:spPr bwMode="gray">
            <a:xfrm>
              <a:off x="4389363" y="3086100"/>
              <a:ext cx="28940" cy="19384"/>
            </a:xfrm>
            <a:custGeom>
              <a:avLst/>
              <a:gdLst>
                <a:gd name="T0" fmla="*/ 0 w 25"/>
                <a:gd name="T1" fmla="*/ 16 h 17"/>
                <a:gd name="T2" fmla="*/ 9 w 25"/>
                <a:gd name="T3" fmla="*/ 16 h 17"/>
                <a:gd name="T4" fmla="*/ 15 w 25"/>
                <a:gd name="T5" fmla="*/ 16 h 17"/>
                <a:gd name="T6" fmla="*/ 24 w 25"/>
                <a:gd name="T7" fmla="*/ 0 h 17"/>
                <a:gd name="T8" fmla="*/ 15 w 25"/>
                <a:gd name="T9" fmla="*/ 0 h 17"/>
                <a:gd name="T10" fmla="*/ 0 w 25"/>
                <a:gd name="T11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17">
                  <a:moveTo>
                    <a:pt x="0" y="16"/>
                  </a:moveTo>
                  <a:lnTo>
                    <a:pt x="9" y="16"/>
                  </a:lnTo>
                  <a:lnTo>
                    <a:pt x="15" y="16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0" y="16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63" name="Oval 685"/>
            <p:cNvSpPr>
              <a:spLocks noChangeArrowheads="1"/>
            </p:cNvSpPr>
            <p:nvPr>
              <p:custDataLst>
                <p:tags r:id="rId127"/>
              </p:custDataLst>
            </p:nvPr>
          </p:nvSpPr>
          <p:spPr bwMode="gray">
            <a:xfrm>
              <a:off x="4232122" y="3123900"/>
              <a:ext cx="16400" cy="16477"/>
            </a:xfrm>
            <a:prstGeom prst="ellipse">
              <a:avLst/>
            </a:pr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grpSp>
          <p:nvGrpSpPr>
            <p:cNvPr id="164" name="Group 720"/>
            <p:cNvGrpSpPr>
              <a:grpSpLocks/>
            </p:cNvGrpSpPr>
            <p:nvPr>
              <p:custDataLst>
                <p:tags r:id="rId128"/>
              </p:custDataLst>
            </p:nvPr>
          </p:nvGrpSpPr>
          <p:grpSpPr bwMode="auto">
            <a:xfrm>
              <a:off x="3408121" y="2219963"/>
              <a:ext cx="606952" cy="301492"/>
              <a:chOff x="1007" y="1862"/>
              <a:chExt cx="629" cy="312"/>
            </a:xfrm>
            <a:solidFill>
              <a:schemeClr val="bg1"/>
            </a:solidFill>
          </p:grpSpPr>
          <p:sp>
            <p:nvSpPr>
              <p:cNvPr id="217" name="Freeform 721"/>
              <p:cNvSpPr>
                <a:spLocks/>
              </p:cNvSpPr>
              <p:nvPr>
                <p:custDataLst>
                  <p:tags r:id="rId173"/>
                </p:custDataLst>
              </p:nvPr>
            </p:nvSpPr>
            <p:spPr bwMode="gray">
              <a:xfrm>
                <a:off x="1280" y="1862"/>
                <a:ext cx="356" cy="312"/>
              </a:xfrm>
              <a:custGeom>
                <a:avLst/>
                <a:gdLst>
                  <a:gd name="T0" fmla="*/ 0 w 356"/>
                  <a:gd name="T1" fmla="*/ 25 h 312"/>
                  <a:gd name="T2" fmla="*/ 75 w 356"/>
                  <a:gd name="T3" fmla="*/ 0 h 312"/>
                  <a:gd name="T4" fmla="*/ 99 w 356"/>
                  <a:gd name="T5" fmla="*/ 27 h 312"/>
                  <a:gd name="T6" fmla="*/ 114 w 356"/>
                  <a:gd name="T7" fmla="*/ 12 h 312"/>
                  <a:gd name="T8" fmla="*/ 154 w 356"/>
                  <a:gd name="T9" fmla="*/ 40 h 312"/>
                  <a:gd name="T10" fmla="*/ 160 w 356"/>
                  <a:gd name="T11" fmla="*/ 42 h 312"/>
                  <a:gd name="T12" fmla="*/ 187 w 356"/>
                  <a:gd name="T13" fmla="*/ 30 h 312"/>
                  <a:gd name="T14" fmla="*/ 191 w 356"/>
                  <a:gd name="T15" fmla="*/ 28 h 312"/>
                  <a:gd name="T16" fmla="*/ 196 w 356"/>
                  <a:gd name="T17" fmla="*/ 42 h 312"/>
                  <a:gd name="T18" fmla="*/ 214 w 356"/>
                  <a:gd name="T19" fmla="*/ 54 h 312"/>
                  <a:gd name="T20" fmla="*/ 226 w 356"/>
                  <a:gd name="T21" fmla="*/ 70 h 312"/>
                  <a:gd name="T22" fmla="*/ 233 w 356"/>
                  <a:gd name="T23" fmla="*/ 85 h 312"/>
                  <a:gd name="T24" fmla="*/ 232 w 356"/>
                  <a:gd name="T25" fmla="*/ 100 h 312"/>
                  <a:gd name="T26" fmla="*/ 236 w 356"/>
                  <a:gd name="T27" fmla="*/ 103 h 312"/>
                  <a:gd name="T28" fmla="*/ 248 w 356"/>
                  <a:gd name="T29" fmla="*/ 108 h 312"/>
                  <a:gd name="T30" fmla="*/ 265 w 356"/>
                  <a:gd name="T31" fmla="*/ 105 h 312"/>
                  <a:gd name="T32" fmla="*/ 277 w 356"/>
                  <a:gd name="T33" fmla="*/ 112 h 312"/>
                  <a:gd name="T34" fmla="*/ 287 w 356"/>
                  <a:gd name="T35" fmla="*/ 108 h 312"/>
                  <a:gd name="T36" fmla="*/ 302 w 356"/>
                  <a:gd name="T37" fmla="*/ 114 h 312"/>
                  <a:gd name="T38" fmla="*/ 320 w 356"/>
                  <a:gd name="T39" fmla="*/ 130 h 312"/>
                  <a:gd name="T40" fmla="*/ 353 w 356"/>
                  <a:gd name="T41" fmla="*/ 138 h 312"/>
                  <a:gd name="T42" fmla="*/ 340 w 356"/>
                  <a:gd name="T43" fmla="*/ 152 h 312"/>
                  <a:gd name="T44" fmla="*/ 329 w 356"/>
                  <a:gd name="T45" fmla="*/ 157 h 312"/>
                  <a:gd name="T46" fmla="*/ 328 w 356"/>
                  <a:gd name="T47" fmla="*/ 175 h 312"/>
                  <a:gd name="T48" fmla="*/ 323 w 356"/>
                  <a:gd name="T49" fmla="*/ 195 h 312"/>
                  <a:gd name="T50" fmla="*/ 319 w 356"/>
                  <a:gd name="T51" fmla="*/ 192 h 312"/>
                  <a:gd name="T52" fmla="*/ 305 w 356"/>
                  <a:gd name="T53" fmla="*/ 183 h 312"/>
                  <a:gd name="T54" fmla="*/ 281 w 356"/>
                  <a:gd name="T55" fmla="*/ 195 h 312"/>
                  <a:gd name="T56" fmla="*/ 274 w 356"/>
                  <a:gd name="T57" fmla="*/ 214 h 312"/>
                  <a:gd name="T58" fmla="*/ 278 w 356"/>
                  <a:gd name="T59" fmla="*/ 234 h 312"/>
                  <a:gd name="T60" fmla="*/ 268 w 356"/>
                  <a:gd name="T61" fmla="*/ 226 h 312"/>
                  <a:gd name="T62" fmla="*/ 241 w 356"/>
                  <a:gd name="T63" fmla="*/ 232 h 312"/>
                  <a:gd name="T64" fmla="*/ 247 w 356"/>
                  <a:gd name="T65" fmla="*/ 261 h 312"/>
                  <a:gd name="T66" fmla="*/ 245 w 356"/>
                  <a:gd name="T67" fmla="*/ 274 h 312"/>
                  <a:gd name="T68" fmla="*/ 254 w 356"/>
                  <a:gd name="T69" fmla="*/ 283 h 312"/>
                  <a:gd name="T70" fmla="*/ 242 w 356"/>
                  <a:gd name="T71" fmla="*/ 287 h 312"/>
                  <a:gd name="T72" fmla="*/ 196 w 356"/>
                  <a:gd name="T73" fmla="*/ 309 h 312"/>
                  <a:gd name="T74" fmla="*/ 208 w 356"/>
                  <a:gd name="T75" fmla="*/ 282 h 312"/>
                  <a:gd name="T76" fmla="*/ 172 w 356"/>
                  <a:gd name="T77" fmla="*/ 279 h 312"/>
                  <a:gd name="T78" fmla="*/ 144 w 356"/>
                  <a:gd name="T79" fmla="*/ 270 h 312"/>
                  <a:gd name="T80" fmla="*/ 124 w 356"/>
                  <a:gd name="T81" fmla="*/ 283 h 312"/>
                  <a:gd name="T82" fmla="*/ 109 w 356"/>
                  <a:gd name="T83" fmla="*/ 279 h 312"/>
                  <a:gd name="T84" fmla="*/ 79 w 356"/>
                  <a:gd name="T85" fmla="*/ 292 h 312"/>
                  <a:gd name="T86" fmla="*/ 51 w 356"/>
                  <a:gd name="T87" fmla="*/ 312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6" h="312">
                    <a:moveTo>
                      <a:pt x="0" y="25"/>
                    </a:moveTo>
                    <a:cubicBezTo>
                      <a:pt x="10" y="28"/>
                      <a:pt x="59" y="0"/>
                      <a:pt x="75" y="0"/>
                    </a:cubicBezTo>
                    <a:cubicBezTo>
                      <a:pt x="91" y="0"/>
                      <a:pt x="92" y="25"/>
                      <a:pt x="99" y="27"/>
                    </a:cubicBezTo>
                    <a:cubicBezTo>
                      <a:pt x="106" y="29"/>
                      <a:pt x="105" y="10"/>
                      <a:pt x="114" y="12"/>
                    </a:cubicBezTo>
                    <a:cubicBezTo>
                      <a:pt x="123" y="14"/>
                      <a:pt x="146" y="35"/>
                      <a:pt x="154" y="40"/>
                    </a:cubicBezTo>
                    <a:cubicBezTo>
                      <a:pt x="162" y="45"/>
                      <a:pt x="155" y="44"/>
                      <a:pt x="160" y="42"/>
                    </a:cubicBezTo>
                    <a:cubicBezTo>
                      <a:pt x="166" y="32"/>
                      <a:pt x="176" y="31"/>
                      <a:pt x="187" y="30"/>
                    </a:cubicBezTo>
                    <a:cubicBezTo>
                      <a:pt x="188" y="29"/>
                      <a:pt x="190" y="27"/>
                      <a:pt x="191" y="28"/>
                    </a:cubicBezTo>
                    <a:cubicBezTo>
                      <a:pt x="194" y="29"/>
                      <a:pt x="195" y="41"/>
                      <a:pt x="196" y="42"/>
                    </a:cubicBezTo>
                    <a:cubicBezTo>
                      <a:pt x="198" y="46"/>
                      <a:pt x="210" y="52"/>
                      <a:pt x="214" y="54"/>
                    </a:cubicBezTo>
                    <a:cubicBezTo>
                      <a:pt x="218" y="60"/>
                      <a:pt x="222" y="64"/>
                      <a:pt x="226" y="70"/>
                    </a:cubicBezTo>
                    <a:cubicBezTo>
                      <a:pt x="228" y="76"/>
                      <a:pt x="232" y="80"/>
                      <a:pt x="233" y="85"/>
                    </a:cubicBezTo>
                    <a:cubicBezTo>
                      <a:pt x="234" y="90"/>
                      <a:pt x="231" y="97"/>
                      <a:pt x="232" y="100"/>
                    </a:cubicBezTo>
                    <a:cubicBezTo>
                      <a:pt x="233" y="106"/>
                      <a:pt x="233" y="102"/>
                      <a:pt x="236" y="103"/>
                    </a:cubicBezTo>
                    <a:cubicBezTo>
                      <a:pt x="239" y="104"/>
                      <a:pt x="243" y="108"/>
                      <a:pt x="248" y="108"/>
                    </a:cubicBezTo>
                    <a:cubicBezTo>
                      <a:pt x="254" y="104"/>
                      <a:pt x="258" y="106"/>
                      <a:pt x="265" y="105"/>
                    </a:cubicBezTo>
                    <a:cubicBezTo>
                      <a:pt x="269" y="110"/>
                      <a:pt x="271" y="111"/>
                      <a:pt x="277" y="112"/>
                    </a:cubicBezTo>
                    <a:cubicBezTo>
                      <a:pt x="281" y="111"/>
                      <a:pt x="283" y="108"/>
                      <a:pt x="287" y="108"/>
                    </a:cubicBezTo>
                    <a:cubicBezTo>
                      <a:pt x="291" y="108"/>
                      <a:pt x="299" y="111"/>
                      <a:pt x="302" y="114"/>
                    </a:cubicBezTo>
                    <a:cubicBezTo>
                      <a:pt x="306" y="120"/>
                      <a:pt x="314" y="127"/>
                      <a:pt x="320" y="130"/>
                    </a:cubicBezTo>
                    <a:cubicBezTo>
                      <a:pt x="329" y="141"/>
                      <a:pt x="338" y="136"/>
                      <a:pt x="353" y="138"/>
                    </a:cubicBezTo>
                    <a:cubicBezTo>
                      <a:pt x="356" y="142"/>
                      <a:pt x="344" y="149"/>
                      <a:pt x="340" y="152"/>
                    </a:cubicBezTo>
                    <a:cubicBezTo>
                      <a:pt x="336" y="155"/>
                      <a:pt x="331" y="153"/>
                      <a:pt x="329" y="157"/>
                    </a:cubicBezTo>
                    <a:cubicBezTo>
                      <a:pt x="325" y="162"/>
                      <a:pt x="329" y="169"/>
                      <a:pt x="328" y="175"/>
                    </a:cubicBezTo>
                    <a:cubicBezTo>
                      <a:pt x="327" y="181"/>
                      <a:pt x="324" y="192"/>
                      <a:pt x="323" y="195"/>
                    </a:cubicBezTo>
                    <a:cubicBezTo>
                      <a:pt x="323" y="197"/>
                      <a:pt x="320" y="193"/>
                      <a:pt x="319" y="192"/>
                    </a:cubicBezTo>
                    <a:cubicBezTo>
                      <a:pt x="314" y="189"/>
                      <a:pt x="310" y="186"/>
                      <a:pt x="305" y="183"/>
                    </a:cubicBezTo>
                    <a:cubicBezTo>
                      <a:pt x="287" y="186"/>
                      <a:pt x="286" y="182"/>
                      <a:pt x="281" y="195"/>
                    </a:cubicBezTo>
                    <a:cubicBezTo>
                      <a:pt x="277" y="200"/>
                      <a:pt x="275" y="207"/>
                      <a:pt x="274" y="214"/>
                    </a:cubicBezTo>
                    <a:cubicBezTo>
                      <a:pt x="274" y="220"/>
                      <a:pt x="279" y="232"/>
                      <a:pt x="278" y="234"/>
                    </a:cubicBezTo>
                    <a:cubicBezTo>
                      <a:pt x="274" y="230"/>
                      <a:pt x="273" y="229"/>
                      <a:pt x="268" y="226"/>
                    </a:cubicBezTo>
                    <a:cubicBezTo>
                      <a:pt x="263" y="226"/>
                      <a:pt x="244" y="226"/>
                      <a:pt x="241" y="232"/>
                    </a:cubicBezTo>
                    <a:cubicBezTo>
                      <a:pt x="238" y="238"/>
                      <a:pt x="246" y="254"/>
                      <a:pt x="247" y="261"/>
                    </a:cubicBezTo>
                    <a:cubicBezTo>
                      <a:pt x="246" y="265"/>
                      <a:pt x="244" y="270"/>
                      <a:pt x="245" y="274"/>
                    </a:cubicBezTo>
                    <a:cubicBezTo>
                      <a:pt x="246" y="278"/>
                      <a:pt x="254" y="283"/>
                      <a:pt x="254" y="283"/>
                    </a:cubicBezTo>
                    <a:cubicBezTo>
                      <a:pt x="254" y="285"/>
                      <a:pt x="248" y="284"/>
                      <a:pt x="242" y="287"/>
                    </a:cubicBezTo>
                    <a:cubicBezTo>
                      <a:pt x="232" y="291"/>
                      <a:pt x="202" y="310"/>
                      <a:pt x="196" y="309"/>
                    </a:cubicBezTo>
                    <a:cubicBezTo>
                      <a:pt x="190" y="308"/>
                      <a:pt x="212" y="287"/>
                      <a:pt x="208" y="282"/>
                    </a:cubicBezTo>
                    <a:cubicBezTo>
                      <a:pt x="204" y="277"/>
                      <a:pt x="183" y="281"/>
                      <a:pt x="172" y="279"/>
                    </a:cubicBezTo>
                    <a:cubicBezTo>
                      <a:pt x="161" y="277"/>
                      <a:pt x="152" y="269"/>
                      <a:pt x="144" y="270"/>
                    </a:cubicBezTo>
                    <a:cubicBezTo>
                      <a:pt x="136" y="271"/>
                      <a:pt x="130" y="282"/>
                      <a:pt x="124" y="283"/>
                    </a:cubicBezTo>
                    <a:cubicBezTo>
                      <a:pt x="118" y="284"/>
                      <a:pt x="116" y="278"/>
                      <a:pt x="109" y="279"/>
                    </a:cubicBezTo>
                    <a:cubicBezTo>
                      <a:pt x="102" y="280"/>
                      <a:pt x="89" y="287"/>
                      <a:pt x="79" y="292"/>
                    </a:cubicBezTo>
                    <a:cubicBezTo>
                      <a:pt x="69" y="297"/>
                      <a:pt x="57" y="308"/>
                      <a:pt x="51" y="312"/>
                    </a:cubicBezTo>
                  </a:path>
                </a:pathLst>
              </a:custGeom>
              <a:grpFill/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CA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8" name="Freeform 722"/>
              <p:cNvSpPr>
                <a:spLocks/>
              </p:cNvSpPr>
              <p:nvPr>
                <p:custDataLst>
                  <p:tags r:id="rId174"/>
                </p:custDataLst>
              </p:nvPr>
            </p:nvSpPr>
            <p:spPr bwMode="gray">
              <a:xfrm>
                <a:off x="1007" y="1864"/>
                <a:ext cx="339" cy="308"/>
              </a:xfrm>
              <a:custGeom>
                <a:avLst/>
                <a:gdLst>
                  <a:gd name="T0" fmla="*/ 339 w 339"/>
                  <a:gd name="T1" fmla="*/ 0 h 308"/>
                  <a:gd name="T2" fmla="*/ 273 w 339"/>
                  <a:gd name="T3" fmla="*/ 23 h 308"/>
                  <a:gd name="T4" fmla="*/ 252 w 339"/>
                  <a:gd name="T5" fmla="*/ 31 h 308"/>
                  <a:gd name="T6" fmla="*/ 233 w 339"/>
                  <a:gd name="T7" fmla="*/ 34 h 308"/>
                  <a:gd name="T8" fmla="*/ 226 w 339"/>
                  <a:gd name="T9" fmla="*/ 55 h 308"/>
                  <a:gd name="T10" fmla="*/ 216 w 339"/>
                  <a:gd name="T11" fmla="*/ 74 h 308"/>
                  <a:gd name="T12" fmla="*/ 221 w 339"/>
                  <a:gd name="T13" fmla="*/ 92 h 308"/>
                  <a:gd name="T14" fmla="*/ 228 w 339"/>
                  <a:gd name="T15" fmla="*/ 103 h 308"/>
                  <a:gd name="T16" fmla="*/ 221 w 339"/>
                  <a:gd name="T17" fmla="*/ 112 h 308"/>
                  <a:gd name="T18" fmla="*/ 194 w 339"/>
                  <a:gd name="T19" fmla="*/ 109 h 308"/>
                  <a:gd name="T20" fmla="*/ 180 w 339"/>
                  <a:gd name="T21" fmla="*/ 101 h 308"/>
                  <a:gd name="T22" fmla="*/ 164 w 339"/>
                  <a:gd name="T23" fmla="*/ 100 h 308"/>
                  <a:gd name="T24" fmla="*/ 147 w 339"/>
                  <a:gd name="T25" fmla="*/ 110 h 308"/>
                  <a:gd name="T26" fmla="*/ 101 w 339"/>
                  <a:gd name="T27" fmla="*/ 86 h 308"/>
                  <a:gd name="T28" fmla="*/ 66 w 339"/>
                  <a:gd name="T29" fmla="*/ 88 h 308"/>
                  <a:gd name="T30" fmla="*/ 54 w 339"/>
                  <a:gd name="T31" fmla="*/ 97 h 308"/>
                  <a:gd name="T32" fmla="*/ 36 w 339"/>
                  <a:gd name="T33" fmla="*/ 116 h 308"/>
                  <a:gd name="T34" fmla="*/ 23 w 339"/>
                  <a:gd name="T35" fmla="*/ 118 h 308"/>
                  <a:gd name="T36" fmla="*/ 12 w 339"/>
                  <a:gd name="T37" fmla="*/ 142 h 308"/>
                  <a:gd name="T38" fmla="*/ 5 w 339"/>
                  <a:gd name="T39" fmla="*/ 155 h 308"/>
                  <a:gd name="T40" fmla="*/ 12 w 339"/>
                  <a:gd name="T41" fmla="*/ 173 h 308"/>
                  <a:gd name="T42" fmla="*/ 26 w 339"/>
                  <a:gd name="T43" fmla="*/ 181 h 308"/>
                  <a:gd name="T44" fmla="*/ 41 w 339"/>
                  <a:gd name="T45" fmla="*/ 202 h 308"/>
                  <a:gd name="T46" fmla="*/ 47 w 339"/>
                  <a:gd name="T47" fmla="*/ 211 h 308"/>
                  <a:gd name="T48" fmla="*/ 48 w 339"/>
                  <a:gd name="T49" fmla="*/ 206 h 308"/>
                  <a:gd name="T50" fmla="*/ 57 w 339"/>
                  <a:gd name="T51" fmla="*/ 200 h 308"/>
                  <a:gd name="T52" fmla="*/ 89 w 339"/>
                  <a:gd name="T53" fmla="*/ 197 h 308"/>
                  <a:gd name="T54" fmla="*/ 108 w 339"/>
                  <a:gd name="T55" fmla="*/ 211 h 308"/>
                  <a:gd name="T56" fmla="*/ 108 w 339"/>
                  <a:gd name="T57" fmla="*/ 221 h 308"/>
                  <a:gd name="T58" fmla="*/ 125 w 339"/>
                  <a:gd name="T59" fmla="*/ 227 h 308"/>
                  <a:gd name="T60" fmla="*/ 113 w 339"/>
                  <a:gd name="T61" fmla="*/ 247 h 308"/>
                  <a:gd name="T62" fmla="*/ 99 w 339"/>
                  <a:gd name="T63" fmla="*/ 233 h 308"/>
                  <a:gd name="T64" fmla="*/ 87 w 339"/>
                  <a:gd name="T65" fmla="*/ 238 h 308"/>
                  <a:gd name="T66" fmla="*/ 74 w 339"/>
                  <a:gd name="T67" fmla="*/ 248 h 308"/>
                  <a:gd name="T68" fmla="*/ 77 w 339"/>
                  <a:gd name="T69" fmla="*/ 265 h 308"/>
                  <a:gd name="T70" fmla="*/ 87 w 339"/>
                  <a:gd name="T71" fmla="*/ 279 h 308"/>
                  <a:gd name="T72" fmla="*/ 102 w 339"/>
                  <a:gd name="T73" fmla="*/ 295 h 308"/>
                  <a:gd name="T74" fmla="*/ 134 w 339"/>
                  <a:gd name="T75" fmla="*/ 293 h 308"/>
                  <a:gd name="T76" fmla="*/ 152 w 339"/>
                  <a:gd name="T77" fmla="*/ 302 h 308"/>
                  <a:gd name="T78" fmla="*/ 153 w 339"/>
                  <a:gd name="T79" fmla="*/ 242 h 308"/>
                  <a:gd name="T80" fmla="*/ 170 w 339"/>
                  <a:gd name="T81" fmla="*/ 235 h 308"/>
                  <a:gd name="T82" fmla="*/ 188 w 339"/>
                  <a:gd name="T83" fmla="*/ 226 h 308"/>
                  <a:gd name="T84" fmla="*/ 206 w 339"/>
                  <a:gd name="T85" fmla="*/ 230 h 308"/>
                  <a:gd name="T86" fmla="*/ 230 w 339"/>
                  <a:gd name="T87" fmla="*/ 253 h 308"/>
                  <a:gd name="T88" fmla="*/ 254 w 339"/>
                  <a:gd name="T89" fmla="*/ 269 h 308"/>
                  <a:gd name="T90" fmla="*/ 287 w 339"/>
                  <a:gd name="T91" fmla="*/ 269 h 308"/>
                  <a:gd name="T92" fmla="*/ 303 w 339"/>
                  <a:gd name="T93" fmla="*/ 287 h 308"/>
                  <a:gd name="T94" fmla="*/ 321 w 339"/>
                  <a:gd name="T95" fmla="*/ 308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39" h="308">
                    <a:moveTo>
                      <a:pt x="339" y="0"/>
                    </a:moveTo>
                    <a:cubicBezTo>
                      <a:pt x="328" y="3"/>
                      <a:pt x="287" y="18"/>
                      <a:pt x="273" y="23"/>
                    </a:cubicBezTo>
                    <a:cubicBezTo>
                      <a:pt x="262" y="26"/>
                      <a:pt x="259" y="29"/>
                      <a:pt x="252" y="31"/>
                    </a:cubicBezTo>
                    <a:cubicBezTo>
                      <a:pt x="245" y="33"/>
                      <a:pt x="237" y="30"/>
                      <a:pt x="233" y="34"/>
                    </a:cubicBezTo>
                    <a:cubicBezTo>
                      <a:pt x="225" y="39"/>
                      <a:pt x="229" y="48"/>
                      <a:pt x="226" y="55"/>
                    </a:cubicBezTo>
                    <a:cubicBezTo>
                      <a:pt x="223" y="62"/>
                      <a:pt x="217" y="68"/>
                      <a:pt x="216" y="74"/>
                    </a:cubicBezTo>
                    <a:cubicBezTo>
                      <a:pt x="211" y="82"/>
                      <a:pt x="216" y="85"/>
                      <a:pt x="221" y="92"/>
                    </a:cubicBezTo>
                    <a:cubicBezTo>
                      <a:pt x="223" y="101"/>
                      <a:pt x="226" y="94"/>
                      <a:pt x="228" y="103"/>
                    </a:cubicBezTo>
                    <a:cubicBezTo>
                      <a:pt x="227" y="105"/>
                      <a:pt x="225" y="112"/>
                      <a:pt x="221" y="112"/>
                    </a:cubicBezTo>
                    <a:cubicBezTo>
                      <a:pt x="212" y="112"/>
                      <a:pt x="194" y="109"/>
                      <a:pt x="194" y="109"/>
                    </a:cubicBezTo>
                    <a:cubicBezTo>
                      <a:pt x="189" y="107"/>
                      <a:pt x="185" y="104"/>
                      <a:pt x="180" y="101"/>
                    </a:cubicBezTo>
                    <a:cubicBezTo>
                      <a:pt x="175" y="100"/>
                      <a:pt x="169" y="99"/>
                      <a:pt x="164" y="100"/>
                    </a:cubicBezTo>
                    <a:cubicBezTo>
                      <a:pt x="159" y="101"/>
                      <a:pt x="157" y="112"/>
                      <a:pt x="147" y="110"/>
                    </a:cubicBezTo>
                    <a:cubicBezTo>
                      <a:pt x="133" y="108"/>
                      <a:pt x="114" y="90"/>
                      <a:pt x="101" y="86"/>
                    </a:cubicBezTo>
                    <a:cubicBezTo>
                      <a:pt x="88" y="82"/>
                      <a:pt x="74" y="86"/>
                      <a:pt x="66" y="88"/>
                    </a:cubicBezTo>
                    <a:cubicBezTo>
                      <a:pt x="62" y="93"/>
                      <a:pt x="59" y="94"/>
                      <a:pt x="54" y="97"/>
                    </a:cubicBezTo>
                    <a:cubicBezTo>
                      <a:pt x="53" y="105"/>
                      <a:pt x="43" y="112"/>
                      <a:pt x="36" y="116"/>
                    </a:cubicBezTo>
                    <a:cubicBezTo>
                      <a:pt x="35" y="127"/>
                      <a:pt x="32" y="122"/>
                      <a:pt x="23" y="118"/>
                    </a:cubicBezTo>
                    <a:cubicBezTo>
                      <a:pt x="17" y="112"/>
                      <a:pt x="18" y="136"/>
                      <a:pt x="12" y="142"/>
                    </a:cubicBezTo>
                    <a:cubicBezTo>
                      <a:pt x="11" y="149"/>
                      <a:pt x="10" y="151"/>
                      <a:pt x="5" y="155"/>
                    </a:cubicBezTo>
                    <a:cubicBezTo>
                      <a:pt x="0" y="164"/>
                      <a:pt x="2" y="172"/>
                      <a:pt x="12" y="173"/>
                    </a:cubicBezTo>
                    <a:cubicBezTo>
                      <a:pt x="17" y="175"/>
                      <a:pt x="21" y="178"/>
                      <a:pt x="26" y="181"/>
                    </a:cubicBezTo>
                    <a:cubicBezTo>
                      <a:pt x="32" y="189"/>
                      <a:pt x="31" y="198"/>
                      <a:pt x="41" y="202"/>
                    </a:cubicBezTo>
                    <a:cubicBezTo>
                      <a:pt x="41" y="204"/>
                      <a:pt x="41" y="213"/>
                      <a:pt x="47" y="211"/>
                    </a:cubicBezTo>
                    <a:cubicBezTo>
                      <a:pt x="49" y="210"/>
                      <a:pt x="47" y="207"/>
                      <a:pt x="48" y="206"/>
                    </a:cubicBezTo>
                    <a:cubicBezTo>
                      <a:pt x="50" y="203"/>
                      <a:pt x="54" y="201"/>
                      <a:pt x="57" y="200"/>
                    </a:cubicBezTo>
                    <a:cubicBezTo>
                      <a:pt x="67" y="196"/>
                      <a:pt x="78" y="198"/>
                      <a:pt x="89" y="197"/>
                    </a:cubicBezTo>
                    <a:cubicBezTo>
                      <a:pt x="103" y="195"/>
                      <a:pt x="102" y="200"/>
                      <a:pt x="108" y="211"/>
                    </a:cubicBezTo>
                    <a:cubicBezTo>
                      <a:pt x="113" y="214"/>
                      <a:pt x="105" y="218"/>
                      <a:pt x="108" y="221"/>
                    </a:cubicBezTo>
                    <a:cubicBezTo>
                      <a:pt x="111" y="224"/>
                      <a:pt x="124" y="223"/>
                      <a:pt x="125" y="227"/>
                    </a:cubicBezTo>
                    <a:cubicBezTo>
                      <a:pt x="123" y="236"/>
                      <a:pt x="121" y="243"/>
                      <a:pt x="113" y="247"/>
                    </a:cubicBezTo>
                    <a:cubicBezTo>
                      <a:pt x="106" y="243"/>
                      <a:pt x="108" y="236"/>
                      <a:pt x="99" y="233"/>
                    </a:cubicBezTo>
                    <a:cubicBezTo>
                      <a:pt x="78" y="238"/>
                      <a:pt x="95" y="228"/>
                      <a:pt x="87" y="238"/>
                    </a:cubicBezTo>
                    <a:cubicBezTo>
                      <a:pt x="85" y="241"/>
                      <a:pt x="74" y="248"/>
                      <a:pt x="74" y="248"/>
                    </a:cubicBezTo>
                    <a:cubicBezTo>
                      <a:pt x="70" y="255"/>
                      <a:pt x="66" y="263"/>
                      <a:pt x="77" y="265"/>
                    </a:cubicBezTo>
                    <a:cubicBezTo>
                      <a:pt x="79" y="270"/>
                      <a:pt x="83" y="274"/>
                      <a:pt x="87" y="279"/>
                    </a:cubicBezTo>
                    <a:cubicBezTo>
                      <a:pt x="91" y="284"/>
                      <a:pt x="94" y="293"/>
                      <a:pt x="102" y="295"/>
                    </a:cubicBezTo>
                    <a:cubicBezTo>
                      <a:pt x="113" y="290"/>
                      <a:pt x="120" y="292"/>
                      <a:pt x="134" y="293"/>
                    </a:cubicBezTo>
                    <a:cubicBezTo>
                      <a:pt x="140" y="296"/>
                      <a:pt x="146" y="298"/>
                      <a:pt x="152" y="302"/>
                    </a:cubicBezTo>
                    <a:cubicBezTo>
                      <a:pt x="156" y="293"/>
                      <a:pt x="150" y="253"/>
                      <a:pt x="153" y="242"/>
                    </a:cubicBezTo>
                    <a:cubicBezTo>
                      <a:pt x="156" y="231"/>
                      <a:pt x="164" y="238"/>
                      <a:pt x="170" y="235"/>
                    </a:cubicBezTo>
                    <a:cubicBezTo>
                      <a:pt x="176" y="231"/>
                      <a:pt x="181" y="227"/>
                      <a:pt x="188" y="226"/>
                    </a:cubicBezTo>
                    <a:cubicBezTo>
                      <a:pt x="194" y="227"/>
                      <a:pt x="200" y="229"/>
                      <a:pt x="206" y="230"/>
                    </a:cubicBezTo>
                    <a:cubicBezTo>
                      <a:pt x="217" y="238"/>
                      <a:pt x="214" y="250"/>
                      <a:pt x="230" y="253"/>
                    </a:cubicBezTo>
                    <a:cubicBezTo>
                      <a:pt x="238" y="258"/>
                      <a:pt x="245" y="267"/>
                      <a:pt x="254" y="269"/>
                    </a:cubicBezTo>
                    <a:cubicBezTo>
                      <a:pt x="263" y="272"/>
                      <a:pt x="279" y="266"/>
                      <a:pt x="287" y="269"/>
                    </a:cubicBezTo>
                    <a:cubicBezTo>
                      <a:pt x="295" y="274"/>
                      <a:pt x="295" y="282"/>
                      <a:pt x="303" y="287"/>
                    </a:cubicBezTo>
                    <a:cubicBezTo>
                      <a:pt x="304" y="300"/>
                      <a:pt x="310" y="301"/>
                      <a:pt x="321" y="308"/>
                    </a:cubicBezTo>
                  </a:path>
                </a:pathLst>
              </a:custGeom>
              <a:grpFill/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CA" sz="1632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65" name="Freeform 731"/>
            <p:cNvSpPr>
              <a:spLocks/>
            </p:cNvSpPr>
            <p:nvPr/>
          </p:nvSpPr>
          <p:spPr bwMode="gray">
            <a:xfrm>
              <a:off x="4379046" y="3312145"/>
              <a:ext cx="580608" cy="516439"/>
            </a:xfrm>
            <a:custGeom>
              <a:avLst/>
              <a:gdLst/>
              <a:ahLst/>
              <a:cxnLst/>
              <a:rect l="l" t="t" r="r" b="b"/>
              <a:pathLst>
                <a:path w="929381" h="826666">
                  <a:moveTo>
                    <a:pt x="693000" y="752265"/>
                  </a:moveTo>
                  <a:cubicBezTo>
                    <a:pt x="698193" y="754676"/>
                    <a:pt x="703711" y="759499"/>
                    <a:pt x="709229" y="760532"/>
                  </a:cubicBezTo>
                  <a:cubicBezTo>
                    <a:pt x="711826" y="761910"/>
                    <a:pt x="717993" y="762599"/>
                    <a:pt x="717993" y="762599"/>
                  </a:cubicBezTo>
                  <a:cubicBezTo>
                    <a:pt x="721239" y="764321"/>
                    <a:pt x="725459" y="763976"/>
                    <a:pt x="729029" y="764665"/>
                  </a:cubicBezTo>
                  <a:cubicBezTo>
                    <a:pt x="734547" y="767076"/>
                    <a:pt x="739741" y="765354"/>
                    <a:pt x="746233" y="765354"/>
                  </a:cubicBezTo>
                  <a:cubicBezTo>
                    <a:pt x="747856" y="764321"/>
                    <a:pt x="749154" y="763632"/>
                    <a:pt x="751102" y="763288"/>
                  </a:cubicBezTo>
                  <a:cubicBezTo>
                    <a:pt x="753049" y="761565"/>
                    <a:pt x="756295" y="759843"/>
                    <a:pt x="758892" y="759154"/>
                  </a:cubicBezTo>
                  <a:cubicBezTo>
                    <a:pt x="762138" y="757432"/>
                    <a:pt x="766033" y="758121"/>
                    <a:pt x="769603" y="758465"/>
                  </a:cubicBezTo>
                  <a:cubicBezTo>
                    <a:pt x="770577" y="763288"/>
                    <a:pt x="771226" y="768110"/>
                    <a:pt x="768954" y="772932"/>
                  </a:cubicBezTo>
                  <a:cubicBezTo>
                    <a:pt x="768305" y="776721"/>
                    <a:pt x="768305" y="780510"/>
                    <a:pt x="767007" y="783955"/>
                  </a:cubicBezTo>
                  <a:cubicBezTo>
                    <a:pt x="766682" y="786710"/>
                    <a:pt x="765059" y="788777"/>
                    <a:pt x="763111" y="790499"/>
                  </a:cubicBezTo>
                  <a:cubicBezTo>
                    <a:pt x="761813" y="792910"/>
                    <a:pt x="761489" y="795321"/>
                    <a:pt x="760190" y="797732"/>
                  </a:cubicBezTo>
                  <a:cubicBezTo>
                    <a:pt x="759866" y="799799"/>
                    <a:pt x="758892" y="800833"/>
                    <a:pt x="758243" y="802555"/>
                  </a:cubicBezTo>
                  <a:cubicBezTo>
                    <a:pt x="757593" y="805655"/>
                    <a:pt x="758892" y="809444"/>
                    <a:pt x="755321" y="810133"/>
                  </a:cubicBezTo>
                  <a:cubicBezTo>
                    <a:pt x="752238" y="811338"/>
                    <a:pt x="750777" y="810994"/>
                    <a:pt x="745584" y="811855"/>
                  </a:cubicBezTo>
                  <a:lnTo>
                    <a:pt x="740390" y="815988"/>
                  </a:lnTo>
                  <a:cubicBezTo>
                    <a:pt x="739416" y="817022"/>
                    <a:pt x="739416" y="816677"/>
                    <a:pt x="737793" y="818055"/>
                  </a:cubicBezTo>
                  <a:cubicBezTo>
                    <a:pt x="736170" y="819433"/>
                    <a:pt x="735521" y="822188"/>
                    <a:pt x="733574" y="823566"/>
                  </a:cubicBezTo>
                  <a:cubicBezTo>
                    <a:pt x="732600" y="825633"/>
                    <a:pt x="732275" y="826322"/>
                    <a:pt x="730003" y="826666"/>
                  </a:cubicBezTo>
                  <a:cubicBezTo>
                    <a:pt x="719292" y="826322"/>
                    <a:pt x="720915" y="826666"/>
                    <a:pt x="714423" y="822533"/>
                  </a:cubicBezTo>
                  <a:cubicBezTo>
                    <a:pt x="712800" y="820122"/>
                    <a:pt x="711826" y="818744"/>
                    <a:pt x="709554" y="817366"/>
                  </a:cubicBezTo>
                  <a:cubicBezTo>
                    <a:pt x="707931" y="814955"/>
                    <a:pt x="707606" y="813577"/>
                    <a:pt x="704685" y="812888"/>
                  </a:cubicBezTo>
                  <a:cubicBezTo>
                    <a:pt x="702088" y="810822"/>
                    <a:pt x="699167" y="806344"/>
                    <a:pt x="697869" y="802899"/>
                  </a:cubicBezTo>
                  <a:cubicBezTo>
                    <a:pt x="697544" y="799455"/>
                    <a:pt x="696570" y="794977"/>
                    <a:pt x="700465" y="794288"/>
                  </a:cubicBezTo>
                  <a:cubicBezTo>
                    <a:pt x="702413" y="793255"/>
                    <a:pt x="701764" y="792221"/>
                    <a:pt x="700790" y="790155"/>
                  </a:cubicBezTo>
                  <a:cubicBezTo>
                    <a:pt x="700465" y="787743"/>
                    <a:pt x="699167" y="785677"/>
                    <a:pt x="697544" y="783955"/>
                  </a:cubicBezTo>
                  <a:cubicBezTo>
                    <a:pt x="696570" y="781543"/>
                    <a:pt x="695272" y="779821"/>
                    <a:pt x="693974" y="777754"/>
                  </a:cubicBezTo>
                  <a:cubicBezTo>
                    <a:pt x="693649" y="775343"/>
                    <a:pt x="693000" y="774999"/>
                    <a:pt x="691052" y="773965"/>
                  </a:cubicBezTo>
                  <a:cubicBezTo>
                    <a:pt x="690728" y="771554"/>
                    <a:pt x="690403" y="770865"/>
                    <a:pt x="688780" y="769488"/>
                  </a:cubicBezTo>
                  <a:cubicBezTo>
                    <a:pt x="687806" y="767076"/>
                    <a:pt x="687482" y="764665"/>
                    <a:pt x="687157" y="762254"/>
                  </a:cubicBezTo>
                  <a:cubicBezTo>
                    <a:pt x="687806" y="758465"/>
                    <a:pt x="687157" y="756054"/>
                    <a:pt x="689754" y="753987"/>
                  </a:cubicBezTo>
                  <a:cubicBezTo>
                    <a:pt x="691052" y="751576"/>
                    <a:pt x="690079" y="752265"/>
                    <a:pt x="693000" y="752265"/>
                  </a:cubicBezTo>
                  <a:close/>
                  <a:moveTo>
                    <a:pt x="0" y="395068"/>
                  </a:moveTo>
                  <a:cubicBezTo>
                    <a:pt x="1289" y="397376"/>
                    <a:pt x="2498" y="399747"/>
                    <a:pt x="3038" y="402448"/>
                  </a:cubicBezTo>
                  <a:cubicBezTo>
                    <a:pt x="891" y="400847"/>
                    <a:pt x="184" y="395850"/>
                    <a:pt x="0" y="395068"/>
                  </a:cubicBezTo>
                  <a:close/>
                  <a:moveTo>
                    <a:pt x="681396" y="758"/>
                  </a:moveTo>
                  <a:cubicBezTo>
                    <a:pt x="682613" y="-1223"/>
                    <a:pt x="686183" y="672"/>
                    <a:pt x="694623" y="6528"/>
                  </a:cubicBezTo>
                  <a:cubicBezTo>
                    <a:pt x="698193" y="12383"/>
                    <a:pt x="697869" y="15828"/>
                    <a:pt x="704036" y="18239"/>
                  </a:cubicBezTo>
                  <a:cubicBezTo>
                    <a:pt x="705984" y="38217"/>
                    <a:pt x="704036" y="29606"/>
                    <a:pt x="708905" y="44762"/>
                  </a:cubicBezTo>
                  <a:cubicBezTo>
                    <a:pt x="710528" y="49584"/>
                    <a:pt x="713449" y="59573"/>
                    <a:pt x="713449" y="59573"/>
                  </a:cubicBezTo>
                  <a:cubicBezTo>
                    <a:pt x="715072" y="70940"/>
                    <a:pt x="713774" y="91607"/>
                    <a:pt x="725784" y="96085"/>
                  </a:cubicBezTo>
                  <a:cubicBezTo>
                    <a:pt x="736820" y="91951"/>
                    <a:pt x="731951" y="88163"/>
                    <a:pt x="740065" y="90918"/>
                  </a:cubicBezTo>
                  <a:cubicBezTo>
                    <a:pt x="743636" y="97118"/>
                    <a:pt x="747206" y="96429"/>
                    <a:pt x="750777" y="102629"/>
                  </a:cubicBezTo>
                  <a:cubicBezTo>
                    <a:pt x="751426" y="108485"/>
                    <a:pt x="751426" y="114685"/>
                    <a:pt x="752400" y="120541"/>
                  </a:cubicBezTo>
                  <a:cubicBezTo>
                    <a:pt x="753049" y="123985"/>
                    <a:pt x="755646" y="130530"/>
                    <a:pt x="755646" y="130530"/>
                  </a:cubicBezTo>
                  <a:cubicBezTo>
                    <a:pt x="756295" y="136386"/>
                    <a:pt x="758892" y="146719"/>
                    <a:pt x="760839" y="152575"/>
                  </a:cubicBezTo>
                  <a:cubicBezTo>
                    <a:pt x="762787" y="158431"/>
                    <a:pt x="766357" y="162908"/>
                    <a:pt x="767980" y="167042"/>
                  </a:cubicBezTo>
                  <a:cubicBezTo>
                    <a:pt x="768954" y="170486"/>
                    <a:pt x="771226" y="173586"/>
                    <a:pt x="771226" y="177031"/>
                  </a:cubicBezTo>
                  <a:cubicBezTo>
                    <a:pt x="771551" y="187364"/>
                    <a:pt x="770577" y="198042"/>
                    <a:pt x="772524" y="208376"/>
                  </a:cubicBezTo>
                  <a:cubicBezTo>
                    <a:pt x="772849" y="210443"/>
                    <a:pt x="775770" y="210443"/>
                    <a:pt x="777393" y="211476"/>
                  </a:cubicBezTo>
                  <a:cubicBezTo>
                    <a:pt x="784859" y="216643"/>
                    <a:pt x="792649" y="218710"/>
                    <a:pt x="800764" y="221465"/>
                  </a:cubicBezTo>
                  <a:cubicBezTo>
                    <a:pt x="803685" y="223876"/>
                    <a:pt x="807580" y="225254"/>
                    <a:pt x="810177" y="228010"/>
                  </a:cubicBezTo>
                  <a:lnTo>
                    <a:pt x="813098" y="233133"/>
                  </a:lnTo>
                  <a:cubicBezTo>
                    <a:pt x="812855" y="233435"/>
                    <a:pt x="812936" y="233176"/>
                    <a:pt x="817967" y="234899"/>
                  </a:cubicBezTo>
                  <a:cubicBezTo>
                    <a:pt x="821538" y="240754"/>
                    <a:pt x="824134" y="242821"/>
                    <a:pt x="830302" y="244543"/>
                  </a:cubicBezTo>
                  <a:cubicBezTo>
                    <a:pt x="837118" y="249710"/>
                    <a:pt x="834521" y="251432"/>
                    <a:pt x="830302" y="257977"/>
                  </a:cubicBezTo>
                  <a:cubicBezTo>
                    <a:pt x="834846" y="262799"/>
                    <a:pt x="837442" y="267622"/>
                    <a:pt x="842636" y="271066"/>
                  </a:cubicBezTo>
                  <a:cubicBezTo>
                    <a:pt x="843610" y="282089"/>
                    <a:pt x="840364" y="293800"/>
                    <a:pt x="850426" y="297589"/>
                  </a:cubicBezTo>
                  <a:cubicBezTo>
                    <a:pt x="859190" y="294489"/>
                    <a:pt x="862761" y="300000"/>
                    <a:pt x="870875" y="302411"/>
                  </a:cubicBezTo>
                  <a:cubicBezTo>
                    <a:pt x="875744" y="305167"/>
                    <a:pt x="869901" y="315500"/>
                    <a:pt x="876718" y="325489"/>
                  </a:cubicBezTo>
                  <a:cubicBezTo>
                    <a:pt x="883534" y="335478"/>
                    <a:pt x="904957" y="354423"/>
                    <a:pt x="911449" y="362001"/>
                  </a:cubicBezTo>
                  <a:cubicBezTo>
                    <a:pt x="917616" y="369235"/>
                    <a:pt x="912423" y="360968"/>
                    <a:pt x="915020" y="370957"/>
                  </a:cubicBezTo>
                  <a:cubicBezTo>
                    <a:pt x="917941" y="370268"/>
                    <a:pt x="928328" y="356490"/>
                    <a:pt x="929301" y="358212"/>
                  </a:cubicBezTo>
                  <a:cubicBezTo>
                    <a:pt x="930275" y="359934"/>
                    <a:pt x="922160" y="371301"/>
                    <a:pt x="920538" y="381290"/>
                  </a:cubicBezTo>
                  <a:cubicBezTo>
                    <a:pt x="918915" y="391280"/>
                    <a:pt x="918590" y="406091"/>
                    <a:pt x="919564" y="417458"/>
                  </a:cubicBezTo>
                  <a:cubicBezTo>
                    <a:pt x="920538" y="428825"/>
                    <a:pt x="926380" y="437092"/>
                    <a:pt x="925406" y="450181"/>
                  </a:cubicBezTo>
                  <a:cubicBezTo>
                    <a:pt x="924108" y="463270"/>
                    <a:pt x="914046" y="483248"/>
                    <a:pt x="912747" y="495993"/>
                  </a:cubicBezTo>
                  <a:cubicBezTo>
                    <a:pt x="908528" y="509426"/>
                    <a:pt x="903983" y="523549"/>
                    <a:pt x="900413" y="530782"/>
                  </a:cubicBezTo>
                  <a:cubicBezTo>
                    <a:pt x="897816" y="534227"/>
                    <a:pt x="893921" y="535949"/>
                    <a:pt x="891000" y="539049"/>
                  </a:cubicBezTo>
                  <a:cubicBezTo>
                    <a:pt x="888728" y="545594"/>
                    <a:pt x="890675" y="551105"/>
                    <a:pt x="884833" y="553516"/>
                  </a:cubicBezTo>
                  <a:cubicBezTo>
                    <a:pt x="880613" y="560061"/>
                    <a:pt x="871849" y="562127"/>
                    <a:pt x="867629" y="568672"/>
                  </a:cubicBezTo>
                  <a:cubicBezTo>
                    <a:pt x="865357" y="576250"/>
                    <a:pt x="863734" y="576250"/>
                    <a:pt x="857242" y="578661"/>
                  </a:cubicBezTo>
                  <a:cubicBezTo>
                    <a:pt x="854321" y="582105"/>
                    <a:pt x="854970" y="587272"/>
                    <a:pt x="852698" y="592095"/>
                  </a:cubicBezTo>
                  <a:cubicBezTo>
                    <a:pt x="850426" y="596917"/>
                    <a:pt x="847505" y="601739"/>
                    <a:pt x="844259" y="606906"/>
                  </a:cubicBezTo>
                  <a:cubicBezTo>
                    <a:pt x="841987" y="614139"/>
                    <a:pt x="841013" y="620684"/>
                    <a:pt x="833547" y="623440"/>
                  </a:cubicBezTo>
                  <a:cubicBezTo>
                    <a:pt x="830626" y="627573"/>
                    <a:pt x="828354" y="623095"/>
                    <a:pt x="825757" y="631706"/>
                  </a:cubicBezTo>
                  <a:cubicBezTo>
                    <a:pt x="823810" y="639629"/>
                    <a:pt x="823161" y="667529"/>
                    <a:pt x="817967" y="676141"/>
                  </a:cubicBezTo>
                  <a:cubicBezTo>
                    <a:pt x="816020" y="684063"/>
                    <a:pt x="798167" y="683719"/>
                    <a:pt x="794597" y="684407"/>
                  </a:cubicBezTo>
                  <a:cubicBezTo>
                    <a:pt x="787131" y="686819"/>
                    <a:pt x="777069" y="684063"/>
                    <a:pt x="769603" y="686819"/>
                  </a:cubicBezTo>
                  <a:cubicBezTo>
                    <a:pt x="762138" y="689574"/>
                    <a:pt x="755321" y="697152"/>
                    <a:pt x="749154" y="700941"/>
                  </a:cubicBezTo>
                  <a:cubicBezTo>
                    <a:pt x="741688" y="706452"/>
                    <a:pt x="742662" y="707141"/>
                    <a:pt x="732924" y="710586"/>
                  </a:cubicBezTo>
                  <a:cubicBezTo>
                    <a:pt x="727731" y="710930"/>
                    <a:pt x="722862" y="706108"/>
                    <a:pt x="717993" y="702663"/>
                  </a:cubicBezTo>
                  <a:lnTo>
                    <a:pt x="710406" y="693923"/>
                  </a:lnTo>
                  <a:cubicBezTo>
                    <a:pt x="709310" y="692760"/>
                    <a:pt x="708418" y="692330"/>
                    <a:pt x="704036" y="689574"/>
                  </a:cubicBezTo>
                  <a:cubicBezTo>
                    <a:pt x="698031" y="691361"/>
                    <a:pt x="704360" y="689488"/>
                    <a:pt x="694623" y="694397"/>
                  </a:cubicBezTo>
                  <a:cubicBezTo>
                    <a:pt x="688131" y="697497"/>
                    <a:pt x="672551" y="706797"/>
                    <a:pt x="665085" y="707486"/>
                  </a:cubicBezTo>
                  <a:cubicBezTo>
                    <a:pt x="655347" y="705419"/>
                    <a:pt x="660541" y="707486"/>
                    <a:pt x="649505" y="699219"/>
                  </a:cubicBezTo>
                  <a:cubicBezTo>
                    <a:pt x="639443" y="696119"/>
                    <a:pt x="646584" y="697841"/>
                    <a:pt x="627757" y="696119"/>
                  </a:cubicBezTo>
                  <a:cubicBezTo>
                    <a:pt x="621915" y="691641"/>
                    <a:pt x="615747" y="690263"/>
                    <a:pt x="608931" y="687852"/>
                  </a:cubicBezTo>
                  <a:cubicBezTo>
                    <a:pt x="602439" y="683030"/>
                    <a:pt x="600816" y="675107"/>
                    <a:pt x="593351" y="673041"/>
                  </a:cubicBezTo>
                  <a:lnTo>
                    <a:pt x="590683" y="668638"/>
                  </a:lnTo>
                  <a:cubicBezTo>
                    <a:pt x="589496" y="666604"/>
                    <a:pt x="592052" y="669510"/>
                    <a:pt x="592052" y="657885"/>
                  </a:cubicBezTo>
                  <a:cubicBezTo>
                    <a:pt x="592052" y="646518"/>
                    <a:pt x="582964" y="633773"/>
                    <a:pt x="573226" y="629984"/>
                  </a:cubicBezTo>
                  <a:cubicBezTo>
                    <a:pt x="572252" y="628262"/>
                    <a:pt x="571928" y="625506"/>
                    <a:pt x="569980" y="624817"/>
                  </a:cubicBezTo>
                  <a:cubicBezTo>
                    <a:pt x="566085" y="623095"/>
                    <a:pt x="561216" y="630673"/>
                    <a:pt x="557646" y="628262"/>
                  </a:cubicBezTo>
                  <a:cubicBezTo>
                    <a:pt x="555049" y="626540"/>
                    <a:pt x="561866" y="617584"/>
                    <a:pt x="565436" y="615173"/>
                  </a:cubicBezTo>
                  <a:cubicBezTo>
                    <a:pt x="564138" y="606906"/>
                    <a:pt x="561866" y="602773"/>
                    <a:pt x="559269" y="595195"/>
                  </a:cubicBezTo>
                  <a:cubicBezTo>
                    <a:pt x="558295" y="596917"/>
                    <a:pt x="557321" y="598639"/>
                    <a:pt x="556023" y="600017"/>
                  </a:cubicBezTo>
                  <a:cubicBezTo>
                    <a:pt x="554725" y="601050"/>
                    <a:pt x="552452" y="600361"/>
                    <a:pt x="551479" y="601739"/>
                  </a:cubicBezTo>
                  <a:cubicBezTo>
                    <a:pt x="544013" y="610006"/>
                    <a:pt x="556348" y="604839"/>
                    <a:pt x="545311" y="608284"/>
                  </a:cubicBezTo>
                  <a:lnTo>
                    <a:pt x="543689" y="616551"/>
                  </a:lnTo>
                  <a:lnTo>
                    <a:pt x="532693" y="617928"/>
                  </a:lnTo>
                  <a:cubicBezTo>
                    <a:pt x="530948" y="616378"/>
                    <a:pt x="530543" y="613278"/>
                    <a:pt x="529731" y="610006"/>
                  </a:cubicBezTo>
                  <a:cubicBezTo>
                    <a:pt x="534275" y="608284"/>
                    <a:pt x="541092" y="611384"/>
                    <a:pt x="543689" y="606906"/>
                  </a:cubicBezTo>
                  <a:cubicBezTo>
                    <a:pt x="546934" y="603806"/>
                    <a:pt x="543039" y="599328"/>
                    <a:pt x="545636" y="591750"/>
                  </a:cubicBezTo>
                  <a:cubicBezTo>
                    <a:pt x="547259" y="586583"/>
                    <a:pt x="552128" y="581072"/>
                    <a:pt x="554400" y="576250"/>
                  </a:cubicBezTo>
                  <a:lnTo>
                    <a:pt x="559269" y="562127"/>
                  </a:lnTo>
                  <a:lnTo>
                    <a:pt x="556469" y="552354"/>
                  </a:lnTo>
                  <a:cubicBezTo>
                    <a:pt x="555861" y="551708"/>
                    <a:pt x="554887" y="553516"/>
                    <a:pt x="551479" y="557305"/>
                  </a:cubicBezTo>
                  <a:lnTo>
                    <a:pt x="548801" y="566045"/>
                  </a:lnTo>
                  <a:cubicBezTo>
                    <a:pt x="548233" y="567208"/>
                    <a:pt x="547259" y="567638"/>
                    <a:pt x="543689" y="570394"/>
                  </a:cubicBezTo>
                  <a:cubicBezTo>
                    <a:pt x="541092" y="577628"/>
                    <a:pt x="538495" y="576939"/>
                    <a:pt x="532652" y="580383"/>
                  </a:cubicBezTo>
                  <a:cubicBezTo>
                    <a:pt x="529407" y="582450"/>
                    <a:pt x="523239" y="586928"/>
                    <a:pt x="523239" y="586928"/>
                  </a:cubicBezTo>
                  <a:cubicBezTo>
                    <a:pt x="516423" y="597606"/>
                    <a:pt x="518046" y="596917"/>
                    <a:pt x="507659" y="600017"/>
                  </a:cubicBezTo>
                  <a:cubicBezTo>
                    <a:pt x="503115" y="608284"/>
                    <a:pt x="500193" y="608628"/>
                    <a:pt x="493702" y="601739"/>
                  </a:cubicBezTo>
                  <a:cubicBezTo>
                    <a:pt x="490780" y="587617"/>
                    <a:pt x="490780" y="572116"/>
                    <a:pt x="476498" y="566950"/>
                  </a:cubicBezTo>
                  <a:cubicBezTo>
                    <a:pt x="471305" y="561438"/>
                    <a:pt x="468059" y="559716"/>
                    <a:pt x="470331" y="552138"/>
                  </a:cubicBezTo>
                  <a:cubicBezTo>
                    <a:pt x="466761" y="541805"/>
                    <a:pt x="470656" y="548349"/>
                    <a:pt x="453128" y="545594"/>
                  </a:cubicBezTo>
                  <a:cubicBezTo>
                    <a:pt x="447934" y="543871"/>
                    <a:pt x="445013" y="538705"/>
                    <a:pt x="439820" y="537327"/>
                  </a:cubicBezTo>
                  <a:cubicBezTo>
                    <a:pt x="434626" y="535949"/>
                    <a:pt x="426836" y="539394"/>
                    <a:pt x="421967" y="537327"/>
                  </a:cubicBezTo>
                  <a:cubicBezTo>
                    <a:pt x="419046" y="532504"/>
                    <a:pt x="409633" y="525615"/>
                    <a:pt x="409633" y="525615"/>
                  </a:cubicBezTo>
                  <a:cubicBezTo>
                    <a:pt x="390482" y="526304"/>
                    <a:pt x="369708" y="521138"/>
                    <a:pt x="351856" y="529060"/>
                  </a:cubicBezTo>
                  <a:cubicBezTo>
                    <a:pt x="348610" y="530438"/>
                    <a:pt x="346338" y="534227"/>
                    <a:pt x="342767" y="535605"/>
                  </a:cubicBezTo>
                  <a:cubicBezTo>
                    <a:pt x="339521" y="536638"/>
                    <a:pt x="336600" y="538016"/>
                    <a:pt x="333354" y="539049"/>
                  </a:cubicBezTo>
                  <a:cubicBezTo>
                    <a:pt x="320046" y="543871"/>
                    <a:pt x="291157" y="545594"/>
                    <a:pt x="291157" y="545594"/>
                  </a:cubicBezTo>
                  <a:cubicBezTo>
                    <a:pt x="283367" y="548349"/>
                    <a:pt x="273954" y="550416"/>
                    <a:pt x="267462" y="555927"/>
                  </a:cubicBezTo>
                  <a:cubicBezTo>
                    <a:pt x="259348" y="560061"/>
                    <a:pt x="249935" y="558338"/>
                    <a:pt x="243767" y="563161"/>
                  </a:cubicBezTo>
                  <a:cubicBezTo>
                    <a:pt x="242469" y="565227"/>
                    <a:pt x="234030" y="583139"/>
                    <a:pt x="230459" y="585206"/>
                  </a:cubicBezTo>
                  <a:cubicBezTo>
                    <a:pt x="214879" y="588994"/>
                    <a:pt x="167813" y="583139"/>
                    <a:pt x="149312" y="585206"/>
                  </a:cubicBezTo>
                  <a:cubicBezTo>
                    <a:pt x="132758" y="585894"/>
                    <a:pt x="136003" y="596228"/>
                    <a:pt x="131135" y="598295"/>
                  </a:cubicBezTo>
                  <a:cubicBezTo>
                    <a:pt x="126266" y="600361"/>
                    <a:pt x="124967" y="596228"/>
                    <a:pt x="119774" y="598639"/>
                  </a:cubicBezTo>
                  <a:cubicBezTo>
                    <a:pt x="114256" y="599672"/>
                    <a:pt x="109062" y="611039"/>
                    <a:pt x="99649" y="613451"/>
                  </a:cubicBezTo>
                  <a:cubicBezTo>
                    <a:pt x="90236" y="615862"/>
                    <a:pt x="72059" y="614828"/>
                    <a:pt x="63620" y="613451"/>
                  </a:cubicBezTo>
                  <a:cubicBezTo>
                    <a:pt x="53233" y="605873"/>
                    <a:pt x="58102" y="608284"/>
                    <a:pt x="49663" y="605184"/>
                  </a:cubicBezTo>
                  <a:cubicBezTo>
                    <a:pt x="45443" y="597606"/>
                    <a:pt x="42522" y="596917"/>
                    <a:pt x="34082" y="595195"/>
                  </a:cubicBezTo>
                  <a:cubicBezTo>
                    <a:pt x="33108" y="592095"/>
                    <a:pt x="28564" y="583483"/>
                    <a:pt x="32459" y="580383"/>
                  </a:cubicBezTo>
                  <a:cubicBezTo>
                    <a:pt x="36679" y="577283"/>
                    <a:pt x="42197" y="576594"/>
                    <a:pt x="46741" y="573839"/>
                  </a:cubicBezTo>
                  <a:lnTo>
                    <a:pt x="51285" y="563850"/>
                  </a:lnTo>
                  <a:cubicBezTo>
                    <a:pt x="50961" y="560405"/>
                    <a:pt x="48040" y="553860"/>
                    <a:pt x="48040" y="553860"/>
                  </a:cubicBezTo>
                  <a:cubicBezTo>
                    <a:pt x="50961" y="545594"/>
                    <a:pt x="52584" y="537327"/>
                    <a:pt x="49663" y="529060"/>
                  </a:cubicBezTo>
                  <a:cubicBezTo>
                    <a:pt x="47390" y="522515"/>
                    <a:pt x="45118" y="519071"/>
                    <a:pt x="40249" y="514249"/>
                  </a:cubicBezTo>
                  <a:cubicBezTo>
                    <a:pt x="39276" y="510804"/>
                    <a:pt x="36679" y="507704"/>
                    <a:pt x="35705" y="504260"/>
                  </a:cubicBezTo>
                  <a:cubicBezTo>
                    <a:pt x="32784" y="491170"/>
                    <a:pt x="35056" y="477392"/>
                    <a:pt x="31161" y="464648"/>
                  </a:cubicBezTo>
                  <a:cubicBezTo>
                    <a:pt x="28889" y="456725"/>
                    <a:pt x="22722" y="452247"/>
                    <a:pt x="20125" y="444669"/>
                  </a:cubicBezTo>
                  <a:cubicBezTo>
                    <a:pt x="17853" y="437436"/>
                    <a:pt x="16554" y="431236"/>
                    <a:pt x="12335" y="425036"/>
                  </a:cubicBezTo>
                  <a:lnTo>
                    <a:pt x="3038" y="402448"/>
                  </a:lnTo>
                  <a:cubicBezTo>
                    <a:pt x="4103" y="404214"/>
                    <a:pt x="6140" y="403877"/>
                    <a:pt x="9089" y="398513"/>
                  </a:cubicBezTo>
                  <a:cubicBezTo>
                    <a:pt x="10712" y="395757"/>
                    <a:pt x="8115" y="391968"/>
                    <a:pt x="7790" y="388524"/>
                  </a:cubicBezTo>
                  <a:cubicBezTo>
                    <a:pt x="11584" y="383572"/>
                    <a:pt x="12497" y="393002"/>
                    <a:pt x="13958" y="395068"/>
                  </a:cubicBezTo>
                  <a:cubicBezTo>
                    <a:pt x="14931" y="396446"/>
                    <a:pt x="16879" y="396102"/>
                    <a:pt x="18502" y="396791"/>
                  </a:cubicBezTo>
                  <a:cubicBezTo>
                    <a:pt x="28889" y="393002"/>
                    <a:pt x="23371" y="382668"/>
                    <a:pt x="18502" y="375435"/>
                  </a:cubicBezTo>
                  <a:cubicBezTo>
                    <a:pt x="16230" y="368546"/>
                    <a:pt x="13308" y="369235"/>
                    <a:pt x="7790" y="365446"/>
                  </a:cubicBezTo>
                  <a:cubicBezTo>
                    <a:pt x="7141" y="363723"/>
                    <a:pt x="6492" y="362001"/>
                    <a:pt x="6167" y="360279"/>
                  </a:cubicBezTo>
                  <a:cubicBezTo>
                    <a:pt x="5518" y="358212"/>
                    <a:pt x="5194" y="355801"/>
                    <a:pt x="4545" y="353734"/>
                  </a:cubicBezTo>
                  <a:cubicBezTo>
                    <a:pt x="3571" y="350290"/>
                    <a:pt x="1299" y="343745"/>
                    <a:pt x="1299" y="343745"/>
                  </a:cubicBezTo>
                  <a:cubicBezTo>
                    <a:pt x="2597" y="333067"/>
                    <a:pt x="5843" y="329278"/>
                    <a:pt x="11036" y="321011"/>
                  </a:cubicBezTo>
                  <a:cubicBezTo>
                    <a:pt x="13958" y="309989"/>
                    <a:pt x="8764" y="285189"/>
                    <a:pt x="20125" y="281055"/>
                  </a:cubicBezTo>
                  <a:cubicBezTo>
                    <a:pt x="17528" y="289666"/>
                    <a:pt x="12335" y="297244"/>
                    <a:pt x="23371" y="301033"/>
                  </a:cubicBezTo>
                  <a:cubicBezTo>
                    <a:pt x="29538" y="290011"/>
                    <a:pt x="33758" y="284155"/>
                    <a:pt x="44469" y="276577"/>
                  </a:cubicBezTo>
                  <a:cubicBezTo>
                    <a:pt x="49663" y="271066"/>
                    <a:pt x="51285" y="270377"/>
                    <a:pt x="54531" y="267966"/>
                  </a:cubicBezTo>
                  <a:cubicBezTo>
                    <a:pt x="57777" y="265899"/>
                    <a:pt x="63620" y="261077"/>
                    <a:pt x="63620" y="261077"/>
                  </a:cubicBezTo>
                  <a:cubicBezTo>
                    <a:pt x="65892" y="254532"/>
                    <a:pt x="70436" y="255566"/>
                    <a:pt x="76603" y="253844"/>
                  </a:cubicBezTo>
                  <a:cubicBezTo>
                    <a:pt x="83744" y="248332"/>
                    <a:pt x="88289" y="248332"/>
                    <a:pt x="96403" y="251432"/>
                  </a:cubicBezTo>
                  <a:cubicBezTo>
                    <a:pt x="99974" y="250743"/>
                    <a:pt x="103869" y="250743"/>
                    <a:pt x="107440" y="249710"/>
                  </a:cubicBezTo>
                  <a:cubicBezTo>
                    <a:pt x="109062" y="249021"/>
                    <a:pt x="110685" y="247643"/>
                    <a:pt x="111984" y="246266"/>
                  </a:cubicBezTo>
                  <a:cubicBezTo>
                    <a:pt x="113282" y="244888"/>
                    <a:pt x="113607" y="242132"/>
                    <a:pt x="115230" y="241443"/>
                  </a:cubicBezTo>
                  <a:cubicBezTo>
                    <a:pt x="120099" y="239721"/>
                    <a:pt x="125617" y="240410"/>
                    <a:pt x="130810" y="239721"/>
                  </a:cubicBezTo>
                  <a:cubicBezTo>
                    <a:pt x="136003" y="238343"/>
                    <a:pt x="140223" y="236277"/>
                    <a:pt x="146715" y="235243"/>
                  </a:cubicBezTo>
                  <a:cubicBezTo>
                    <a:pt x="153207" y="234210"/>
                    <a:pt x="163269" y="235243"/>
                    <a:pt x="169761" y="233176"/>
                  </a:cubicBezTo>
                  <a:cubicBezTo>
                    <a:pt x="178849" y="230421"/>
                    <a:pt x="181121" y="226976"/>
                    <a:pt x="185341" y="223187"/>
                  </a:cubicBezTo>
                  <a:cubicBezTo>
                    <a:pt x="190535" y="219398"/>
                    <a:pt x="192482" y="216298"/>
                    <a:pt x="194754" y="210098"/>
                  </a:cubicBezTo>
                  <a:cubicBezTo>
                    <a:pt x="198325" y="206309"/>
                    <a:pt x="198974" y="198731"/>
                    <a:pt x="202220" y="195287"/>
                  </a:cubicBezTo>
                  <a:cubicBezTo>
                    <a:pt x="205466" y="191842"/>
                    <a:pt x="213580" y="194598"/>
                    <a:pt x="214879" y="190120"/>
                  </a:cubicBezTo>
                  <a:cubicBezTo>
                    <a:pt x="216502" y="186331"/>
                    <a:pt x="209361" y="172897"/>
                    <a:pt x="210659" y="167386"/>
                  </a:cubicBezTo>
                  <a:cubicBezTo>
                    <a:pt x="211958" y="161875"/>
                    <a:pt x="218774" y="158431"/>
                    <a:pt x="222669" y="157053"/>
                  </a:cubicBezTo>
                  <a:lnTo>
                    <a:pt x="228390" y="147753"/>
                  </a:lnTo>
                  <a:cubicBezTo>
                    <a:pt x="230378" y="148355"/>
                    <a:pt x="232407" y="152230"/>
                    <a:pt x="234354" y="158086"/>
                  </a:cubicBezTo>
                  <a:cubicBezTo>
                    <a:pt x="235977" y="162908"/>
                    <a:pt x="240521" y="170486"/>
                    <a:pt x="242144" y="175309"/>
                  </a:cubicBezTo>
                  <a:cubicBezTo>
                    <a:pt x="244741" y="177720"/>
                    <a:pt x="244741" y="173242"/>
                    <a:pt x="246039" y="171175"/>
                  </a:cubicBezTo>
                  <a:cubicBezTo>
                    <a:pt x="247338" y="169109"/>
                    <a:pt x="249935" y="167042"/>
                    <a:pt x="249285" y="163597"/>
                  </a:cubicBezTo>
                  <a:cubicBezTo>
                    <a:pt x="254479" y="154986"/>
                    <a:pt x="249610" y="154986"/>
                    <a:pt x="242794" y="150508"/>
                  </a:cubicBezTo>
                  <a:lnTo>
                    <a:pt x="244391" y="143937"/>
                  </a:lnTo>
                  <a:cubicBezTo>
                    <a:pt x="245472" y="141143"/>
                    <a:pt x="246689" y="147408"/>
                    <a:pt x="263243" y="142241"/>
                  </a:cubicBezTo>
                  <a:cubicBezTo>
                    <a:pt x="268112" y="140864"/>
                    <a:pt x="269410" y="127430"/>
                    <a:pt x="269410" y="127430"/>
                  </a:cubicBezTo>
                  <a:lnTo>
                    <a:pt x="266164" y="122263"/>
                  </a:lnTo>
                  <a:cubicBezTo>
                    <a:pt x="267787" y="119852"/>
                    <a:pt x="271357" y="121574"/>
                    <a:pt x="273954" y="120541"/>
                  </a:cubicBezTo>
                  <a:cubicBezTo>
                    <a:pt x="275577" y="119852"/>
                    <a:pt x="277200" y="118474"/>
                    <a:pt x="278823" y="117441"/>
                  </a:cubicBezTo>
                  <a:cubicBezTo>
                    <a:pt x="280121" y="116752"/>
                    <a:pt x="281744" y="116408"/>
                    <a:pt x="283367" y="115719"/>
                  </a:cubicBezTo>
                  <a:cubicBezTo>
                    <a:pt x="284666" y="111585"/>
                    <a:pt x="284341" y="106418"/>
                    <a:pt x="286613" y="102629"/>
                  </a:cubicBezTo>
                  <a:cubicBezTo>
                    <a:pt x="288561" y="99529"/>
                    <a:pt x="293105" y="99529"/>
                    <a:pt x="296026" y="97463"/>
                  </a:cubicBezTo>
                  <a:cubicBezTo>
                    <a:pt x="298298" y="88851"/>
                    <a:pt x="304466" y="88507"/>
                    <a:pt x="311607" y="86096"/>
                  </a:cubicBezTo>
                  <a:cubicBezTo>
                    <a:pt x="314528" y="85062"/>
                    <a:pt x="320695" y="82651"/>
                    <a:pt x="320695" y="82651"/>
                  </a:cubicBezTo>
                  <a:cubicBezTo>
                    <a:pt x="325564" y="75418"/>
                    <a:pt x="324266" y="79896"/>
                    <a:pt x="331407" y="82651"/>
                  </a:cubicBezTo>
                  <a:cubicBezTo>
                    <a:pt x="339197" y="94363"/>
                    <a:pt x="351531" y="101252"/>
                    <a:pt x="364515" y="105730"/>
                  </a:cubicBezTo>
                  <a:cubicBezTo>
                    <a:pt x="372305" y="109518"/>
                    <a:pt x="381069" y="108830"/>
                    <a:pt x="384315" y="106074"/>
                  </a:cubicBezTo>
                  <a:cubicBezTo>
                    <a:pt x="387236" y="104352"/>
                    <a:pt x="382043" y="97807"/>
                    <a:pt x="382043" y="95052"/>
                  </a:cubicBezTo>
                  <a:cubicBezTo>
                    <a:pt x="382043" y="92296"/>
                    <a:pt x="383341" y="90918"/>
                    <a:pt x="384639" y="89196"/>
                  </a:cubicBezTo>
                  <a:cubicBezTo>
                    <a:pt x="385938" y="85751"/>
                    <a:pt x="385938" y="87474"/>
                    <a:pt x="389184" y="84374"/>
                  </a:cubicBezTo>
                  <a:lnTo>
                    <a:pt x="393728" y="73351"/>
                  </a:lnTo>
                  <a:cubicBezTo>
                    <a:pt x="396000" y="71284"/>
                    <a:pt x="401518" y="73351"/>
                    <a:pt x="403466" y="70940"/>
                  </a:cubicBezTo>
                  <a:lnTo>
                    <a:pt x="398840" y="61037"/>
                  </a:lnTo>
                  <a:cubicBezTo>
                    <a:pt x="398272" y="59659"/>
                    <a:pt x="399733" y="59401"/>
                    <a:pt x="406387" y="57851"/>
                  </a:cubicBezTo>
                  <a:cubicBezTo>
                    <a:pt x="409633" y="52684"/>
                    <a:pt x="415800" y="44762"/>
                    <a:pt x="420669" y="43039"/>
                  </a:cubicBezTo>
                  <a:cubicBezTo>
                    <a:pt x="422941" y="39250"/>
                    <a:pt x="422616" y="37184"/>
                    <a:pt x="427810" y="37873"/>
                  </a:cubicBezTo>
                  <a:lnTo>
                    <a:pt x="435600" y="42006"/>
                  </a:lnTo>
                  <a:cubicBezTo>
                    <a:pt x="442416" y="41317"/>
                    <a:pt x="453777" y="41317"/>
                    <a:pt x="459620" y="37873"/>
                  </a:cubicBezTo>
                  <a:cubicBezTo>
                    <a:pt x="462216" y="36150"/>
                    <a:pt x="460269" y="30639"/>
                    <a:pt x="457997" y="28228"/>
                  </a:cubicBezTo>
                  <a:cubicBezTo>
                    <a:pt x="455725" y="25817"/>
                    <a:pt x="451830" y="27195"/>
                    <a:pt x="448584" y="26506"/>
                  </a:cubicBezTo>
                  <a:lnTo>
                    <a:pt x="441630" y="20171"/>
                  </a:lnTo>
                  <a:cubicBezTo>
                    <a:pt x="438785" y="15763"/>
                    <a:pt x="447123" y="16344"/>
                    <a:pt x="456374" y="14794"/>
                  </a:cubicBezTo>
                  <a:cubicBezTo>
                    <a:pt x="461243" y="15828"/>
                    <a:pt x="467085" y="14794"/>
                    <a:pt x="470331" y="18239"/>
                  </a:cubicBezTo>
                  <a:cubicBezTo>
                    <a:pt x="472786" y="24181"/>
                    <a:pt x="466517" y="21081"/>
                    <a:pt x="476498" y="26506"/>
                  </a:cubicBezTo>
                  <a:cubicBezTo>
                    <a:pt x="481692" y="28572"/>
                    <a:pt x="489482" y="35806"/>
                    <a:pt x="498895" y="36839"/>
                  </a:cubicBezTo>
                  <a:cubicBezTo>
                    <a:pt x="506361" y="38906"/>
                    <a:pt x="515125" y="40628"/>
                    <a:pt x="520643" y="39939"/>
                  </a:cubicBezTo>
                  <a:cubicBezTo>
                    <a:pt x="526161" y="39250"/>
                    <a:pt x="529082" y="33739"/>
                    <a:pt x="532652" y="33050"/>
                  </a:cubicBezTo>
                  <a:cubicBezTo>
                    <a:pt x="536223" y="31673"/>
                    <a:pt x="537846" y="35461"/>
                    <a:pt x="541741" y="35806"/>
                  </a:cubicBezTo>
                  <a:cubicBezTo>
                    <a:pt x="545636" y="36150"/>
                    <a:pt x="554075" y="32361"/>
                    <a:pt x="556023" y="34773"/>
                  </a:cubicBezTo>
                  <a:cubicBezTo>
                    <a:pt x="559918" y="37528"/>
                    <a:pt x="555049" y="44762"/>
                    <a:pt x="554400" y="49584"/>
                  </a:cubicBezTo>
                  <a:cubicBezTo>
                    <a:pt x="553102" y="57851"/>
                    <a:pt x="551479" y="64740"/>
                    <a:pt x="545311" y="69562"/>
                  </a:cubicBezTo>
                  <a:lnTo>
                    <a:pt x="546823" y="76430"/>
                  </a:lnTo>
                  <a:cubicBezTo>
                    <a:pt x="548253" y="80047"/>
                    <a:pt x="549775" y="76107"/>
                    <a:pt x="554400" y="84374"/>
                  </a:cubicBezTo>
                  <a:cubicBezTo>
                    <a:pt x="554075" y="87818"/>
                    <a:pt x="555374" y="91951"/>
                    <a:pt x="553102" y="94363"/>
                  </a:cubicBezTo>
                  <a:cubicBezTo>
                    <a:pt x="546610" y="101252"/>
                    <a:pt x="545961" y="88163"/>
                    <a:pt x="545311" y="87474"/>
                  </a:cubicBezTo>
                  <a:cubicBezTo>
                    <a:pt x="544013" y="85751"/>
                    <a:pt x="542066" y="85407"/>
                    <a:pt x="540443" y="84374"/>
                  </a:cubicBezTo>
                  <a:cubicBezTo>
                    <a:pt x="535898" y="89196"/>
                    <a:pt x="531354" y="90918"/>
                    <a:pt x="529731" y="97463"/>
                  </a:cubicBezTo>
                  <a:cubicBezTo>
                    <a:pt x="528108" y="100907"/>
                    <a:pt x="524213" y="103663"/>
                    <a:pt x="524538" y="106418"/>
                  </a:cubicBezTo>
                  <a:cubicBezTo>
                    <a:pt x="524862" y="109174"/>
                    <a:pt x="527459" y="110896"/>
                    <a:pt x="531030" y="113996"/>
                  </a:cubicBezTo>
                  <a:cubicBezTo>
                    <a:pt x="532652" y="120196"/>
                    <a:pt x="545311" y="125708"/>
                    <a:pt x="545311" y="125708"/>
                  </a:cubicBezTo>
                  <a:cubicBezTo>
                    <a:pt x="550829" y="130186"/>
                    <a:pt x="555049" y="132941"/>
                    <a:pt x="565436" y="137419"/>
                  </a:cubicBezTo>
                  <a:cubicBezTo>
                    <a:pt x="572902" y="142241"/>
                    <a:pt x="582964" y="150508"/>
                    <a:pt x="590429" y="153953"/>
                  </a:cubicBezTo>
                  <a:cubicBezTo>
                    <a:pt x="597895" y="157397"/>
                    <a:pt x="606984" y="156364"/>
                    <a:pt x="610554" y="158775"/>
                  </a:cubicBezTo>
                  <a:cubicBezTo>
                    <a:pt x="611852" y="159808"/>
                    <a:pt x="610879" y="166697"/>
                    <a:pt x="612177" y="168075"/>
                  </a:cubicBezTo>
                  <a:cubicBezTo>
                    <a:pt x="614449" y="170486"/>
                    <a:pt x="616721" y="167042"/>
                    <a:pt x="618344" y="170142"/>
                  </a:cubicBezTo>
                  <a:cubicBezTo>
                    <a:pt x="621266" y="175998"/>
                    <a:pt x="621266" y="174964"/>
                    <a:pt x="626134" y="178409"/>
                  </a:cubicBezTo>
                  <a:cubicBezTo>
                    <a:pt x="637170" y="177720"/>
                    <a:pt x="647557" y="181509"/>
                    <a:pt x="651128" y="170142"/>
                  </a:cubicBezTo>
                  <a:cubicBezTo>
                    <a:pt x="652426" y="160497"/>
                    <a:pt x="655347" y="150164"/>
                    <a:pt x="660866" y="142241"/>
                  </a:cubicBezTo>
                  <a:cubicBezTo>
                    <a:pt x="664111" y="128119"/>
                    <a:pt x="664761" y="137075"/>
                    <a:pt x="667357" y="113307"/>
                  </a:cubicBezTo>
                  <a:cubicBezTo>
                    <a:pt x="668006" y="107107"/>
                    <a:pt x="666708" y="100907"/>
                    <a:pt x="666708" y="100907"/>
                  </a:cubicBezTo>
                  <a:cubicBezTo>
                    <a:pt x="668980" y="68529"/>
                    <a:pt x="665734" y="85062"/>
                    <a:pt x="669954" y="70940"/>
                  </a:cubicBezTo>
                  <a:cubicBezTo>
                    <a:pt x="671252" y="66118"/>
                    <a:pt x="674498" y="56129"/>
                    <a:pt x="674498" y="56129"/>
                  </a:cubicBezTo>
                  <a:cubicBezTo>
                    <a:pt x="675147" y="48551"/>
                    <a:pt x="674823" y="40628"/>
                    <a:pt x="676121" y="33050"/>
                  </a:cubicBezTo>
                  <a:cubicBezTo>
                    <a:pt x="677095" y="27884"/>
                    <a:pt x="682288" y="18239"/>
                    <a:pt x="682288" y="1823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66" name="Freeform 737"/>
            <p:cNvSpPr>
              <a:spLocks/>
            </p:cNvSpPr>
            <p:nvPr>
              <p:custDataLst>
                <p:tags r:id="rId129"/>
              </p:custDataLst>
            </p:nvPr>
          </p:nvSpPr>
          <p:spPr bwMode="gray">
            <a:xfrm>
              <a:off x="4599573" y="2427383"/>
              <a:ext cx="228737" cy="278842"/>
            </a:xfrm>
            <a:custGeom>
              <a:avLst/>
              <a:gdLst/>
              <a:ahLst/>
              <a:cxnLst/>
              <a:rect l="l" t="t" r="r" b="b"/>
              <a:pathLst>
                <a:path w="366140" h="446343">
                  <a:moveTo>
                    <a:pt x="278678" y="132903"/>
                  </a:moveTo>
                  <a:cubicBezTo>
                    <a:pt x="281307" y="132784"/>
                    <a:pt x="283589" y="133643"/>
                    <a:pt x="285177" y="135934"/>
                  </a:cubicBezTo>
                  <a:cubicBezTo>
                    <a:pt x="291527" y="145098"/>
                    <a:pt x="294702" y="187863"/>
                    <a:pt x="296289" y="203136"/>
                  </a:cubicBezTo>
                  <a:cubicBezTo>
                    <a:pt x="297877" y="218409"/>
                    <a:pt x="299464" y="215354"/>
                    <a:pt x="296289" y="224518"/>
                  </a:cubicBezTo>
                  <a:cubicBezTo>
                    <a:pt x="293114" y="233682"/>
                    <a:pt x="286764" y="242846"/>
                    <a:pt x="282002" y="256592"/>
                  </a:cubicBezTo>
                  <a:cubicBezTo>
                    <a:pt x="275652" y="270338"/>
                    <a:pt x="269302" y="299356"/>
                    <a:pt x="262952" y="310048"/>
                  </a:cubicBezTo>
                  <a:cubicBezTo>
                    <a:pt x="256602" y="320739"/>
                    <a:pt x="250252" y="316157"/>
                    <a:pt x="243902" y="320739"/>
                  </a:cubicBezTo>
                  <a:cubicBezTo>
                    <a:pt x="237552" y="325321"/>
                    <a:pt x="228027" y="332957"/>
                    <a:pt x="226439" y="337539"/>
                  </a:cubicBezTo>
                  <a:cubicBezTo>
                    <a:pt x="224852" y="342121"/>
                    <a:pt x="239139" y="352812"/>
                    <a:pt x="235964" y="352812"/>
                  </a:cubicBezTo>
                  <a:cubicBezTo>
                    <a:pt x="232789" y="352812"/>
                    <a:pt x="218502" y="337539"/>
                    <a:pt x="210564" y="334485"/>
                  </a:cubicBezTo>
                  <a:cubicBezTo>
                    <a:pt x="202627" y="331430"/>
                    <a:pt x="189927" y="331430"/>
                    <a:pt x="183577" y="332957"/>
                  </a:cubicBezTo>
                  <a:cubicBezTo>
                    <a:pt x="177227" y="334485"/>
                    <a:pt x="172464" y="340594"/>
                    <a:pt x="167702" y="346703"/>
                  </a:cubicBezTo>
                  <a:cubicBezTo>
                    <a:pt x="162939" y="352812"/>
                    <a:pt x="161352" y="363504"/>
                    <a:pt x="155002" y="366558"/>
                  </a:cubicBezTo>
                  <a:cubicBezTo>
                    <a:pt x="148652" y="369613"/>
                    <a:pt x="137539" y="369613"/>
                    <a:pt x="129602" y="369613"/>
                  </a:cubicBezTo>
                  <a:cubicBezTo>
                    <a:pt x="121664" y="369613"/>
                    <a:pt x="113727" y="363504"/>
                    <a:pt x="105789" y="365031"/>
                  </a:cubicBezTo>
                  <a:cubicBezTo>
                    <a:pt x="97852" y="366558"/>
                    <a:pt x="93089" y="374195"/>
                    <a:pt x="85152" y="380304"/>
                  </a:cubicBezTo>
                  <a:cubicBezTo>
                    <a:pt x="77214" y="386413"/>
                    <a:pt x="62927" y="392523"/>
                    <a:pt x="56577" y="401686"/>
                  </a:cubicBezTo>
                  <a:cubicBezTo>
                    <a:pt x="50227" y="412378"/>
                    <a:pt x="50227" y="442924"/>
                    <a:pt x="42289" y="445979"/>
                  </a:cubicBezTo>
                  <a:cubicBezTo>
                    <a:pt x="34352" y="449033"/>
                    <a:pt x="10539" y="432233"/>
                    <a:pt x="4189" y="420014"/>
                  </a:cubicBezTo>
                  <a:cubicBezTo>
                    <a:pt x="-2161" y="407796"/>
                    <a:pt x="-573" y="386413"/>
                    <a:pt x="4189" y="374195"/>
                  </a:cubicBezTo>
                  <a:cubicBezTo>
                    <a:pt x="8952" y="361976"/>
                    <a:pt x="23239" y="351285"/>
                    <a:pt x="32764" y="343649"/>
                  </a:cubicBezTo>
                  <a:cubicBezTo>
                    <a:pt x="42289" y="336012"/>
                    <a:pt x="53402" y="337539"/>
                    <a:pt x="61339" y="332957"/>
                  </a:cubicBezTo>
                  <a:cubicBezTo>
                    <a:pt x="69277" y="328375"/>
                    <a:pt x="70864" y="314630"/>
                    <a:pt x="85152" y="311575"/>
                  </a:cubicBezTo>
                  <a:cubicBezTo>
                    <a:pt x="97852" y="308520"/>
                    <a:pt x="135952" y="314630"/>
                    <a:pt x="150239" y="310048"/>
                  </a:cubicBezTo>
                  <a:cubicBezTo>
                    <a:pt x="164527" y="305466"/>
                    <a:pt x="170877" y="294775"/>
                    <a:pt x="174052" y="288665"/>
                  </a:cubicBezTo>
                  <a:cubicBezTo>
                    <a:pt x="177227" y="281029"/>
                    <a:pt x="167702" y="264228"/>
                    <a:pt x="174052" y="261174"/>
                  </a:cubicBezTo>
                  <a:cubicBezTo>
                    <a:pt x="180402" y="258119"/>
                    <a:pt x="199452" y="270338"/>
                    <a:pt x="207389" y="267283"/>
                  </a:cubicBezTo>
                  <a:cubicBezTo>
                    <a:pt x="215327" y="264228"/>
                    <a:pt x="213739" y="244373"/>
                    <a:pt x="220089" y="238264"/>
                  </a:cubicBezTo>
                  <a:cubicBezTo>
                    <a:pt x="226439" y="232155"/>
                    <a:pt x="240727" y="242846"/>
                    <a:pt x="245489" y="233682"/>
                  </a:cubicBezTo>
                  <a:cubicBezTo>
                    <a:pt x="250252" y="224518"/>
                    <a:pt x="247077" y="198554"/>
                    <a:pt x="248664" y="184808"/>
                  </a:cubicBezTo>
                  <a:cubicBezTo>
                    <a:pt x="250252" y="172590"/>
                    <a:pt x="248664" y="155789"/>
                    <a:pt x="255014" y="148153"/>
                  </a:cubicBezTo>
                  <a:cubicBezTo>
                    <a:pt x="259777" y="142425"/>
                    <a:pt x="270790" y="133261"/>
                    <a:pt x="278678" y="132903"/>
                  </a:cubicBezTo>
                  <a:close/>
                  <a:moveTo>
                    <a:pt x="266560" y="2495"/>
                  </a:moveTo>
                  <a:lnTo>
                    <a:pt x="264539" y="2723"/>
                  </a:lnTo>
                  <a:cubicBezTo>
                    <a:pt x="263055" y="2723"/>
                    <a:pt x="264193" y="2574"/>
                    <a:pt x="266560" y="2495"/>
                  </a:cubicBezTo>
                  <a:close/>
                  <a:moveTo>
                    <a:pt x="285177" y="425"/>
                  </a:moveTo>
                  <a:cubicBezTo>
                    <a:pt x="294702" y="-341"/>
                    <a:pt x="305021" y="-341"/>
                    <a:pt x="310577" y="2723"/>
                  </a:cubicBezTo>
                  <a:cubicBezTo>
                    <a:pt x="321690" y="8852"/>
                    <a:pt x="324865" y="34898"/>
                    <a:pt x="334390" y="41027"/>
                  </a:cubicBezTo>
                  <a:cubicBezTo>
                    <a:pt x="343915" y="47155"/>
                    <a:pt x="361377" y="33366"/>
                    <a:pt x="366140" y="36430"/>
                  </a:cubicBezTo>
                  <a:cubicBezTo>
                    <a:pt x="370902" y="39494"/>
                    <a:pt x="370902" y="53284"/>
                    <a:pt x="366140" y="60944"/>
                  </a:cubicBezTo>
                  <a:cubicBezTo>
                    <a:pt x="361377" y="68605"/>
                    <a:pt x="347090" y="77798"/>
                    <a:pt x="339152" y="83926"/>
                  </a:cubicBezTo>
                  <a:cubicBezTo>
                    <a:pt x="331215" y="90055"/>
                    <a:pt x="329627" y="97715"/>
                    <a:pt x="320102" y="97715"/>
                  </a:cubicBezTo>
                  <a:cubicBezTo>
                    <a:pt x="310577" y="97715"/>
                    <a:pt x="283589" y="85458"/>
                    <a:pt x="277239" y="88523"/>
                  </a:cubicBezTo>
                  <a:cubicBezTo>
                    <a:pt x="272477" y="91587"/>
                    <a:pt x="285177" y="106908"/>
                    <a:pt x="280414" y="113037"/>
                  </a:cubicBezTo>
                  <a:cubicBezTo>
                    <a:pt x="275652" y="119165"/>
                    <a:pt x="258189" y="128358"/>
                    <a:pt x="250252" y="125294"/>
                  </a:cubicBezTo>
                  <a:cubicBezTo>
                    <a:pt x="242314" y="122229"/>
                    <a:pt x="232789" y="105376"/>
                    <a:pt x="234377" y="94651"/>
                  </a:cubicBezTo>
                  <a:cubicBezTo>
                    <a:pt x="235964" y="83926"/>
                    <a:pt x="255014" y="74733"/>
                    <a:pt x="262952" y="62476"/>
                  </a:cubicBezTo>
                  <a:cubicBezTo>
                    <a:pt x="270889" y="50219"/>
                    <a:pt x="278827" y="31834"/>
                    <a:pt x="282002" y="22641"/>
                  </a:cubicBezTo>
                  <a:cubicBezTo>
                    <a:pt x="285177" y="13448"/>
                    <a:pt x="288352" y="7320"/>
                    <a:pt x="285177" y="4256"/>
                  </a:cubicBezTo>
                  <a:cubicBezTo>
                    <a:pt x="282992" y="2147"/>
                    <a:pt x="271782" y="2215"/>
                    <a:pt x="266560" y="2495"/>
                  </a:cubicBezTo>
                  <a:cubicBezTo>
                    <a:pt x="270296" y="2164"/>
                    <a:pt x="277477" y="1044"/>
                    <a:pt x="285177" y="42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67" name="Freeform 824"/>
            <p:cNvSpPr>
              <a:spLocks/>
            </p:cNvSpPr>
            <p:nvPr>
              <p:custDataLst>
                <p:tags r:id="rId130"/>
              </p:custDataLst>
            </p:nvPr>
          </p:nvSpPr>
          <p:spPr bwMode="gray">
            <a:xfrm>
              <a:off x="1696358" y="2996505"/>
              <a:ext cx="194383" cy="154713"/>
            </a:xfrm>
            <a:custGeom>
              <a:avLst/>
              <a:gdLst>
                <a:gd name="T0" fmla="*/ 18 w 200"/>
                <a:gd name="T1" fmla="*/ 4 h 160"/>
                <a:gd name="T2" fmla="*/ 16 w 200"/>
                <a:gd name="T3" fmla="*/ 25 h 160"/>
                <a:gd name="T4" fmla="*/ 30 w 200"/>
                <a:gd name="T5" fmla="*/ 36 h 160"/>
                <a:gd name="T6" fmla="*/ 31 w 200"/>
                <a:gd name="T7" fmla="*/ 13 h 160"/>
                <a:gd name="T8" fmla="*/ 51 w 200"/>
                <a:gd name="T9" fmla="*/ 9 h 160"/>
                <a:gd name="T10" fmla="*/ 69 w 200"/>
                <a:gd name="T11" fmla="*/ 3 h 160"/>
                <a:gd name="T12" fmla="*/ 93 w 200"/>
                <a:gd name="T13" fmla="*/ 16 h 160"/>
                <a:gd name="T14" fmla="*/ 117 w 200"/>
                <a:gd name="T15" fmla="*/ 21 h 160"/>
                <a:gd name="T16" fmla="*/ 133 w 200"/>
                <a:gd name="T17" fmla="*/ 12 h 160"/>
                <a:gd name="T18" fmla="*/ 154 w 200"/>
                <a:gd name="T19" fmla="*/ 18 h 160"/>
                <a:gd name="T20" fmla="*/ 174 w 200"/>
                <a:gd name="T21" fmla="*/ 27 h 160"/>
                <a:gd name="T22" fmla="*/ 186 w 200"/>
                <a:gd name="T23" fmla="*/ 37 h 160"/>
                <a:gd name="T24" fmla="*/ 189 w 200"/>
                <a:gd name="T25" fmla="*/ 57 h 160"/>
                <a:gd name="T26" fmla="*/ 181 w 200"/>
                <a:gd name="T27" fmla="*/ 72 h 160"/>
                <a:gd name="T28" fmla="*/ 178 w 200"/>
                <a:gd name="T29" fmla="*/ 87 h 160"/>
                <a:gd name="T30" fmla="*/ 175 w 200"/>
                <a:gd name="T31" fmla="*/ 100 h 160"/>
                <a:gd name="T32" fmla="*/ 162 w 200"/>
                <a:gd name="T33" fmla="*/ 115 h 160"/>
                <a:gd name="T34" fmla="*/ 135 w 200"/>
                <a:gd name="T35" fmla="*/ 120 h 160"/>
                <a:gd name="T36" fmla="*/ 135 w 200"/>
                <a:gd name="T37" fmla="*/ 135 h 160"/>
                <a:gd name="T38" fmla="*/ 129 w 200"/>
                <a:gd name="T39" fmla="*/ 151 h 160"/>
                <a:gd name="T40" fmla="*/ 124 w 200"/>
                <a:gd name="T41" fmla="*/ 157 h 160"/>
                <a:gd name="T42" fmla="*/ 106 w 200"/>
                <a:gd name="T43" fmla="*/ 159 h 160"/>
                <a:gd name="T44" fmla="*/ 82 w 200"/>
                <a:gd name="T45" fmla="*/ 148 h 160"/>
                <a:gd name="T46" fmla="*/ 84 w 200"/>
                <a:gd name="T47" fmla="*/ 136 h 160"/>
                <a:gd name="T48" fmla="*/ 82 w 200"/>
                <a:gd name="T49" fmla="*/ 87 h 160"/>
                <a:gd name="T50" fmla="*/ 61 w 200"/>
                <a:gd name="T51" fmla="*/ 82 h 160"/>
                <a:gd name="T52" fmla="*/ 43 w 200"/>
                <a:gd name="T53" fmla="*/ 73 h 160"/>
                <a:gd name="T54" fmla="*/ 30 w 200"/>
                <a:gd name="T55" fmla="*/ 63 h 160"/>
                <a:gd name="T56" fmla="*/ 18 w 200"/>
                <a:gd name="T57" fmla="*/ 57 h 160"/>
                <a:gd name="T58" fmla="*/ 6 w 200"/>
                <a:gd name="T59" fmla="*/ 37 h 160"/>
                <a:gd name="T60" fmla="*/ 0 w 200"/>
                <a:gd name="T61" fmla="*/ 22 h 160"/>
                <a:gd name="T62" fmla="*/ 15 w 200"/>
                <a:gd name="T63" fmla="*/ 6 h 160"/>
                <a:gd name="T64" fmla="*/ 24 w 200"/>
                <a:gd name="T65" fmla="*/ 1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0" h="160">
                  <a:moveTo>
                    <a:pt x="18" y="4"/>
                  </a:moveTo>
                  <a:cubicBezTo>
                    <a:pt x="23" y="12"/>
                    <a:pt x="31" y="23"/>
                    <a:pt x="16" y="25"/>
                  </a:cubicBezTo>
                  <a:cubicBezTo>
                    <a:pt x="13" y="39"/>
                    <a:pt x="15" y="37"/>
                    <a:pt x="30" y="36"/>
                  </a:cubicBezTo>
                  <a:cubicBezTo>
                    <a:pt x="30" y="28"/>
                    <a:pt x="27" y="20"/>
                    <a:pt x="31" y="13"/>
                  </a:cubicBezTo>
                  <a:cubicBezTo>
                    <a:pt x="35" y="7"/>
                    <a:pt x="51" y="9"/>
                    <a:pt x="51" y="9"/>
                  </a:cubicBezTo>
                  <a:cubicBezTo>
                    <a:pt x="59" y="3"/>
                    <a:pt x="57" y="0"/>
                    <a:pt x="69" y="3"/>
                  </a:cubicBezTo>
                  <a:cubicBezTo>
                    <a:pt x="71" y="22"/>
                    <a:pt x="73" y="18"/>
                    <a:pt x="93" y="16"/>
                  </a:cubicBezTo>
                  <a:cubicBezTo>
                    <a:pt x="111" y="20"/>
                    <a:pt x="103" y="18"/>
                    <a:pt x="117" y="21"/>
                  </a:cubicBezTo>
                  <a:cubicBezTo>
                    <a:pt x="127" y="19"/>
                    <a:pt x="126" y="17"/>
                    <a:pt x="133" y="12"/>
                  </a:cubicBezTo>
                  <a:cubicBezTo>
                    <a:pt x="143" y="13"/>
                    <a:pt x="147" y="12"/>
                    <a:pt x="154" y="18"/>
                  </a:cubicBezTo>
                  <a:cubicBezTo>
                    <a:pt x="158" y="26"/>
                    <a:pt x="166" y="25"/>
                    <a:pt x="174" y="27"/>
                  </a:cubicBezTo>
                  <a:cubicBezTo>
                    <a:pt x="175" y="35"/>
                    <a:pt x="178" y="36"/>
                    <a:pt x="186" y="37"/>
                  </a:cubicBezTo>
                  <a:cubicBezTo>
                    <a:pt x="196" y="42"/>
                    <a:pt x="200" y="55"/>
                    <a:pt x="189" y="57"/>
                  </a:cubicBezTo>
                  <a:cubicBezTo>
                    <a:pt x="188" y="75"/>
                    <a:pt x="189" y="62"/>
                    <a:pt x="181" y="72"/>
                  </a:cubicBezTo>
                  <a:cubicBezTo>
                    <a:pt x="179" y="77"/>
                    <a:pt x="179" y="82"/>
                    <a:pt x="178" y="87"/>
                  </a:cubicBezTo>
                  <a:cubicBezTo>
                    <a:pt x="177" y="92"/>
                    <a:pt x="178" y="95"/>
                    <a:pt x="175" y="100"/>
                  </a:cubicBezTo>
                  <a:cubicBezTo>
                    <a:pt x="172" y="105"/>
                    <a:pt x="169" y="112"/>
                    <a:pt x="162" y="115"/>
                  </a:cubicBezTo>
                  <a:cubicBezTo>
                    <a:pt x="152" y="115"/>
                    <a:pt x="146" y="116"/>
                    <a:pt x="135" y="120"/>
                  </a:cubicBezTo>
                  <a:cubicBezTo>
                    <a:pt x="136" y="126"/>
                    <a:pt x="132" y="129"/>
                    <a:pt x="135" y="135"/>
                  </a:cubicBezTo>
                  <a:cubicBezTo>
                    <a:pt x="134" y="140"/>
                    <a:pt x="131" y="148"/>
                    <a:pt x="129" y="151"/>
                  </a:cubicBezTo>
                  <a:cubicBezTo>
                    <a:pt x="127" y="154"/>
                    <a:pt x="128" y="156"/>
                    <a:pt x="124" y="157"/>
                  </a:cubicBezTo>
                  <a:cubicBezTo>
                    <a:pt x="120" y="158"/>
                    <a:pt x="113" y="160"/>
                    <a:pt x="106" y="159"/>
                  </a:cubicBezTo>
                  <a:cubicBezTo>
                    <a:pt x="99" y="158"/>
                    <a:pt x="86" y="152"/>
                    <a:pt x="82" y="148"/>
                  </a:cubicBezTo>
                  <a:cubicBezTo>
                    <a:pt x="78" y="144"/>
                    <a:pt x="84" y="146"/>
                    <a:pt x="84" y="136"/>
                  </a:cubicBezTo>
                  <a:cubicBezTo>
                    <a:pt x="81" y="125"/>
                    <a:pt x="86" y="96"/>
                    <a:pt x="82" y="87"/>
                  </a:cubicBezTo>
                  <a:cubicBezTo>
                    <a:pt x="78" y="78"/>
                    <a:pt x="67" y="84"/>
                    <a:pt x="61" y="82"/>
                  </a:cubicBezTo>
                  <a:cubicBezTo>
                    <a:pt x="55" y="78"/>
                    <a:pt x="49" y="77"/>
                    <a:pt x="43" y="73"/>
                  </a:cubicBezTo>
                  <a:cubicBezTo>
                    <a:pt x="37" y="69"/>
                    <a:pt x="37" y="64"/>
                    <a:pt x="30" y="63"/>
                  </a:cubicBezTo>
                  <a:cubicBezTo>
                    <a:pt x="23" y="60"/>
                    <a:pt x="25" y="61"/>
                    <a:pt x="18" y="57"/>
                  </a:cubicBezTo>
                  <a:cubicBezTo>
                    <a:pt x="15" y="52"/>
                    <a:pt x="11" y="40"/>
                    <a:pt x="6" y="37"/>
                  </a:cubicBezTo>
                  <a:cubicBezTo>
                    <a:pt x="3" y="32"/>
                    <a:pt x="1" y="28"/>
                    <a:pt x="0" y="22"/>
                  </a:cubicBezTo>
                  <a:cubicBezTo>
                    <a:pt x="2" y="13"/>
                    <a:pt x="6" y="8"/>
                    <a:pt x="15" y="6"/>
                  </a:cubicBezTo>
                  <a:cubicBezTo>
                    <a:pt x="16" y="16"/>
                    <a:pt x="14" y="13"/>
                    <a:pt x="24" y="13"/>
                  </a:cubicBez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68" name="Freeform 825"/>
            <p:cNvSpPr>
              <a:spLocks/>
            </p:cNvSpPr>
            <p:nvPr>
              <p:custDataLst>
                <p:tags r:id="rId131"/>
              </p:custDataLst>
            </p:nvPr>
          </p:nvSpPr>
          <p:spPr bwMode="gray">
            <a:xfrm>
              <a:off x="1952230" y="3069894"/>
              <a:ext cx="63472" cy="58514"/>
            </a:xfrm>
            <a:custGeom>
              <a:avLst/>
              <a:gdLst>
                <a:gd name="T0" fmla="*/ 15 w 65"/>
                <a:gd name="T1" fmla="*/ 56 h 61"/>
                <a:gd name="T2" fmla="*/ 57 w 65"/>
                <a:gd name="T3" fmla="*/ 45 h 61"/>
                <a:gd name="T4" fmla="*/ 36 w 65"/>
                <a:gd name="T5" fmla="*/ 12 h 61"/>
                <a:gd name="T6" fmla="*/ 15 w 65"/>
                <a:gd name="T7" fmla="*/ 56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61">
                  <a:moveTo>
                    <a:pt x="15" y="56"/>
                  </a:moveTo>
                  <a:cubicBezTo>
                    <a:pt x="56" y="54"/>
                    <a:pt x="36" y="61"/>
                    <a:pt x="57" y="45"/>
                  </a:cubicBezTo>
                  <a:cubicBezTo>
                    <a:pt x="65" y="29"/>
                    <a:pt x="46" y="20"/>
                    <a:pt x="36" y="12"/>
                  </a:cubicBezTo>
                  <a:cubicBezTo>
                    <a:pt x="0" y="16"/>
                    <a:pt x="15" y="0"/>
                    <a:pt x="15" y="5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69" name="Freeform 826"/>
            <p:cNvSpPr>
              <a:spLocks/>
            </p:cNvSpPr>
            <p:nvPr>
              <p:custDataLst>
                <p:tags r:id="rId132"/>
              </p:custDataLst>
            </p:nvPr>
          </p:nvSpPr>
          <p:spPr bwMode="gray">
            <a:xfrm>
              <a:off x="1912560" y="3075845"/>
              <a:ext cx="55538" cy="60497"/>
            </a:xfrm>
            <a:custGeom>
              <a:avLst/>
              <a:gdLst>
                <a:gd name="T0" fmla="*/ 9 w 57"/>
                <a:gd name="T1" fmla="*/ 0 h 63"/>
                <a:gd name="T2" fmla="*/ 36 w 57"/>
                <a:gd name="T3" fmla="*/ 5 h 63"/>
                <a:gd name="T4" fmla="*/ 51 w 57"/>
                <a:gd name="T5" fmla="*/ 8 h 63"/>
                <a:gd name="T6" fmla="*/ 57 w 57"/>
                <a:gd name="T7" fmla="*/ 35 h 63"/>
                <a:gd name="T8" fmla="*/ 29 w 57"/>
                <a:gd name="T9" fmla="*/ 54 h 63"/>
                <a:gd name="T10" fmla="*/ 17 w 57"/>
                <a:gd name="T11" fmla="*/ 54 h 63"/>
                <a:gd name="T12" fmla="*/ 8 w 57"/>
                <a:gd name="T13" fmla="*/ 39 h 63"/>
                <a:gd name="T14" fmla="*/ 3 w 57"/>
                <a:gd name="T15" fmla="*/ 38 h 63"/>
                <a:gd name="T16" fmla="*/ 14 w 57"/>
                <a:gd name="T17" fmla="*/ 17 h 63"/>
                <a:gd name="T18" fmla="*/ 9 w 57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63">
                  <a:moveTo>
                    <a:pt x="9" y="0"/>
                  </a:moveTo>
                  <a:cubicBezTo>
                    <a:pt x="22" y="1"/>
                    <a:pt x="26" y="2"/>
                    <a:pt x="36" y="5"/>
                  </a:cubicBezTo>
                  <a:cubicBezTo>
                    <a:pt x="41" y="6"/>
                    <a:pt x="51" y="8"/>
                    <a:pt x="51" y="8"/>
                  </a:cubicBezTo>
                  <a:cubicBezTo>
                    <a:pt x="57" y="16"/>
                    <a:pt x="55" y="26"/>
                    <a:pt x="57" y="35"/>
                  </a:cubicBezTo>
                  <a:cubicBezTo>
                    <a:pt x="55" y="55"/>
                    <a:pt x="49" y="53"/>
                    <a:pt x="29" y="54"/>
                  </a:cubicBezTo>
                  <a:cubicBezTo>
                    <a:pt x="24" y="63"/>
                    <a:pt x="27" y="55"/>
                    <a:pt x="17" y="54"/>
                  </a:cubicBezTo>
                  <a:cubicBezTo>
                    <a:pt x="17" y="47"/>
                    <a:pt x="10" y="45"/>
                    <a:pt x="8" y="39"/>
                  </a:cubicBezTo>
                  <a:cubicBezTo>
                    <a:pt x="8" y="37"/>
                    <a:pt x="4" y="40"/>
                    <a:pt x="3" y="38"/>
                  </a:cubicBezTo>
                  <a:cubicBezTo>
                    <a:pt x="0" y="29"/>
                    <a:pt x="15" y="24"/>
                    <a:pt x="14" y="17"/>
                  </a:cubicBezTo>
                  <a:cubicBezTo>
                    <a:pt x="13" y="11"/>
                    <a:pt x="11" y="6"/>
                    <a:pt x="9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70" name="Freeform 827"/>
            <p:cNvSpPr>
              <a:spLocks/>
            </p:cNvSpPr>
            <p:nvPr>
              <p:custDataLst>
                <p:tags r:id="rId133"/>
              </p:custDataLst>
            </p:nvPr>
          </p:nvSpPr>
          <p:spPr bwMode="gray">
            <a:xfrm>
              <a:off x="1859005" y="3033199"/>
              <a:ext cx="73390" cy="112068"/>
            </a:xfrm>
            <a:custGeom>
              <a:avLst/>
              <a:gdLst>
                <a:gd name="T0" fmla="*/ 24 w 76"/>
                <a:gd name="T1" fmla="*/ 13 h 116"/>
                <a:gd name="T2" fmla="*/ 13 w 76"/>
                <a:gd name="T3" fmla="*/ 35 h 116"/>
                <a:gd name="T4" fmla="*/ 13 w 76"/>
                <a:gd name="T5" fmla="*/ 67 h 116"/>
                <a:gd name="T6" fmla="*/ 22 w 76"/>
                <a:gd name="T7" fmla="*/ 70 h 116"/>
                <a:gd name="T8" fmla="*/ 24 w 76"/>
                <a:gd name="T9" fmla="*/ 83 h 116"/>
                <a:gd name="T10" fmla="*/ 30 w 76"/>
                <a:gd name="T11" fmla="*/ 97 h 116"/>
                <a:gd name="T12" fmla="*/ 36 w 76"/>
                <a:gd name="T13" fmla="*/ 110 h 116"/>
                <a:gd name="T14" fmla="*/ 45 w 76"/>
                <a:gd name="T15" fmla="*/ 115 h 116"/>
                <a:gd name="T16" fmla="*/ 63 w 76"/>
                <a:gd name="T17" fmla="*/ 110 h 116"/>
                <a:gd name="T18" fmla="*/ 70 w 76"/>
                <a:gd name="T19" fmla="*/ 101 h 116"/>
                <a:gd name="T20" fmla="*/ 61 w 76"/>
                <a:gd name="T21" fmla="*/ 82 h 116"/>
                <a:gd name="T22" fmla="*/ 66 w 76"/>
                <a:gd name="T23" fmla="*/ 65 h 116"/>
                <a:gd name="T24" fmla="*/ 49 w 76"/>
                <a:gd name="T25" fmla="*/ 28 h 116"/>
                <a:gd name="T26" fmla="*/ 33 w 76"/>
                <a:gd name="T27" fmla="*/ 13 h 116"/>
                <a:gd name="T28" fmla="*/ 21 w 76"/>
                <a:gd name="T29" fmla="*/ 23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6" h="116">
                  <a:moveTo>
                    <a:pt x="24" y="13"/>
                  </a:moveTo>
                  <a:cubicBezTo>
                    <a:pt x="20" y="21"/>
                    <a:pt x="20" y="31"/>
                    <a:pt x="13" y="35"/>
                  </a:cubicBezTo>
                  <a:cubicBezTo>
                    <a:pt x="7" y="45"/>
                    <a:pt x="0" y="63"/>
                    <a:pt x="13" y="67"/>
                  </a:cubicBezTo>
                  <a:cubicBezTo>
                    <a:pt x="18" y="70"/>
                    <a:pt x="19" y="65"/>
                    <a:pt x="22" y="70"/>
                  </a:cubicBezTo>
                  <a:cubicBezTo>
                    <a:pt x="20" y="75"/>
                    <a:pt x="27" y="78"/>
                    <a:pt x="24" y="83"/>
                  </a:cubicBezTo>
                  <a:cubicBezTo>
                    <a:pt x="25" y="88"/>
                    <a:pt x="28" y="93"/>
                    <a:pt x="30" y="97"/>
                  </a:cubicBezTo>
                  <a:cubicBezTo>
                    <a:pt x="32" y="101"/>
                    <a:pt x="33" y="107"/>
                    <a:pt x="36" y="110"/>
                  </a:cubicBezTo>
                  <a:cubicBezTo>
                    <a:pt x="37" y="116"/>
                    <a:pt x="39" y="112"/>
                    <a:pt x="45" y="115"/>
                  </a:cubicBezTo>
                  <a:cubicBezTo>
                    <a:pt x="54" y="113"/>
                    <a:pt x="56" y="113"/>
                    <a:pt x="63" y="110"/>
                  </a:cubicBezTo>
                  <a:cubicBezTo>
                    <a:pt x="66" y="106"/>
                    <a:pt x="67" y="105"/>
                    <a:pt x="70" y="101"/>
                  </a:cubicBezTo>
                  <a:cubicBezTo>
                    <a:pt x="72" y="93"/>
                    <a:pt x="68" y="87"/>
                    <a:pt x="61" y="82"/>
                  </a:cubicBezTo>
                  <a:cubicBezTo>
                    <a:pt x="57" y="75"/>
                    <a:pt x="59" y="70"/>
                    <a:pt x="66" y="65"/>
                  </a:cubicBezTo>
                  <a:cubicBezTo>
                    <a:pt x="76" y="49"/>
                    <a:pt x="63" y="36"/>
                    <a:pt x="49" y="28"/>
                  </a:cubicBezTo>
                  <a:cubicBezTo>
                    <a:pt x="45" y="21"/>
                    <a:pt x="40" y="18"/>
                    <a:pt x="33" y="13"/>
                  </a:cubicBezTo>
                  <a:cubicBezTo>
                    <a:pt x="25" y="0"/>
                    <a:pt x="26" y="18"/>
                    <a:pt x="21" y="23"/>
                  </a:cubicBez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71" name="Freeform 828"/>
            <p:cNvSpPr>
              <a:spLocks/>
            </p:cNvSpPr>
            <p:nvPr>
              <p:custDataLst>
                <p:tags r:id="rId134"/>
              </p:custDataLst>
            </p:nvPr>
          </p:nvSpPr>
          <p:spPr bwMode="gray">
            <a:xfrm>
              <a:off x="1574372" y="3021298"/>
              <a:ext cx="65456" cy="37687"/>
            </a:xfrm>
            <a:custGeom>
              <a:avLst/>
              <a:gdLst>
                <a:gd name="T0" fmla="*/ 10 w 67"/>
                <a:gd name="T1" fmla="*/ 16 h 39"/>
                <a:gd name="T2" fmla="*/ 30 w 67"/>
                <a:gd name="T3" fmla="*/ 2 h 39"/>
                <a:gd name="T4" fmla="*/ 45 w 67"/>
                <a:gd name="T5" fmla="*/ 4 h 39"/>
                <a:gd name="T6" fmla="*/ 58 w 67"/>
                <a:gd name="T7" fmla="*/ 13 h 39"/>
                <a:gd name="T8" fmla="*/ 67 w 67"/>
                <a:gd name="T9" fmla="*/ 20 h 39"/>
                <a:gd name="T10" fmla="*/ 58 w 67"/>
                <a:gd name="T11" fmla="*/ 34 h 39"/>
                <a:gd name="T12" fmla="*/ 39 w 67"/>
                <a:gd name="T13" fmla="*/ 17 h 39"/>
                <a:gd name="T14" fmla="*/ 22 w 67"/>
                <a:gd name="T15" fmla="*/ 25 h 39"/>
                <a:gd name="T16" fmla="*/ 22 w 67"/>
                <a:gd name="T17" fmla="*/ 37 h 39"/>
                <a:gd name="T18" fmla="*/ 3 w 67"/>
                <a:gd name="T19" fmla="*/ 35 h 39"/>
                <a:gd name="T20" fmla="*/ 6 w 67"/>
                <a:gd name="T21" fmla="*/ 19 h 39"/>
                <a:gd name="T22" fmla="*/ 10 w 67"/>
                <a:gd name="T23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39">
                  <a:moveTo>
                    <a:pt x="10" y="16"/>
                  </a:moveTo>
                  <a:cubicBezTo>
                    <a:pt x="13" y="10"/>
                    <a:pt x="24" y="4"/>
                    <a:pt x="30" y="2"/>
                  </a:cubicBezTo>
                  <a:cubicBezTo>
                    <a:pt x="36" y="0"/>
                    <a:pt x="40" y="2"/>
                    <a:pt x="45" y="4"/>
                  </a:cubicBezTo>
                  <a:cubicBezTo>
                    <a:pt x="50" y="6"/>
                    <a:pt x="54" y="10"/>
                    <a:pt x="58" y="13"/>
                  </a:cubicBezTo>
                  <a:cubicBezTo>
                    <a:pt x="62" y="16"/>
                    <a:pt x="67" y="17"/>
                    <a:pt x="67" y="20"/>
                  </a:cubicBezTo>
                  <a:cubicBezTo>
                    <a:pt x="67" y="23"/>
                    <a:pt x="63" y="34"/>
                    <a:pt x="58" y="34"/>
                  </a:cubicBezTo>
                  <a:cubicBezTo>
                    <a:pt x="53" y="34"/>
                    <a:pt x="45" y="18"/>
                    <a:pt x="39" y="17"/>
                  </a:cubicBezTo>
                  <a:cubicBezTo>
                    <a:pt x="33" y="16"/>
                    <a:pt x="25" y="22"/>
                    <a:pt x="22" y="25"/>
                  </a:cubicBezTo>
                  <a:cubicBezTo>
                    <a:pt x="19" y="28"/>
                    <a:pt x="25" y="35"/>
                    <a:pt x="22" y="37"/>
                  </a:cubicBezTo>
                  <a:cubicBezTo>
                    <a:pt x="19" y="39"/>
                    <a:pt x="6" y="38"/>
                    <a:pt x="3" y="35"/>
                  </a:cubicBezTo>
                  <a:cubicBezTo>
                    <a:pt x="0" y="32"/>
                    <a:pt x="5" y="22"/>
                    <a:pt x="6" y="19"/>
                  </a:cubicBezTo>
                  <a:cubicBezTo>
                    <a:pt x="7" y="16"/>
                    <a:pt x="9" y="17"/>
                    <a:pt x="10" y="1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72" name="Freeform 829"/>
            <p:cNvSpPr>
              <a:spLocks/>
            </p:cNvSpPr>
            <p:nvPr>
              <p:custDataLst>
                <p:tags r:id="rId135"/>
              </p:custDataLst>
            </p:nvPr>
          </p:nvSpPr>
          <p:spPr bwMode="gray">
            <a:xfrm>
              <a:off x="1608092" y="2992538"/>
              <a:ext cx="171573" cy="213227"/>
            </a:xfrm>
            <a:custGeom>
              <a:avLst/>
              <a:gdLst>
                <a:gd name="T0" fmla="*/ 34 w 177"/>
                <a:gd name="T1" fmla="*/ 55 h 220"/>
                <a:gd name="T2" fmla="*/ 52 w 177"/>
                <a:gd name="T3" fmla="*/ 41 h 220"/>
                <a:gd name="T4" fmla="*/ 85 w 177"/>
                <a:gd name="T5" fmla="*/ 10 h 220"/>
                <a:gd name="T6" fmla="*/ 101 w 177"/>
                <a:gd name="T7" fmla="*/ 4 h 220"/>
                <a:gd name="T8" fmla="*/ 97 w 177"/>
                <a:gd name="T9" fmla="*/ 32 h 220"/>
                <a:gd name="T10" fmla="*/ 110 w 177"/>
                <a:gd name="T11" fmla="*/ 58 h 220"/>
                <a:gd name="T12" fmla="*/ 111 w 177"/>
                <a:gd name="T13" fmla="*/ 67 h 220"/>
                <a:gd name="T14" fmla="*/ 124 w 177"/>
                <a:gd name="T15" fmla="*/ 68 h 220"/>
                <a:gd name="T16" fmla="*/ 152 w 177"/>
                <a:gd name="T17" fmla="*/ 88 h 220"/>
                <a:gd name="T18" fmla="*/ 172 w 177"/>
                <a:gd name="T19" fmla="*/ 85 h 220"/>
                <a:gd name="T20" fmla="*/ 172 w 177"/>
                <a:gd name="T21" fmla="*/ 152 h 220"/>
                <a:gd name="T22" fmla="*/ 143 w 177"/>
                <a:gd name="T23" fmla="*/ 158 h 220"/>
                <a:gd name="T24" fmla="*/ 142 w 177"/>
                <a:gd name="T25" fmla="*/ 184 h 220"/>
                <a:gd name="T26" fmla="*/ 124 w 177"/>
                <a:gd name="T27" fmla="*/ 215 h 220"/>
                <a:gd name="T28" fmla="*/ 100 w 177"/>
                <a:gd name="T29" fmla="*/ 215 h 220"/>
                <a:gd name="T30" fmla="*/ 88 w 177"/>
                <a:gd name="T31" fmla="*/ 205 h 220"/>
                <a:gd name="T32" fmla="*/ 65 w 177"/>
                <a:gd name="T33" fmla="*/ 184 h 220"/>
                <a:gd name="T34" fmla="*/ 44 w 177"/>
                <a:gd name="T35" fmla="*/ 175 h 220"/>
                <a:gd name="T36" fmla="*/ 32 w 177"/>
                <a:gd name="T37" fmla="*/ 166 h 220"/>
                <a:gd name="T38" fmla="*/ 5 w 177"/>
                <a:gd name="T39" fmla="*/ 160 h 220"/>
                <a:gd name="T40" fmla="*/ 10 w 177"/>
                <a:gd name="T41" fmla="*/ 143 h 220"/>
                <a:gd name="T42" fmla="*/ 22 w 177"/>
                <a:gd name="T43" fmla="*/ 127 h 220"/>
                <a:gd name="T44" fmla="*/ 31 w 177"/>
                <a:gd name="T45" fmla="*/ 107 h 220"/>
                <a:gd name="T46" fmla="*/ 29 w 177"/>
                <a:gd name="T47" fmla="*/ 91 h 220"/>
                <a:gd name="T48" fmla="*/ 28 w 177"/>
                <a:gd name="T49" fmla="*/ 61 h 220"/>
                <a:gd name="T50" fmla="*/ 34 w 177"/>
                <a:gd name="T51" fmla="*/ 55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77" h="220">
                  <a:moveTo>
                    <a:pt x="34" y="55"/>
                  </a:moveTo>
                  <a:cubicBezTo>
                    <a:pt x="41" y="52"/>
                    <a:pt x="45" y="45"/>
                    <a:pt x="52" y="41"/>
                  </a:cubicBezTo>
                  <a:cubicBezTo>
                    <a:pt x="57" y="10"/>
                    <a:pt x="56" y="16"/>
                    <a:pt x="85" y="10"/>
                  </a:cubicBezTo>
                  <a:cubicBezTo>
                    <a:pt x="93" y="4"/>
                    <a:pt x="99" y="0"/>
                    <a:pt x="101" y="4"/>
                  </a:cubicBezTo>
                  <a:cubicBezTo>
                    <a:pt x="96" y="14"/>
                    <a:pt x="107" y="27"/>
                    <a:pt x="97" y="32"/>
                  </a:cubicBezTo>
                  <a:cubicBezTo>
                    <a:pt x="92" y="41"/>
                    <a:pt x="107" y="49"/>
                    <a:pt x="110" y="58"/>
                  </a:cubicBezTo>
                  <a:cubicBezTo>
                    <a:pt x="118" y="68"/>
                    <a:pt x="109" y="65"/>
                    <a:pt x="111" y="67"/>
                  </a:cubicBezTo>
                  <a:cubicBezTo>
                    <a:pt x="113" y="69"/>
                    <a:pt x="117" y="65"/>
                    <a:pt x="124" y="68"/>
                  </a:cubicBezTo>
                  <a:cubicBezTo>
                    <a:pt x="132" y="72"/>
                    <a:pt x="144" y="86"/>
                    <a:pt x="152" y="88"/>
                  </a:cubicBezTo>
                  <a:cubicBezTo>
                    <a:pt x="159" y="89"/>
                    <a:pt x="172" y="85"/>
                    <a:pt x="172" y="85"/>
                  </a:cubicBezTo>
                  <a:cubicBezTo>
                    <a:pt x="176" y="96"/>
                    <a:pt x="177" y="140"/>
                    <a:pt x="172" y="152"/>
                  </a:cubicBezTo>
                  <a:cubicBezTo>
                    <a:pt x="167" y="164"/>
                    <a:pt x="148" y="153"/>
                    <a:pt x="143" y="158"/>
                  </a:cubicBezTo>
                  <a:cubicBezTo>
                    <a:pt x="142" y="170"/>
                    <a:pt x="135" y="173"/>
                    <a:pt x="142" y="184"/>
                  </a:cubicBezTo>
                  <a:cubicBezTo>
                    <a:pt x="140" y="213"/>
                    <a:pt x="148" y="219"/>
                    <a:pt x="124" y="215"/>
                  </a:cubicBezTo>
                  <a:cubicBezTo>
                    <a:pt x="117" y="211"/>
                    <a:pt x="100" y="215"/>
                    <a:pt x="100" y="215"/>
                  </a:cubicBezTo>
                  <a:cubicBezTo>
                    <a:pt x="91" y="220"/>
                    <a:pt x="95" y="210"/>
                    <a:pt x="88" y="205"/>
                  </a:cubicBezTo>
                  <a:cubicBezTo>
                    <a:pt x="85" y="197"/>
                    <a:pt x="72" y="188"/>
                    <a:pt x="65" y="184"/>
                  </a:cubicBezTo>
                  <a:cubicBezTo>
                    <a:pt x="61" y="177"/>
                    <a:pt x="52" y="177"/>
                    <a:pt x="44" y="175"/>
                  </a:cubicBezTo>
                  <a:cubicBezTo>
                    <a:pt x="39" y="171"/>
                    <a:pt x="39" y="167"/>
                    <a:pt x="32" y="166"/>
                  </a:cubicBezTo>
                  <a:cubicBezTo>
                    <a:pt x="24" y="162"/>
                    <a:pt x="14" y="162"/>
                    <a:pt x="5" y="160"/>
                  </a:cubicBezTo>
                  <a:cubicBezTo>
                    <a:pt x="3" y="151"/>
                    <a:pt x="0" y="148"/>
                    <a:pt x="10" y="143"/>
                  </a:cubicBezTo>
                  <a:cubicBezTo>
                    <a:pt x="14" y="137"/>
                    <a:pt x="19" y="134"/>
                    <a:pt x="22" y="127"/>
                  </a:cubicBezTo>
                  <a:cubicBezTo>
                    <a:pt x="23" y="120"/>
                    <a:pt x="28" y="114"/>
                    <a:pt x="31" y="107"/>
                  </a:cubicBezTo>
                  <a:cubicBezTo>
                    <a:pt x="32" y="101"/>
                    <a:pt x="32" y="97"/>
                    <a:pt x="29" y="91"/>
                  </a:cubicBezTo>
                  <a:cubicBezTo>
                    <a:pt x="28" y="82"/>
                    <a:pt x="25" y="70"/>
                    <a:pt x="28" y="61"/>
                  </a:cubicBezTo>
                  <a:cubicBezTo>
                    <a:pt x="29" y="58"/>
                    <a:pt x="35" y="52"/>
                    <a:pt x="34" y="5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73" name="Freeform 830"/>
            <p:cNvSpPr>
              <a:spLocks/>
            </p:cNvSpPr>
            <p:nvPr>
              <p:custDataLst>
                <p:tags r:id="rId136"/>
              </p:custDataLst>
            </p:nvPr>
          </p:nvSpPr>
          <p:spPr bwMode="gray">
            <a:xfrm>
              <a:off x="1740987" y="3297997"/>
              <a:ext cx="179507" cy="195375"/>
            </a:xfrm>
            <a:custGeom>
              <a:avLst/>
              <a:gdLst>
                <a:gd name="T0" fmla="*/ 0 w 185"/>
                <a:gd name="T1" fmla="*/ 25 h 203"/>
                <a:gd name="T2" fmla="*/ 26 w 185"/>
                <a:gd name="T3" fmla="*/ 21 h 203"/>
                <a:gd name="T4" fmla="*/ 41 w 185"/>
                <a:gd name="T5" fmla="*/ 18 h 203"/>
                <a:gd name="T6" fmla="*/ 46 w 185"/>
                <a:gd name="T7" fmla="*/ 13 h 203"/>
                <a:gd name="T8" fmla="*/ 60 w 185"/>
                <a:gd name="T9" fmla="*/ 3 h 203"/>
                <a:gd name="T10" fmla="*/ 71 w 185"/>
                <a:gd name="T11" fmla="*/ 33 h 203"/>
                <a:gd name="T12" fmla="*/ 86 w 185"/>
                <a:gd name="T13" fmla="*/ 52 h 203"/>
                <a:gd name="T14" fmla="*/ 105 w 185"/>
                <a:gd name="T15" fmla="*/ 61 h 203"/>
                <a:gd name="T16" fmla="*/ 123 w 185"/>
                <a:gd name="T17" fmla="*/ 61 h 203"/>
                <a:gd name="T18" fmla="*/ 138 w 185"/>
                <a:gd name="T19" fmla="*/ 69 h 203"/>
                <a:gd name="T20" fmla="*/ 143 w 185"/>
                <a:gd name="T21" fmla="*/ 99 h 203"/>
                <a:gd name="T22" fmla="*/ 161 w 185"/>
                <a:gd name="T23" fmla="*/ 102 h 203"/>
                <a:gd name="T24" fmla="*/ 170 w 185"/>
                <a:gd name="T25" fmla="*/ 106 h 203"/>
                <a:gd name="T26" fmla="*/ 183 w 185"/>
                <a:gd name="T27" fmla="*/ 133 h 203"/>
                <a:gd name="T28" fmla="*/ 174 w 185"/>
                <a:gd name="T29" fmla="*/ 160 h 203"/>
                <a:gd name="T30" fmla="*/ 119 w 185"/>
                <a:gd name="T31" fmla="*/ 163 h 203"/>
                <a:gd name="T32" fmla="*/ 101 w 185"/>
                <a:gd name="T33" fmla="*/ 198 h 203"/>
                <a:gd name="T34" fmla="*/ 79 w 185"/>
                <a:gd name="T35" fmla="*/ 196 h 203"/>
                <a:gd name="T36" fmla="*/ 58 w 185"/>
                <a:gd name="T37" fmla="*/ 195 h 203"/>
                <a:gd name="T38" fmla="*/ 44 w 185"/>
                <a:gd name="T39" fmla="*/ 196 h 203"/>
                <a:gd name="T40" fmla="*/ 21 w 185"/>
                <a:gd name="T41" fmla="*/ 186 h 203"/>
                <a:gd name="T42" fmla="*/ 17 w 185"/>
                <a:gd name="T43" fmla="*/ 172 h 203"/>
                <a:gd name="T44" fmla="*/ 15 w 185"/>
                <a:gd name="T45" fmla="*/ 137 h 203"/>
                <a:gd name="T46" fmla="*/ 9 w 185"/>
                <a:gd name="T47" fmla="*/ 117 h 203"/>
                <a:gd name="T48" fmla="*/ 12 w 185"/>
                <a:gd name="T49" fmla="*/ 91 h 203"/>
                <a:gd name="T50" fmla="*/ 15 w 185"/>
                <a:gd name="T51" fmla="*/ 66 h 203"/>
                <a:gd name="T52" fmla="*/ 15 w 185"/>
                <a:gd name="T53" fmla="*/ 45 h 203"/>
                <a:gd name="T54" fmla="*/ 8 w 185"/>
                <a:gd name="T55" fmla="*/ 31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5" h="203">
                  <a:moveTo>
                    <a:pt x="0" y="25"/>
                  </a:moveTo>
                  <a:cubicBezTo>
                    <a:pt x="11" y="24"/>
                    <a:pt x="16" y="23"/>
                    <a:pt x="26" y="21"/>
                  </a:cubicBezTo>
                  <a:cubicBezTo>
                    <a:pt x="31" y="20"/>
                    <a:pt x="41" y="18"/>
                    <a:pt x="41" y="18"/>
                  </a:cubicBezTo>
                  <a:cubicBezTo>
                    <a:pt x="44" y="17"/>
                    <a:pt x="43" y="15"/>
                    <a:pt x="46" y="13"/>
                  </a:cubicBezTo>
                  <a:cubicBezTo>
                    <a:pt x="49" y="11"/>
                    <a:pt x="56" y="0"/>
                    <a:pt x="60" y="3"/>
                  </a:cubicBezTo>
                  <a:cubicBezTo>
                    <a:pt x="64" y="6"/>
                    <a:pt x="67" y="25"/>
                    <a:pt x="71" y="33"/>
                  </a:cubicBezTo>
                  <a:cubicBezTo>
                    <a:pt x="75" y="41"/>
                    <a:pt x="80" y="47"/>
                    <a:pt x="86" y="52"/>
                  </a:cubicBezTo>
                  <a:cubicBezTo>
                    <a:pt x="95" y="57"/>
                    <a:pt x="95" y="60"/>
                    <a:pt x="105" y="61"/>
                  </a:cubicBezTo>
                  <a:cubicBezTo>
                    <a:pt x="111" y="63"/>
                    <a:pt x="118" y="60"/>
                    <a:pt x="123" y="61"/>
                  </a:cubicBezTo>
                  <a:cubicBezTo>
                    <a:pt x="128" y="62"/>
                    <a:pt x="135" y="63"/>
                    <a:pt x="138" y="69"/>
                  </a:cubicBezTo>
                  <a:cubicBezTo>
                    <a:pt x="142" y="76"/>
                    <a:pt x="136" y="96"/>
                    <a:pt x="143" y="99"/>
                  </a:cubicBezTo>
                  <a:cubicBezTo>
                    <a:pt x="149" y="101"/>
                    <a:pt x="161" y="102"/>
                    <a:pt x="161" y="102"/>
                  </a:cubicBezTo>
                  <a:cubicBezTo>
                    <a:pt x="164" y="104"/>
                    <a:pt x="168" y="104"/>
                    <a:pt x="170" y="106"/>
                  </a:cubicBezTo>
                  <a:cubicBezTo>
                    <a:pt x="174" y="111"/>
                    <a:pt x="182" y="124"/>
                    <a:pt x="183" y="133"/>
                  </a:cubicBezTo>
                  <a:cubicBezTo>
                    <a:pt x="184" y="142"/>
                    <a:pt x="185" y="155"/>
                    <a:pt x="174" y="160"/>
                  </a:cubicBezTo>
                  <a:cubicBezTo>
                    <a:pt x="158" y="159"/>
                    <a:pt x="132" y="153"/>
                    <a:pt x="119" y="163"/>
                  </a:cubicBezTo>
                  <a:cubicBezTo>
                    <a:pt x="114" y="176"/>
                    <a:pt x="114" y="192"/>
                    <a:pt x="101" y="198"/>
                  </a:cubicBezTo>
                  <a:cubicBezTo>
                    <a:pt x="94" y="203"/>
                    <a:pt x="88" y="196"/>
                    <a:pt x="79" y="196"/>
                  </a:cubicBezTo>
                  <a:cubicBezTo>
                    <a:pt x="72" y="196"/>
                    <a:pt x="64" y="195"/>
                    <a:pt x="58" y="195"/>
                  </a:cubicBezTo>
                  <a:cubicBezTo>
                    <a:pt x="52" y="195"/>
                    <a:pt x="50" y="197"/>
                    <a:pt x="44" y="196"/>
                  </a:cubicBezTo>
                  <a:cubicBezTo>
                    <a:pt x="34" y="194"/>
                    <a:pt x="26" y="190"/>
                    <a:pt x="21" y="186"/>
                  </a:cubicBezTo>
                  <a:cubicBezTo>
                    <a:pt x="20" y="181"/>
                    <a:pt x="18" y="177"/>
                    <a:pt x="17" y="172"/>
                  </a:cubicBezTo>
                  <a:cubicBezTo>
                    <a:pt x="16" y="164"/>
                    <a:pt x="16" y="146"/>
                    <a:pt x="15" y="137"/>
                  </a:cubicBezTo>
                  <a:cubicBezTo>
                    <a:pt x="14" y="128"/>
                    <a:pt x="9" y="125"/>
                    <a:pt x="9" y="117"/>
                  </a:cubicBezTo>
                  <a:cubicBezTo>
                    <a:pt x="8" y="105"/>
                    <a:pt x="11" y="99"/>
                    <a:pt x="12" y="91"/>
                  </a:cubicBezTo>
                  <a:cubicBezTo>
                    <a:pt x="13" y="83"/>
                    <a:pt x="15" y="74"/>
                    <a:pt x="15" y="66"/>
                  </a:cubicBezTo>
                  <a:cubicBezTo>
                    <a:pt x="15" y="54"/>
                    <a:pt x="16" y="51"/>
                    <a:pt x="15" y="45"/>
                  </a:cubicBezTo>
                  <a:cubicBezTo>
                    <a:pt x="14" y="39"/>
                    <a:pt x="9" y="34"/>
                    <a:pt x="8" y="31"/>
                  </a:cubicBez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74" name="Freeform 831"/>
            <p:cNvSpPr>
              <a:spLocks/>
            </p:cNvSpPr>
            <p:nvPr>
              <p:custDataLst>
                <p:tags r:id="rId137"/>
              </p:custDataLst>
            </p:nvPr>
          </p:nvSpPr>
          <p:spPr bwMode="gray">
            <a:xfrm>
              <a:off x="1686441" y="3097664"/>
              <a:ext cx="566290" cy="584142"/>
            </a:xfrm>
            <a:custGeom>
              <a:avLst/>
              <a:gdLst>
                <a:gd name="T0" fmla="*/ 313 w 584"/>
                <a:gd name="T1" fmla="*/ 582 h 604"/>
                <a:gd name="T2" fmla="*/ 346 w 584"/>
                <a:gd name="T3" fmla="*/ 550 h 604"/>
                <a:gd name="T4" fmla="*/ 376 w 584"/>
                <a:gd name="T5" fmla="*/ 502 h 604"/>
                <a:gd name="T6" fmla="*/ 400 w 584"/>
                <a:gd name="T7" fmla="*/ 442 h 604"/>
                <a:gd name="T8" fmla="*/ 445 w 584"/>
                <a:gd name="T9" fmla="*/ 418 h 604"/>
                <a:gd name="T10" fmla="*/ 487 w 584"/>
                <a:gd name="T11" fmla="*/ 399 h 604"/>
                <a:gd name="T12" fmla="*/ 508 w 584"/>
                <a:gd name="T13" fmla="*/ 345 h 604"/>
                <a:gd name="T14" fmla="*/ 518 w 584"/>
                <a:gd name="T15" fmla="*/ 315 h 604"/>
                <a:gd name="T16" fmla="*/ 550 w 584"/>
                <a:gd name="T17" fmla="*/ 235 h 604"/>
                <a:gd name="T18" fmla="*/ 575 w 584"/>
                <a:gd name="T19" fmla="*/ 189 h 604"/>
                <a:gd name="T20" fmla="*/ 515 w 584"/>
                <a:gd name="T21" fmla="*/ 123 h 604"/>
                <a:gd name="T22" fmla="*/ 446 w 584"/>
                <a:gd name="T23" fmla="*/ 105 h 604"/>
                <a:gd name="T24" fmla="*/ 371 w 584"/>
                <a:gd name="T25" fmla="*/ 75 h 604"/>
                <a:gd name="T26" fmla="*/ 346 w 584"/>
                <a:gd name="T27" fmla="*/ 45 h 604"/>
                <a:gd name="T28" fmla="*/ 331 w 584"/>
                <a:gd name="T29" fmla="*/ 10 h 604"/>
                <a:gd name="T30" fmla="*/ 305 w 584"/>
                <a:gd name="T31" fmla="*/ 27 h 604"/>
                <a:gd name="T32" fmla="*/ 274 w 584"/>
                <a:gd name="T33" fmla="*/ 28 h 604"/>
                <a:gd name="T34" fmla="*/ 238 w 584"/>
                <a:gd name="T35" fmla="*/ 43 h 604"/>
                <a:gd name="T36" fmla="*/ 208 w 584"/>
                <a:gd name="T37" fmla="*/ 33 h 604"/>
                <a:gd name="T38" fmla="*/ 191 w 584"/>
                <a:gd name="T39" fmla="*/ 0 h 604"/>
                <a:gd name="T40" fmla="*/ 143 w 584"/>
                <a:gd name="T41" fmla="*/ 12 h 604"/>
                <a:gd name="T42" fmla="*/ 140 w 584"/>
                <a:gd name="T43" fmla="*/ 45 h 604"/>
                <a:gd name="T44" fmla="*/ 113 w 584"/>
                <a:gd name="T45" fmla="*/ 55 h 604"/>
                <a:gd name="T46" fmla="*/ 59 w 584"/>
                <a:gd name="T47" fmla="*/ 54 h 604"/>
                <a:gd name="T48" fmla="*/ 56 w 584"/>
                <a:gd name="T49" fmla="*/ 121 h 604"/>
                <a:gd name="T50" fmla="*/ 17 w 584"/>
                <a:gd name="T51" fmla="*/ 141 h 604"/>
                <a:gd name="T52" fmla="*/ 4 w 584"/>
                <a:gd name="T53" fmla="*/ 177 h 604"/>
                <a:gd name="T54" fmla="*/ 31 w 584"/>
                <a:gd name="T55" fmla="*/ 216 h 604"/>
                <a:gd name="T56" fmla="*/ 91 w 584"/>
                <a:gd name="T57" fmla="*/ 229 h 604"/>
                <a:gd name="T58" fmla="*/ 121 w 584"/>
                <a:gd name="T59" fmla="*/ 216 h 604"/>
                <a:gd name="T60" fmla="*/ 157 w 584"/>
                <a:gd name="T61" fmla="*/ 267 h 604"/>
                <a:gd name="T62" fmla="*/ 184 w 584"/>
                <a:gd name="T63" fmla="*/ 268 h 604"/>
                <a:gd name="T64" fmla="*/ 221 w 584"/>
                <a:gd name="T65" fmla="*/ 312 h 604"/>
                <a:gd name="T66" fmla="*/ 235 w 584"/>
                <a:gd name="T67" fmla="*/ 330 h 604"/>
                <a:gd name="T68" fmla="*/ 232 w 584"/>
                <a:gd name="T69" fmla="*/ 369 h 604"/>
                <a:gd name="T70" fmla="*/ 275 w 584"/>
                <a:gd name="T71" fmla="*/ 412 h 604"/>
                <a:gd name="T72" fmla="*/ 281 w 584"/>
                <a:gd name="T73" fmla="*/ 430 h 604"/>
                <a:gd name="T74" fmla="*/ 298 w 584"/>
                <a:gd name="T75" fmla="*/ 450 h 604"/>
                <a:gd name="T76" fmla="*/ 256 w 584"/>
                <a:gd name="T77" fmla="*/ 517 h 604"/>
                <a:gd name="T78" fmla="*/ 289 w 584"/>
                <a:gd name="T79" fmla="*/ 56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84" h="604">
                  <a:moveTo>
                    <a:pt x="305" y="604"/>
                  </a:moveTo>
                  <a:cubicBezTo>
                    <a:pt x="310" y="598"/>
                    <a:pt x="310" y="589"/>
                    <a:pt x="313" y="582"/>
                  </a:cubicBezTo>
                  <a:cubicBezTo>
                    <a:pt x="315" y="571"/>
                    <a:pt x="324" y="571"/>
                    <a:pt x="334" y="570"/>
                  </a:cubicBezTo>
                  <a:cubicBezTo>
                    <a:pt x="341" y="565"/>
                    <a:pt x="341" y="557"/>
                    <a:pt x="346" y="550"/>
                  </a:cubicBezTo>
                  <a:cubicBezTo>
                    <a:pt x="346" y="543"/>
                    <a:pt x="349" y="541"/>
                    <a:pt x="350" y="534"/>
                  </a:cubicBezTo>
                  <a:cubicBezTo>
                    <a:pt x="352" y="519"/>
                    <a:pt x="371" y="515"/>
                    <a:pt x="376" y="502"/>
                  </a:cubicBezTo>
                  <a:cubicBezTo>
                    <a:pt x="374" y="482"/>
                    <a:pt x="372" y="466"/>
                    <a:pt x="388" y="453"/>
                  </a:cubicBezTo>
                  <a:cubicBezTo>
                    <a:pt x="391" y="447"/>
                    <a:pt x="394" y="445"/>
                    <a:pt x="400" y="442"/>
                  </a:cubicBezTo>
                  <a:cubicBezTo>
                    <a:pt x="405" y="437"/>
                    <a:pt x="415" y="433"/>
                    <a:pt x="422" y="429"/>
                  </a:cubicBezTo>
                  <a:cubicBezTo>
                    <a:pt x="429" y="425"/>
                    <a:pt x="437" y="419"/>
                    <a:pt x="445" y="418"/>
                  </a:cubicBezTo>
                  <a:cubicBezTo>
                    <a:pt x="453" y="417"/>
                    <a:pt x="462" y="428"/>
                    <a:pt x="469" y="424"/>
                  </a:cubicBezTo>
                  <a:cubicBezTo>
                    <a:pt x="471" y="413"/>
                    <a:pt x="478" y="405"/>
                    <a:pt x="487" y="399"/>
                  </a:cubicBezTo>
                  <a:cubicBezTo>
                    <a:pt x="490" y="394"/>
                    <a:pt x="493" y="391"/>
                    <a:pt x="494" y="385"/>
                  </a:cubicBezTo>
                  <a:cubicBezTo>
                    <a:pt x="496" y="368"/>
                    <a:pt x="494" y="355"/>
                    <a:pt x="508" y="345"/>
                  </a:cubicBezTo>
                  <a:cubicBezTo>
                    <a:pt x="510" y="336"/>
                    <a:pt x="516" y="332"/>
                    <a:pt x="523" y="328"/>
                  </a:cubicBezTo>
                  <a:cubicBezTo>
                    <a:pt x="528" y="321"/>
                    <a:pt x="522" y="321"/>
                    <a:pt x="518" y="315"/>
                  </a:cubicBezTo>
                  <a:cubicBezTo>
                    <a:pt x="515" y="298"/>
                    <a:pt x="507" y="272"/>
                    <a:pt x="523" y="262"/>
                  </a:cubicBezTo>
                  <a:cubicBezTo>
                    <a:pt x="532" y="249"/>
                    <a:pt x="535" y="244"/>
                    <a:pt x="550" y="235"/>
                  </a:cubicBezTo>
                  <a:cubicBezTo>
                    <a:pt x="553" y="231"/>
                    <a:pt x="556" y="226"/>
                    <a:pt x="559" y="222"/>
                  </a:cubicBezTo>
                  <a:cubicBezTo>
                    <a:pt x="560" y="214"/>
                    <a:pt x="565" y="191"/>
                    <a:pt x="575" y="189"/>
                  </a:cubicBezTo>
                  <a:cubicBezTo>
                    <a:pt x="584" y="174"/>
                    <a:pt x="576" y="151"/>
                    <a:pt x="556" y="145"/>
                  </a:cubicBezTo>
                  <a:cubicBezTo>
                    <a:pt x="542" y="137"/>
                    <a:pt x="531" y="126"/>
                    <a:pt x="515" y="123"/>
                  </a:cubicBezTo>
                  <a:cubicBezTo>
                    <a:pt x="492" y="111"/>
                    <a:pt x="498" y="112"/>
                    <a:pt x="460" y="111"/>
                  </a:cubicBezTo>
                  <a:cubicBezTo>
                    <a:pt x="455" y="109"/>
                    <a:pt x="452" y="106"/>
                    <a:pt x="446" y="105"/>
                  </a:cubicBezTo>
                  <a:cubicBezTo>
                    <a:pt x="440" y="102"/>
                    <a:pt x="435" y="97"/>
                    <a:pt x="428" y="96"/>
                  </a:cubicBezTo>
                  <a:cubicBezTo>
                    <a:pt x="413" y="77"/>
                    <a:pt x="397" y="76"/>
                    <a:pt x="371" y="75"/>
                  </a:cubicBezTo>
                  <a:cubicBezTo>
                    <a:pt x="363" y="69"/>
                    <a:pt x="358" y="67"/>
                    <a:pt x="353" y="57"/>
                  </a:cubicBezTo>
                  <a:cubicBezTo>
                    <a:pt x="352" y="51"/>
                    <a:pt x="351" y="49"/>
                    <a:pt x="346" y="45"/>
                  </a:cubicBezTo>
                  <a:cubicBezTo>
                    <a:pt x="343" y="37"/>
                    <a:pt x="336" y="32"/>
                    <a:pt x="332" y="24"/>
                  </a:cubicBezTo>
                  <a:cubicBezTo>
                    <a:pt x="332" y="19"/>
                    <a:pt x="333" y="14"/>
                    <a:pt x="331" y="10"/>
                  </a:cubicBezTo>
                  <a:cubicBezTo>
                    <a:pt x="331" y="9"/>
                    <a:pt x="326" y="19"/>
                    <a:pt x="326" y="19"/>
                  </a:cubicBezTo>
                  <a:cubicBezTo>
                    <a:pt x="323" y="25"/>
                    <a:pt x="311" y="24"/>
                    <a:pt x="305" y="27"/>
                  </a:cubicBezTo>
                  <a:cubicBezTo>
                    <a:pt x="299" y="29"/>
                    <a:pt x="294" y="27"/>
                    <a:pt x="289" y="27"/>
                  </a:cubicBezTo>
                  <a:cubicBezTo>
                    <a:pt x="284" y="27"/>
                    <a:pt x="281" y="27"/>
                    <a:pt x="274" y="28"/>
                  </a:cubicBezTo>
                  <a:cubicBezTo>
                    <a:pt x="267" y="29"/>
                    <a:pt x="254" y="34"/>
                    <a:pt x="248" y="36"/>
                  </a:cubicBezTo>
                  <a:cubicBezTo>
                    <a:pt x="243" y="40"/>
                    <a:pt x="244" y="42"/>
                    <a:pt x="238" y="43"/>
                  </a:cubicBezTo>
                  <a:cubicBezTo>
                    <a:pt x="233" y="45"/>
                    <a:pt x="225" y="49"/>
                    <a:pt x="220" y="51"/>
                  </a:cubicBezTo>
                  <a:cubicBezTo>
                    <a:pt x="214" y="45"/>
                    <a:pt x="215" y="38"/>
                    <a:pt x="208" y="33"/>
                  </a:cubicBezTo>
                  <a:cubicBezTo>
                    <a:pt x="205" y="26"/>
                    <a:pt x="208" y="17"/>
                    <a:pt x="205" y="12"/>
                  </a:cubicBezTo>
                  <a:cubicBezTo>
                    <a:pt x="202" y="7"/>
                    <a:pt x="196" y="1"/>
                    <a:pt x="191" y="0"/>
                  </a:cubicBezTo>
                  <a:cubicBezTo>
                    <a:pt x="184" y="1"/>
                    <a:pt x="182" y="4"/>
                    <a:pt x="176" y="7"/>
                  </a:cubicBezTo>
                  <a:cubicBezTo>
                    <a:pt x="166" y="11"/>
                    <a:pt x="152" y="11"/>
                    <a:pt x="143" y="12"/>
                  </a:cubicBezTo>
                  <a:cubicBezTo>
                    <a:pt x="137" y="15"/>
                    <a:pt x="143" y="25"/>
                    <a:pt x="143" y="30"/>
                  </a:cubicBezTo>
                  <a:cubicBezTo>
                    <a:pt x="143" y="35"/>
                    <a:pt x="142" y="41"/>
                    <a:pt x="140" y="45"/>
                  </a:cubicBezTo>
                  <a:cubicBezTo>
                    <a:pt x="138" y="49"/>
                    <a:pt x="132" y="50"/>
                    <a:pt x="128" y="52"/>
                  </a:cubicBezTo>
                  <a:cubicBezTo>
                    <a:pt x="122" y="57"/>
                    <a:pt x="120" y="57"/>
                    <a:pt x="113" y="55"/>
                  </a:cubicBezTo>
                  <a:cubicBezTo>
                    <a:pt x="108" y="51"/>
                    <a:pt x="103" y="49"/>
                    <a:pt x="98" y="46"/>
                  </a:cubicBezTo>
                  <a:cubicBezTo>
                    <a:pt x="66" y="48"/>
                    <a:pt x="75" y="44"/>
                    <a:pt x="59" y="54"/>
                  </a:cubicBezTo>
                  <a:cubicBezTo>
                    <a:pt x="53" y="61"/>
                    <a:pt x="59" y="77"/>
                    <a:pt x="59" y="88"/>
                  </a:cubicBezTo>
                  <a:cubicBezTo>
                    <a:pt x="59" y="99"/>
                    <a:pt x="60" y="114"/>
                    <a:pt x="56" y="121"/>
                  </a:cubicBezTo>
                  <a:cubicBezTo>
                    <a:pt x="53" y="136"/>
                    <a:pt x="40" y="129"/>
                    <a:pt x="35" y="133"/>
                  </a:cubicBezTo>
                  <a:cubicBezTo>
                    <a:pt x="29" y="136"/>
                    <a:pt x="21" y="137"/>
                    <a:pt x="17" y="141"/>
                  </a:cubicBezTo>
                  <a:cubicBezTo>
                    <a:pt x="13" y="146"/>
                    <a:pt x="11" y="150"/>
                    <a:pt x="10" y="156"/>
                  </a:cubicBezTo>
                  <a:cubicBezTo>
                    <a:pt x="8" y="162"/>
                    <a:pt x="5" y="170"/>
                    <a:pt x="4" y="177"/>
                  </a:cubicBezTo>
                  <a:cubicBezTo>
                    <a:pt x="3" y="183"/>
                    <a:pt x="0" y="193"/>
                    <a:pt x="5" y="199"/>
                  </a:cubicBezTo>
                  <a:cubicBezTo>
                    <a:pt x="9" y="205"/>
                    <a:pt x="23" y="211"/>
                    <a:pt x="31" y="216"/>
                  </a:cubicBezTo>
                  <a:cubicBezTo>
                    <a:pt x="38" y="221"/>
                    <a:pt x="44" y="229"/>
                    <a:pt x="53" y="231"/>
                  </a:cubicBezTo>
                  <a:cubicBezTo>
                    <a:pt x="64" y="230"/>
                    <a:pt x="81" y="231"/>
                    <a:pt x="91" y="229"/>
                  </a:cubicBezTo>
                  <a:cubicBezTo>
                    <a:pt x="100" y="224"/>
                    <a:pt x="99" y="214"/>
                    <a:pt x="109" y="213"/>
                  </a:cubicBezTo>
                  <a:cubicBezTo>
                    <a:pt x="111" y="213"/>
                    <a:pt x="119" y="212"/>
                    <a:pt x="121" y="216"/>
                  </a:cubicBezTo>
                  <a:cubicBezTo>
                    <a:pt x="127" y="226"/>
                    <a:pt x="125" y="245"/>
                    <a:pt x="136" y="252"/>
                  </a:cubicBezTo>
                  <a:cubicBezTo>
                    <a:pt x="141" y="260"/>
                    <a:pt x="151" y="264"/>
                    <a:pt x="157" y="267"/>
                  </a:cubicBezTo>
                  <a:cubicBezTo>
                    <a:pt x="163" y="270"/>
                    <a:pt x="168" y="268"/>
                    <a:pt x="172" y="268"/>
                  </a:cubicBezTo>
                  <a:cubicBezTo>
                    <a:pt x="176" y="270"/>
                    <a:pt x="180" y="266"/>
                    <a:pt x="184" y="268"/>
                  </a:cubicBezTo>
                  <a:cubicBezTo>
                    <a:pt x="188" y="270"/>
                    <a:pt x="193" y="277"/>
                    <a:pt x="193" y="277"/>
                  </a:cubicBezTo>
                  <a:cubicBezTo>
                    <a:pt x="195" y="313"/>
                    <a:pt x="189" y="309"/>
                    <a:pt x="221" y="312"/>
                  </a:cubicBezTo>
                  <a:cubicBezTo>
                    <a:pt x="228" y="320"/>
                    <a:pt x="230" y="321"/>
                    <a:pt x="232" y="324"/>
                  </a:cubicBezTo>
                  <a:cubicBezTo>
                    <a:pt x="234" y="327"/>
                    <a:pt x="234" y="324"/>
                    <a:pt x="235" y="330"/>
                  </a:cubicBezTo>
                  <a:cubicBezTo>
                    <a:pt x="238" y="337"/>
                    <a:pt x="236" y="352"/>
                    <a:pt x="236" y="358"/>
                  </a:cubicBezTo>
                  <a:cubicBezTo>
                    <a:pt x="236" y="364"/>
                    <a:pt x="231" y="361"/>
                    <a:pt x="232" y="369"/>
                  </a:cubicBezTo>
                  <a:cubicBezTo>
                    <a:pt x="234" y="400"/>
                    <a:pt x="224" y="406"/>
                    <a:pt x="245" y="409"/>
                  </a:cubicBezTo>
                  <a:cubicBezTo>
                    <a:pt x="254" y="413"/>
                    <a:pt x="266" y="407"/>
                    <a:pt x="275" y="412"/>
                  </a:cubicBezTo>
                  <a:cubicBezTo>
                    <a:pt x="279" y="415"/>
                    <a:pt x="275" y="422"/>
                    <a:pt x="277" y="427"/>
                  </a:cubicBezTo>
                  <a:cubicBezTo>
                    <a:pt x="278" y="429"/>
                    <a:pt x="279" y="429"/>
                    <a:pt x="281" y="430"/>
                  </a:cubicBezTo>
                  <a:cubicBezTo>
                    <a:pt x="284" y="431"/>
                    <a:pt x="286" y="431"/>
                    <a:pt x="289" y="432"/>
                  </a:cubicBezTo>
                  <a:cubicBezTo>
                    <a:pt x="290" y="435"/>
                    <a:pt x="298" y="442"/>
                    <a:pt x="298" y="450"/>
                  </a:cubicBezTo>
                  <a:cubicBezTo>
                    <a:pt x="298" y="458"/>
                    <a:pt x="294" y="467"/>
                    <a:pt x="287" y="478"/>
                  </a:cubicBezTo>
                  <a:cubicBezTo>
                    <a:pt x="281" y="486"/>
                    <a:pt x="264" y="506"/>
                    <a:pt x="256" y="517"/>
                  </a:cubicBezTo>
                  <a:cubicBezTo>
                    <a:pt x="255" y="523"/>
                    <a:pt x="250" y="526"/>
                    <a:pt x="253" y="532"/>
                  </a:cubicBezTo>
                  <a:cubicBezTo>
                    <a:pt x="254" y="535"/>
                    <a:pt x="284" y="561"/>
                    <a:pt x="289" y="564"/>
                  </a:cubicBezTo>
                  <a:cubicBezTo>
                    <a:pt x="293" y="569"/>
                    <a:pt x="298" y="572"/>
                    <a:pt x="302" y="577"/>
                  </a:cubicBez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75" name="Freeform 832"/>
            <p:cNvSpPr>
              <a:spLocks/>
            </p:cNvSpPr>
            <p:nvPr>
              <p:custDataLst>
                <p:tags r:id="rId138"/>
              </p:custDataLst>
            </p:nvPr>
          </p:nvSpPr>
          <p:spPr bwMode="gray">
            <a:xfrm>
              <a:off x="1573381" y="3160144"/>
              <a:ext cx="183474" cy="270748"/>
            </a:xfrm>
            <a:custGeom>
              <a:avLst/>
              <a:gdLst>
                <a:gd name="T0" fmla="*/ 20 w 189"/>
                <a:gd name="T1" fmla="*/ 66 h 280"/>
                <a:gd name="T2" fmla="*/ 17 w 189"/>
                <a:gd name="T3" fmla="*/ 98 h 280"/>
                <a:gd name="T4" fmla="*/ 31 w 189"/>
                <a:gd name="T5" fmla="*/ 113 h 280"/>
                <a:gd name="T6" fmla="*/ 40 w 189"/>
                <a:gd name="T7" fmla="*/ 126 h 280"/>
                <a:gd name="T8" fmla="*/ 52 w 189"/>
                <a:gd name="T9" fmla="*/ 156 h 280"/>
                <a:gd name="T10" fmla="*/ 58 w 189"/>
                <a:gd name="T11" fmla="*/ 177 h 280"/>
                <a:gd name="T12" fmla="*/ 79 w 189"/>
                <a:gd name="T13" fmla="*/ 195 h 280"/>
                <a:gd name="T14" fmla="*/ 85 w 189"/>
                <a:gd name="T15" fmla="*/ 213 h 280"/>
                <a:gd name="T16" fmla="*/ 109 w 189"/>
                <a:gd name="T17" fmla="*/ 240 h 280"/>
                <a:gd name="T18" fmla="*/ 124 w 189"/>
                <a:gd name="T19" fmla="*/ 246 h 280"/>
                <a:gd name="T20" fmla="*/ 148 w 189"/>
                <a:gd name="T21" fmla="*/ 258 h 280"/>
                <a:gd name="T22" fmla="*/ 163 w 189"/>
                <a:gd name="T23" fmla="*/ 270 h 280"/>
                <a:gd name="T24" fmla="*/ 182 w 189"/>
                <a:gd name="T25" fmla="*/ 255 h 280"/>
                <a:gd name="T26" fmla="*/ 187 w 189"/>
                <a:gd name="T27" fmla="*/ 185 h 280"/>
                <a:gd name="T28" fmla="*/ 167 w 189"/>
                <a:gd name="T29" fmla="*/ 168 h 280"/>
                <a:gd name="T30" fmla="*/ 142 w 189"/>
                <a:gd name="T31" fmla="*/ 150 h 280"/>
                <a:gd name="T32" fmla="*/ 130 w 189"/>
                <a:gd name="T33" fmla="*/ 143 h 280"/>
                <a:gd name="T34" fmla="*/ 119 w 189"/>
                <a:gd name="T35" fmla="*/ 129 h 280"/>
                <a:gd name="T36" fmla="*/ 127 w 189"/>
                <a:gd name="T37" fmla="*/ 96 h 280"/>
                <a:gd name="T38" fmla="*/ 142 w 189"/>
                <a:gd name="T39" fmla="*/ 74 h 280"/>
                <a:gd name="T40" fmla="*/ 163 w 189"/>
                <a:gd name="T41" fmla="*/ 68 h 280"/>
                <a:gd name="T42" fmla="*/ 175 w 189"/>
                <a:gd name="T43" fmla="*/ 53 h 280"/>
                <a:gd name="T44" fmla="*/ 136 w 189"/>
                <a:gd name="T45" fmla="*/ 42 h 280"/>
                <a:gd name="T46" fmla="*/ 104 w 189"/>
                <a:gd name="T47" fmla="*/ 12 h 280"/>
                <a:gd name="T48" fmla="*/ 82 w 189"/>
                <a:gd name="T49" fmla="*/ 0 h 280"/>
                <a:gd name="T50" fmla="*/ 94 w 189"/>
                <a:gd name="T51" fmla="*/ 21 h 280"/>
                <a:gd name="T52" fmla="*/ 80 w 189"/>
                <a:gd name="T53" fmla="*/ 39 h 280"/>
                <a:gd name="T54" fmla="*/ 62 w 189"/>
                <a:gd name="T55" fmla="*/ 44 h 280"/>
                <a:gd name="T56" fmla="*/ 50 w 189"/>
                <a:gd name="T57" fmla="*/ 54 h 280"/>
                <a:gd name="T58" fmla="*/ 38 w 189"/>
                <a:gd name="T59" fmla="*/ 78 h 280"/>
                <a:gd name="T60" fmla="*/ 14 w 189"/>
                <a:gd name="T61" fmla="*/ 66 h 280"/>
                <a:gd name="T62" fmla="*/ 20 w 189"/>
                <a:gd name="T63" fmla="*/ 66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9" h="280">
                  <a:moveTo>
                    <a:pt x="20" y="66"/>
                  </a:moveTo>
                  <a:cubicBezTo>
                    <a:pt x="0" y="56"/>
                    <a:pt x="6" y="92"/>
                    <a:pt x="17" y="98"/>
                  </a:cubicBezTo>
                  <a:cubicBezTo>
                    <a:pt x="21" y="103"/>
                    <a:pt x="26" y="110"/>
                    <a:pt x="31" y="113"/>
                  </a:cubicBezTo>
                  <a:cubicBezTo>
                    <a:pt x="39" y="123"/>
                    <a:pt x="36" y="119"/>
                    <a:pt x="40" y="126"/>
                  </a:cubicBezTo>
                  <a:cubicBezTo>
                    <a:pt x="42" y="138"/>
                    <a:pt x="43" y="147"/>
                    <a:pt x="52" y="156"/>
                  </a:cubicBezTo>
                  <a:cubicBezTo>
                    <a:pt x="53" y="166"/>
                    <a:pt x="52" y="170"/>
                    <a:pt x="58" y="177"/>
                  </a:cubicBezTo>
                  <a:cubicBezTo>
                    <a:pt x="60" y="190"/>
                    <a:pt x="66" y="193"/>
                    <a:pt x="79" y="195"/>
                  </a:cubicBezTo>
                  <a:cubicBezTo>
                    <a:pt x="80" y="201"/>
                    <a:pt x="82" y="207"/>
                    <a:pt x="85" y="213"/>
                  </a:cubicBezTo>
                  <a:cubicBezTo>
                    <a:pt x="87" y="227"/>
                    <a:pt x="95" y="237"/>
                    <a:pt x="109" y="240"/>
                  </a:cubicBezTo>
                  <a:cubicBezTo>
                    <a:pt x="114" y="244"/>
                    <a:pt x="118" y="245"/>
                    <a:pt x="124" y="246"/>
                  </a:cubicBezTo>
                  <a:cubicBezTo>
                    <a:pt x="130" y="251"/>
                    <a:pt x="140" y="256"/>
                    <a:pt x="148" y="258"/>
                  </a:cubicBezTo>
                  <a:cubicBezTo>
                    <a:pt x="155" y="263"/>
                    <a:pt x="154" y="268"/>
                    <a:pt x="163" y="270"/>
                  </a:cubicBezTo>
                  <a:cubicBezTo>
                    <a:pt x="176" y="280"/>
                    <a:pt x="180" y="265"/>
                    <a:pt x="182" y="255"/>
                  </a:cubicBezTo>
                  <a:cubicBezTo>
                    <a:pt x="186" y="241"/>
                    <a:pt x="189" y="199"/>
                    <a:pt x="187" y="185"/>
                  </a:cubicBezTo>
                  <a:cubicBezTo>
                    <a:pt x="185" y="171"/>
                    <a:pt x="174" y="174"/>
                    <a:pt x="167" y="168"/>
                  </a:cubicBezTo>
                  <a:cubicBezTo>
                    <a:pt x="160" y="151"/>
                    <a:pt x="150" y="157"/>
                    <a:pt x="142" y="150"/>
                  </a:cubicBezTo>
                  <a:cubicBezTo>
                    <a:pt x="136" y="145"/>
                    <a:pt x="134" y="146"/>
                    <a:pt x="130" y="143"/>
                  </a:cubicBezTo>
                  <a:cubicBezTo>
                    <a:pt x="126" y="140"/>
                    <a:pt x="119" y="137"/>
                    <a:pt x="119" y="129"/>
                  </a:cubicBezTo>
                  <a:cubicBezTo>
                    <a:pt x="117" y="115"/>
                    <a:pt x="120" y="108"/>
                    <a:pt x="127" y="96"/>
                  </a:cubicBezTo>
                  <a:cubicBezTo>
                    <a:pt x="128" y="83"/>
                    <a:pt x="128" y="76"/>
                    <a:pt x="142" y="74"/>
                  </a:cubicBezTo>
                  <a:cubicBezTo>
                    <a:pt x="149" y="72"/>
                    <a:pt x="156" y="69"/>
                    <a:pt x="163" y="68"/>
                  </a:cubicBezTo>
                  <a:cubicBezTo>
                    <a:pt x="169" y="65"/>
                    <a:pt x="172" y="59"/>
                    <a:pt x="175" y="53"/>
                  </a:cubicBezTo>
                  <a:cubicBezTo>
                    <a:pt x="169" y="38"/>
                    <a:pt x="149" y="43"/>
                    <a:pt x="136" y="42"/>
                  </a:cubicBezTo>
                  <a:cubicBezTo>
                    <a:pt x="124" y="35"/>
                    <a:pt x="117" y="20"/>
                    <a:pt x="104" y="12"/>
                  </a:cubicBezTo>
                  <a:cubicBezTo>
                    <a:pt x="100" y="7"/>
                    <a:pt x="87" y="4"/>
                    <a:pt x="82" y="0"/>
                  </a:cubicBezTo>
                  <a:cubicBezTo>
                    <a:pt x="79" y="2"/>
                    <a:pt x="94" y="15"/>
                    <a:pt x="94" y="21"/>
                  </a:cubicBezTo>
                  <a:cubicBezTo>
                    <a:pt x="94" y="27"/>
                    <a:pt x="85" y="35"/>
                    <a:pt x="80" y="39"/>
                  </a:cubicBezTo>
                  <a:cubicBezTo>
                    <a:pt x="74" y="42"/>
                    <a:pt x="68" y="42"/>
                    <a:pt x="62" y="44"/>
                  </a:cubicBezTo>
                  <a:cubicBezTo>
                    <a:pt x="57" y="47"/>
                    <a:pt x="55" y="51"/>
                    <a:pt x="50" y="54"/>
                  </a:cubicBezTo>
                  <a:cubicBezTo>
                    <a:pt x="48" y="62"/>
                    <a:pt x="45" y="77"/>
                    <a:pt x="38" y="78"/>
                  </a:cubicBezTo>
                  <a:cubicBezTo>
                    <a:pt x="35" y="77"/>
                    <a:pt x="14" y="67"/>
                    <a:pt x="14" y="66"/>
                  </a:cubicBezTo>
                  <a:cubicBezTo>
                    <a:pt x="15" y="64"/>
                    <a:pt x="18" y="66"/>
                    <a:pt x="20" y="66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76" name="Freeform 833"/>
            <p:cNvSpPr>
              <a:spLocks/>
            </p:cNvSpPr>
            <p:nvPr>
              <p:custDataLst>
                <p:tags r:id="rId139"/>
              </p:custDataLst>
            </p:nvPr>
          </p:nvSpPr>
          <p:spPr bwMode="gray">
            <a:xfrm>
              <a:off x="1580323" y="3148243"/>
              <a:ext cx="81324" cy="90250"/>
            </a:xfrm>
            <a:custGeom>
              <a:avLst/>
              <a:gdLst>
                <a:gd name="T0" fmla="*/ 30 w 84"/>
                <a:gd name="T1" fmla="*/ 0 h 94"/>
                <a:gd name="T2" fmla="*/ 12 w 84"/>
                <a:gd name="T3" fmla="*/ 18 h 94"/>
                <a:gd name="T4" fmla="*/ 4 w 84"/>
                <a:gd name="T5" fmla="*/ 38 h 94"/>
                <a:gd name="T6" fmla="*/ 19 w 84"/>
                <a:gd name="T7" fmla="*/ 51 h 94"/>
                <a:gd name="T8" fmla="*/ 16 w 84"/>
                <a:gd name="T9" fmla="*/ 74 h 94"/>
                <a:gd name="T10" fmla="*/ 19 w 84"/>
                <a:gd name="T11" fmla="*/ 84 h 94"/>
                <a:gd name="T12" fmla="*/ 36 w 84"/>
                <a:gd name="T13" fmla="*/ 87 h 94"/>
                <a:gd name="T14" fmla="*/ 42 w 84"/>
                <a:gd name="T15" fmla="*/ 72 h 94"/>
                <a:gd name="T16" fmla="*/ 72 w 84"/>
                <a:gd name="T17" fmla="*/ 50 h 94"/>
                <a:gd name="T18" fmla="*/ 84 w 84"/>
                <a:gd name="T19" fmla="*/ 35 h 94"/>
                <a:gd name="T20" fmla="*/ 51 w 84"/>
                <a:gd name="T21" fmla="*/ 0 h 94"/>
                <a:gd name="T22" fmla="*/ 30 w 84"/>
                <a:gd name="T23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4" h="94">
                  <a:moveTo>
                    <a:pt x="30" y="0"/>
                  </a:moveTo>
                  <a:cubicBezTo>
                    <a:pt x="20" y="4"/>
                    <a:pt x="20" y="12"/>
                    <a:pt x="12" y="18"/>
                  </a:cubicBezTo>
                  <a:cubicBezTo>
                    <a:pt x="9" y="25"/>
                    <a:pt x="7" y="31"/>
                    <a:pt x="4" y="38"/>
                  </a:cubicBezTo>
                  <a:cubicBezTo>
                    <a:pt x="0" y="61"/>
                    <a:pt x="4" y="62"/>
                    <a:pt x="19" y="51"/>
                  </a:cubicBezTo>
                  <a:cubicBezTo>
                    <a:pt x="22" y="59"/>
                    <a:pt x="20" y="67"/>
                    <a:pt x="16" y="74"/>
                  </a:cubicBezTo>
                  <a:cubicBezTo>
                    <a:pt x="14" y="84"/>
                    <a:pt x="12" y="79"/>
                    <a:pt x="19" y="84"/>
                  </a:cubicBezTo>
                  <a:cubicBezTo>
                    <a:pt x="21" y="89"/>
                    <a:pt x="27" y="94"/>
                    <a:pt x="36" y="87"/>
                  </a:cubicBezTo>
                  <a:cubicBezTo>
                    <a:pt x="37" y="87"/>
                    <a:pt x="41" y="74"/>
                    <a:pt x="42" y="72"/>
                  </a:cubicBezTo>
                  <a:cubicBezTo>
                    <a:pt x="49" y="62"/>
                    <a:pt x="60" y="52"/>
                    <a:pt x="72" y="50"/>
                  </a:cubicBezTo>
                  <a:cubicBezTo>
                    <a:pt x="79" y="47"/>
                    <a:pt x="80" y="41"/>
                    <a:pt x="84" y="35"/>
                  </a:cubicBezTo>
                  <a:cubicBezTo>
                    <a:pt x="81" y="17"/>
                    <a:pt x="66" y="8"/>
                    <a:pt x="51" y="0"/>
                  </a:cubicBezTo>
                  <a:cubicBezTo>
                    <a:pt x="47" y="1"/>
                    <a:pt x="32" y="6"/>
                    <a:pt x="30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77" name="Freeform 834"/>
            <p:cNvSpPr>
              <a:spLocks/>
            </p:cNvSpPr>
            <p:nvPr>
              <p:custDataLst>
                <p:tags r:id="rId140"/>
              </p:custDataLst>
            </p:nvPr>
          </p:nvSpPr>
          <p:spPr bwMode="gray">
            <a:xfrm>
              <a:off x="1907601" y="3608415"/>
              <a:ext cx="79340" cy="82316"/>
            </a:xfrm>
            <a:custGeom>
              <a:avLst/>
              <a:gdLst>
                <a:gd name="T0" fmla="*/ 23 w 82"/>
                <a:gd name="T1" fmla="*/ 0 h 84"/>
                <a:gd name="T2" fmla="*/ 59 w 82"/>
                <a:gd name="T3" fmla="*/ 30 h 84"/>
                <a:gd name="T4" fmla="*/ 67 w 82"/>
                <a:gd name="T5" fmla="*/ 38 h 84"/>
                <a:gd name="T6" fmla="*/ 76 w 82"/>
                <a:gd name="T7" fmla="*/ 51 h 84"/>
                <a:gd name="T8" fmla="*/ 58 w 82"/>
                <a:gd name="T9" fmla="*/ 84 h 84"/>
                <a:gd name="T10" fmla="*/ 26 w 82"/>
                <a:gd name="T11" fmla="*/ 83 h 84"/>
                <a:gd name="T12" fmla="*/ 5 w 82"/>
                <a:gd name="T13" fmla="*/ 74 h 84"/>
                <a:gd name="T14" fmla="*/ 2 w 82"/>
                <a:gd name="T15" fmla="*/ 48 h 84"/>
                <a:gd name="T16" fmla="*/ 4 w 82"/>
                <a:gd name="T17" fmla="*/ 20 h 84"/>
                <a:gd name="T18" fmla="*/ 23 w 82"/>
                <a:gd name="T1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4">
                  <a:moveTo>
                    <a:pt x="23" y="0"/>
                  </a:moveTo>
                  <a:cubicBezTo>
                    <a:pt x="31" y="10"/>
                    <a:pt x="48" y="23"/>
                    <a:pt x="59" y="30"/>
                  </a:cubicBezTo>
                  <a:cubicBezTo>
                    <a:pt x="64" y="36"/>
                    <a:pt x="61" y="34"/>
                    <a:pt x="67" y="38"/>
                  </a:cubicBezTo>
                  <a:cubicBezTo>
                    <a:pt x="71" y="45"/>
                    <a:pt x="72" y="44"/>
                    <a:pt x="76" y="51"/>
                  </a:cubicBezTo>
                  <a:cubicBezTo>
                    <a:pt x="80" y="77"/>
                    <a:pt x="82" y="82"/>
                    <a:pt x="58" y="84"/>
                  </a:cubicBezTo>
                  <a:cubicBezTo>
                    <a:pt x="47" y="84"/>
                    <a:pt x="37" y="84"/>
                    <a:pt x="26" y="83"/>
                  </a:cubicBezTo>
                  <a:cubicBezTo>
                    <a:pt x="19" y="82"/>
                    <a:pt x="13" y="75"/>
                    <a:pt x="5" y="74"/>
                  </a:cubicBezTo>
                  <a:cubicBezTo>
                    <a:pt x="0" y="67"/>
                    <a:pt x="2" y="57"/>
                    <a:pt x="2" y="48"/>
                  </a:cubicBezTo>
                  <a:cubicBezTo>
                    <a:pt x="2" y="39"/>
                    <a:pt x="1" y="28"/>
                    <a:pt x="4" y="20"/>
                  </a:cubicBezTo>
                  <a:cubicBezTo>
                    <a:pt x="7" y="12"/>
                    <a:pt x="20" y="4"/>
                    <a:pt x="23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78" name="Freeform 836"/>
            <p:cNvSpPr>
              <a:spLocks/>
            </p:cNvSpPr>
            <p:nvPr>
              <p:custDataLst>
                <p:tags r:id="rId141"/>
              </p:custDataLst>
            </p:nvPr>
          </p:nvSpPr>
          <p:spPr bwMode="gray">
            <a:xfrm>
              <a:off x="1420651" y="2896338"/>
              <a:ext cx="55538" cy="67439"/>
            </a:xfrm>
            <a:custGeom>
              <a:avLst/>
              <a:gdLst>
                <a:gd name="T0" fmla="*/ 1 w 57"/>
                <a:gd name="T1" fmla="*/ 58 h 69"/>
                <a:gd name="T2" fmla="*/ 15 w 57"/>
                <a:gd name="T3" fmla="*/ 68 h 69"/>
                <a:gd name="T4" fmla="*/ 34 w 57"/>
                <a:gd name="T5" fmla="*/ 65 h 69"/>
                <a:gd name="T6" fmla="*/ 52 w 57"/>
                <a:gd name="T7" fmla="*/ 49 h 69"/>
                <a:gd name="T8" fmla="*/ 46 w 57"/>
                <a:gd name="T9" fmla="*/ 40 h 69"/>
                <a:gd name="T10" fmla="*/ 52 w 57"/>
                <a:gd name="T11" fmla="*/ 20 h 69"/>
                <a:gd name="T12" fmla="*/ 57 w 57"/>
                <a:gd name="T13" fmla="*/ 2 h 69"/>
                <a:gd name="T14" fmla="*/ 49 w 57"/>
                <a:gd name="T15" fmla="*/ 7 h 69"/>
                <a:gd name="T16" fmla="*/ 25 w 57"/>
                <a:gd name="T17" fmla="*/ 7 h 69"/>
                <a:gd name="T18" fmla="*/ 27 w 57"/>
                <a:gd name="T19" fmla="*/ 22 h 69"/>
                <a:gd name="T20" fmla="*/ 37 w 57"/>
                <a:gd name="T21" fmla="*/ 34 h 69"/>
                <a:gd name="T22" fmla="*/ 15 w 57"/>
                <a:gd name="T23" fmla="*/ 35 h 69"/>
                <a:gd name="T24" fmla="*/ 6 w 57"/>
                <a:gd name="T25" fmla="*/ 46 h 69"/>
                <a:gd name="T26" fmla="*/ 1 w 57"/>
                <a:gd name="T27" fmla="*/ 58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69">
                  <a:moveTo>
                    <a:pt x="1" y="58"/>
                  </a:moveTo>
                  <a:cubicBezTo>
                    <a:pt x="2" y="62"/>
                    <a:pt x="10" y="67"/>
                    <a:pt x="15" y="68"/>
                  </a:cubicBezTo>
                  <a:cubicBezTo>
                    <a:pt x="20" y="69"/>
                    <a:pt x="28" y="68"/>
                    <a:pt x="34" y="65"/>
                  </a:cubicBezTo>
                  <a:cubicBezTo>
                    <a:pt x="40" y="62"/>
                    <a:pt x="50" y="53"/>
                    <a:pt x="52" y="49"/>
                  </a:cubicBezTo>
                  <a:cubicBezTo>
                    <a:pt x="54" y="45"/>
                    <a:pt x="46" y="45"/>
                    <a:pt x="46" y="40"/>
                  </a:cubicBezTo>
                  <a:cubicBezTo>
                    <a:pt x="46" y="35"/>
                    <a:pt x="50" y="26"/>
                    <a:pt x="52" y="20"/>
                  </a:cubicBezTo>
                  <a:cubicBezTo>
                    <a:pt x="54" y="14"/>
                    <a:pt x="57" y="4"/>
                    <a:pt x="57" y="2"/>
                  </a:cubicBezTo>
                  <a:cubicBezTo>
                    <a:pt x="57" y="0"/>
                    <a:pt x="54" y="6"/>
                    <a:pt x="49" y="7"/>
                  </a:cubicBezTo>
                  <a:cubicBezTo>
                    <a:pt x="44" y="8"/>
                    <a:pt x="29" y="5"/>
                    <a:pt x="25" y="7"/>
                  </a:cubicBezTo>
                  <a:cubicBezTo>
                    <a:pt x="21" y="9"/>
                    <a:pt x="25" y="18"/>
                    <a:pt x="27" y="22"/>
                  </a:cubicBezTo>
                  <a:cubicBezTo>
                    <a:pt x="29" y="26"/>
                    <a:pt x="39" y="32"/>
                    <a:pt x="37" y="34"/>
                  </a:cubicBezTo>
                  <a:cubicBezTo>
                    <a:pt x="35" y="36"/>
                    <a:pt x="20" y="33"/>
                    <a:pt x="15" y="35"/>
                  </a:cubicBezTo>
                  <a:cubicBezTo>
                    <a:pt x="10" y="37"/>
                    <a:pt x="8" y="42"/>
                    <a:pt x="6" y="46"/>
                  </a:cubicBezTo>
                  <a:cubicBezTo>
                    <a:pt x="4" y="50"/>
                    <a:pt x="0" y="54"/>
                    <a:pt x="1" y="5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79" name="Freeform 837"/>
            <p:cNvSpPr>
              <a:spLocks/>
            </p:cNvSpPr>
            <p:nvPr>
              <p:custDataLst>
                <p:tags r:id="rId142"/>
              </p:custDataLst>
            </p:nvPr>
          </p:nvSpPr>
          <p:spPr bwMode="gray">
            <a:xfrm>
              <a:off x="1467263" y="2924107"/>
              <a:ext cx="86283" cy="50580"/>
            </a:xfrm>
            <a:custGeom>
              <a:avLst/>
              <a:gdLst>
                <a:gd name="T0" fmla="*/ 3 w 89"/>
                <a:gd name="T1" fmla="*/ 34 h 53"/>
                <a:gd name="T2" fmla="*/ 18 w 89"/>
                <a:gd name="T3" fmla="*/ 42 h 53"/>
                <a:gd name="T4" fmla="*/ 25 w 89"/>
                <a:gd name="T5" fmla="*/ 52 h 53"/>
                <a:gd name="T6" fmla="*/ 46 w 89"/>
                <a:gd name="T7" fmla="*/ 39 h 53"/>
                <a:gd name="T8" fmla="*/ 66 w 89"/>
                <a:gd name="T9" fmla="*/ 30 h 53"/>
                <a:gd name="T10" fmla="*/ 87 w 89"/>
                <a:gd name="T11" fmla="*/ 28 h 53"/>
                <a:gd name="T12" fmla="*/ 78 w 89"/>
                <a:gd name="T13" fmla="*/ 7 h 53"/>
                <a:gd name="T14" fmla="*/ 63 w 89"/>
                <a:gd name="T15" fmla="*/ 7 h 53"/>
                <a:gd name="T16" fmla="*/ 40 w 89"/>
                <a:gd name="T17" fmla="*/ 1 h 53"/>
                <a:gd name="T18" fmla="*/ 24 w 89"/>
                <a:gd name="T19" fmla="*/ 12 h 53"/>
                <a:gd name="T20" fmla="*/ 9 w 89"/>
                <a:gd name="T21" fmla="*/ 12 h 53"/>
                <a:gd name="T22" fmla="*/ 1 w 89"/>
                <a:gd name="T23" fmla="*/ 22 h 53"/>
                <a:gd name="T24" fmla="*/ 3 w 8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53">
                  <a:moveTo>
                    <a:pt x="3" y="34"/>
                  </a:moveTo>
                  <a:cubicBezTo>
                    <a:pt x="6" y="37"/>
                    <a:pt x="14" y="39"/>
                    <a:pt x="18" y="42"/>
                  </a:cubicBezTo>
                  <a:cubicBezTo>
                    <a:pt x="22" y="45"/>
                    <a:pt x="20" y="53"/>
                    <a:pt x="25" y="52"/>
                  </a:cubicBezTo>
                  <a:cubicBezTo>
                    <a:pt x="30" y="51"/>
                    <a:pt x="39" y="43"/>
                    <a:pt x="46" y="39"/>
                  </a:cubicBezTo>
                  <a:cubicBezTo>
                    <a:pt x="53" y="35"/>
                    <a:pt x="59" y="32"/>
                    <a:pt x="66" y="30"/>
                  </a:cubicBezTo>
                  <a:cubicBezTo>
                    <a:pt x="73" y="28"/>
                    <a:pt x="85" y="32"/>
                    <a:pt x="87" y="28"/>
                  </a:cubicBezTo>
                  <a:cubicBezTo>
                    <a:pt x="89" y="24"/>
                    <a:pt x="82" y="10"/>
                    <a:pt x="78" y="7"/>
                  </a:cubicBezTo>
                  <a:cubicBezTo>
                    <a:pt x="74" y="4"/>
                    <a:pt x="69" y="8"/>
                    <a:pt x="63" y="7"/>
                  </a:cubicBezTo>
                  <a:cubicBezTo>
                    <a:pt x="57" y="6"/>
                    <a:pt x="46" y="0"/>
                    <a:pt x="40" y="1"/>
                  </a:cubicBezTo>
                  <a:cubicBezTo>
                    <a:pt x="34" y="2"/>
                    <a:pt x="29" y="10"/>
                    <a:pt x="24" y="12"/>
                  </a:cubicBezTo>
                  <a:cubicBezTo>
                    <a:pt x="19" y="14"/>
                    <a:pt x="13" y="10"/>
                    <a:pt x="9" y="12"/>
                  </a:cubicBezTo>
                  <a:cubicBezTo>
                    <a:pt x="5" y="14"/>
                    <a:pt x="2" y="18"/>
                    <a:pt x="1" y="22"/>
                  </a:cubicBezTo>
                  <a:cubicBezTo>
                    <a:pt x="0" y="26"/>
                    <a:pt x="1" y="30"/>
                    <a:pt x="3" y="3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80" name="Freeform 838"/>
            <p:cNvSpPr>
              <a:spLocks/>
            </p:cNvSpPr>
            <p:nvPr>
              <p:custDataLst>
                <p:tags r:id="rId143"/>
              </p:custDataLst>
            </p:nvPr>
          </p:nvSpPr>
          <p:spPr bwMode="gray">
            <a:xfrm>
              <a:off x="1445445" y="2955843"/>
              <a:ext cx="48596" cy="32728"/>
            </a:xfrm>
            <a:custGeom>
              <a:avLst/>
              <a:gdLst>
                <a:gd name="T0" fmla="*/ 13 w 50"/>
                <a:gd name="T1" fmla="*/ 0 h 34"/>
                <a:gd name="T2" fmla="*/ 1 w 50"/>
                <a:gd name="T3" fmla="*/ 16 h 34"/>
                <a:gd name="T4" fmla="*/ 10 w 50"/>
                <a:gd name="T5" fmla="*/ 24 h 34"/>
                <a:gd name="T6" fmla="*/ 32 w 50"/>
                <a:gd name="T7" fmla="*/ 27 h 34"/>
                <a:gd name="T8" fmla="*/ 44 w 50"/>
                <a:gd name="T9" fmla="*/ 33 h 34"/>
                <a:gd name="T10" fmla="*/ 49 w 50"/>
                <a:gd name="T11" fmla="*/ 22 h 34"/>
                <a:gd name="T12" fmla="*/ 38 w 50"/>
                <a:gd name="T13" fmla="*/ 12 h 34"/>
                <a:gd name="T14" fmla="*/ 31 w 50"/>
                <a:gd name="T15" fmla="*/ 3 h 34"/>
                <a:gd name="T16" fmla="*/ 15 w 50"/>
                <a:gd name="T17" fmla="*/ 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34">
                  <a:moveTo>
                    <a:pt x="13" y="0"/>
                  </a:moveTo>
                  <a:cubicBezTo>
                    <a:pt x="11" y="3"/>
                    <a:pt x="2" y="12"/>
                    <a:pt x="1" y="16"/>
                  </a:cubicBezTo>
                  <a:cubicBezTo>
                    <a:pt x="0" y="20"/>
                    <a:pt x="5" y="22"/>
                    <a:pt x="10" y="24"/>
                  </a:cubicBezTo>
                  <a:cubicBezTo>
                    <a:pt x="15" y="26"/>
                    <a:pt x="26" y="26"/>
                    <a:pt x="32" y="27"/>
                  </a:cubicBezTo>
                  <a:cubicBezTo>
                    <a:pt x="38" y="28"/>
                    <a:pt x="41" y="34"/>
                    <a:pt x="44" y="33"/>
                  </a:cubicBezTo>
                  <a:cubicBezTo>
                    <a:pt x="47" y="32"/>
                    <a:pt x="50" y="26"/>
                    <a:pt x="49" y="22"/>
                  </a:cubicBezTo>
                  <a:cubicBezTo>
                    <a:pt x="48" y="18"/>
                    <a:pt x="41" y="15"/>
                    <a:pt x="38" y="12"/>
                  </a:cubicBezTo>
                  <a:cubicBezTo>
                    <a:pt x="35" y="9"/>
                    <a:pt x="35" y="5"/>
                    <a:pt x="31" y="3"/>
                  </a:cubicBezTo>
                  <a:cubicBezTo>
                    <a:pt x="27" y="1"/>
                    <a:pt x="18" y="2"/>
                    <a:pt x="15" y="1"/>
                  </a:cubicBez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81" name="Freeform 839"/>
            <p:cNvSpPr>
              <a:spLocks/>
            </p:cNvSpPr>
            <p:nvPr>
              <p:custDataLst>
                <p:tags r:id="rId144"/>
              </p:custDataLst>
            </p:nvPr>
          </p:nvSpPr>
          <p:spPr bwMode="gray">
            <a:xfrm>
              <a:off x="1488090" y="2948901"/>
              <a:ext cx="65456" cy="64464"/>
            </a:xfrm>
            <a:custGeom>
              <a:avLst/>
              <a:gdLst>
                <a:gd name="T0" fmla="*/ 3 w 67"/>
                <a:gd name="T1" fmla="*/ 35 h 67"/>
                <a:gd name="T2" fmla="*/ 18 w 67"/>
                <a:gd name="T3" fmla="*/ 50 h 67"/>
                <a:gd name="T4" fmla="*/ 26 w 67"/>
                <a:gd name="T5" fmla="*/ 58 h 67"/>
                <a:gd name="T6" fmla="*/ 26 w 67"/>
                <a:gd name="T7" fmla="*/ 55 h 67"/>
                <a:gd name="T8" fmla="*/ 42 w 67"/>
                <a:gd name="T9" fmla="*/ 65 h 67"/>
                <a:gd name="T10" fmla="*/ 60 w 67"/>
                <a:gd name="T11" fmla="*/ 59 h 67"/>
                <a:gd name="T12" fmla="*/ 62 w 67"/>
                <a:gd name="T13" fmla="*/ 16 h 67"/>
                <a:gd name="T14" fmla="*/ 62 w 67"/>
                <a:gd name="T15" fmla="*/ 1 h 67"/>
                <a:gd name="T16" fmla="*/ 33 w 67"/>
                <a:gd name="T17" fmla="*/ 8 h 67"/>
                <a:gd name="T18" fmla="*/ 3 w 67"/>
                <a:gd name="T19" fmla="*/ 35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7">
                  <a:moveTo>
                    <a:pt x="3" y="35"/>
                  </a:moveTo>
                  <a:cubicBezTo>
                    <a:pt x="0" y="42"/>
                    <a:pt x="14" y="46"/>
                    <a:pt x="18" y="50"/>
                  </a:cubicBezTo>
                  <a:cubicBezTo>
                    <a:pt x="22" y="54"/>
                    <a:pt x="25" y="57"/>
                    <a:pt x="26" y="58"/>
                  </a:cubicBezTo>
                  <a:cubicBezTo>
                    <a:pt x="27" y="59"/>
                    <a:pt x="23" y="54"/>
                    <a:pt x="26" y="55"/>
                  </a:cubicBezTo>
                  <a:cubicBezTo>
                    <a:pt x="29" y="56"/>
                    <a:pt x="36" y="64"/>
                    <a:pt x="42" y="65"/>
                  </a:cubicBezTo>
                  <a:cubicBezTo>
                    <a:pt x="48" y="66"/>
                    <a:pt x="57" y="67"/>
                    <a:pt x="60" y="59"/>
                  </a:cubicBezTo>
                  <a:cubicBezTo>
                    <a:pt x="63" y="51"/>
                    <a:pt x="62" y="26"/>
                    <a:pt x="62" y="16"/>
                  </a:cubicBezTo>
                  <a:cubicBezTo>
                    <a:pt x="62" y="6"/>
                    <a:pt x="67" y="2"/>
                    <a:pt x="62" y="1"/>
                  </a:cubicBezTo>
                  <a:cubicBezTo>
                    <a:pt x="57" y="0"/>
                    <a:pt x="43" y="3"/>
                    <a:pt x="33" y="8"/>
                  </a:cubicBezTo>
                  <a:cubicBezTo>
                    <a:pt x="23" y="13"/>
                    <a:pt x="6" y="28"/>
                    <a:pt x="3" y="3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82" name="Freeform 840"/>
            <p:cNvSpPr>
              <a:spLocks/>
            </p:cNvSpPr>
            <p:nvPr>
              <p:custDataLst>
                <p:tags r:id="rId145"/>
              </p:custDataLst>
            </p:nvPr>
          </p:nvSpPr>
          <p:spPr bwMode="gray">
            <a:xfrm>
              <a:off x="1528752" y="2822948"/>
              <a:ext cx="147771" cy="53555"/>
            </a:xfrm>
            <a:custGeom>
              <a:avLst/>
              <a:gdLst>
                <a:gd name="T0" fmla="*/ 0 w 152"/>
                <a:gd name="T1" fmla="*/ 19 h 56"/>
                <a:gd name="T2" fmla="*/ 12 w 152"/>
                <a:gd name="T3" fmla="*/ 9 h 56"/>
                <a:gd name="T4" fmla="*/ 23 w 152"/>
                <a:gd name="T5" fmla="*/ 0 h 56"/>
                <a:gd name="T6" fmla="*/ 92 w 152"/>
                <a:gd name="T7" fmla="*/ 4 h 56"/>
                <a:gd name="T8" fmla="*/ 110 w 152"/>
                <a:gd name="T9" fmla="*/ 13 h 56"/>
                <a:gd name="T10" fmla="*/ 128 w 152"/>
                <a:gd name="T11" fmla="*/ 21 h 56"/>
                <a:gd name="T12" fmla="*/ 143 w 152"/>
                <a:gd name="T13" fmla="*/ 31 h 56"/>
                <a:gd name="T14" fmla="*/ 152 w 152"/>
                <a:gd name="T15" fmla="*/ 43 h 56"/>
                <a:gd name="T16" fmla="*/ 143 w 152"/>
                <a:gd name="T17" fmla="*/ 54 h 56"/>
                <a:gd name="T18" fmla="*/ 93 w 152"/>
                <a:gd name="T19" fmla="*/ 45 h 56"/>
                <a:gd name="T20" fmla="*/ 51 w 152"/>
                <a:gd name="T21" fmla="*/ 18 h 56"/>
                <a:gd name="T22" fmla="*/ 24 w 152"/>
                <a:gd name="T23" fmla="*/ 28 h 56"/>
                <a:gd name="T24" fmla="*/ 15 w 152"/>
                <a:gd name="T25" fmla="*/ 16 h 56"/>
                <a:gd name="T26" fmla="*/ 0 w 152"/>
                <a:gd name="T27" fmla="*/ 1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2" h="56">
                  <a:moveTo>
                    <a:pt x="0" y="19"/>
                  </a:moveTo>
                  <a:cubicBezTo>
                    <a:pt x="5" y="16"/>
                    <a:pt x="7" y="12"/>
                    <a:pt x="12" y="9"/>
                  </a:cubicBezTo>
                  <a:cubicBezTo>
                    <a:pt x="15" y="3"/>
                    <a:pt x="16" y="1"/>
                    <a:pt x="23" y="0"/>
                  </a:cubicBezTo>
                  <a:cubicBezTo>
                    <a:pt x="57" y="1"/>
                    <a:pt x="66" y="2"/>
                    <a:pt x="92" y="4"/>
                  </a:cubicBezTo>
                  <a:cubicBezTo>
                    <a:pt x="98" y="7"/>
                    <a:pt x="104" y="9"/>
                    <a:pt x="110" y="13"/>
                  </a:cubicBezTo>
                  <a:cubicBezTo>
                    <a:pt x="115" y="20"/>
                    <a:pt x="120" y="18"/>
                    <a:pt x="128" y="21"/>
                  </a:cubicBezTo>
                  <a:cubicBezTo>
                    <a:pt x="129" y="29"/>
                    <a:pt x="135" y="29"/>
                    <a:pt x="143" y="31"/>
                  </a:cubicBezTo>
                  <a:cubicBezTo>
                    <a:pt x="148" y="35"/>
                    <a:pt x="149" y="38"/>
                    <a:pt x="152" y="43"/>
                  </a:cubicBezTo>
                  <a:cubicBezTo>
                    <a:pt x="149" y="48"/>
                    <a:pt x="148" y="51"/>
                    <a:pt x="143" y="54"/>
                  </a:cubicBezTo>
                  <a:cubicBezTo>
                    <a:pt x="113" y="52"/>
                    <a:pt x="112" y="56"/>
                    <a:pt x="93" y="45"/>
                  </a:cubicBezTo>
                  <a:cubicBezTo>
                    <a:pt x="89" y="38"/>
                    <a:pt x="61" y="20"/>
                    <a:pt x="51" y="18"/>
                  </a:cubicBezTo>
                  <a:cubicBezTo>
                    <a:pt x="27" y="20"/>
                    <a:pt x="39" y="25"/>
                    <a:pt x="24" y="28"/>
                  </a:cubicBezTo>
                  <a:cubicBezTo>
                    <a:pt x="19" y="24"/>
                    <a:pt x="17" y="22"/>
                    <a:pt x="15" y="16"/>
                  </a:cubicBezTo>
                  <a:cubicBezTo>
                    <a:pt x="11" y="18"/>
                    <a:pt x="3" y="22"/>
                    <a:pt x="0" y="1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83" name="Freeform 841"/>
            <p:cNvSpPr>
              <a:spLocks/>
            </p:cNvSpPr>
            <p:nvPr>
              <p:custDataLst>
                <p:tags r:id="rId146"/>
              </p:custDataLst>
            </p:nvPr>
          </p:nvSpPr>
          <p:spPr bwMode="gray">
            <a:xfrm>
              <a:off x="1609084" y="2758484"/>
              <a:ext cx="117027" cy="96200"/>
            </a:xfrm>
            <a:custGeom>
              <a:avLst/>
              <a:gdLst>
                <a:gd name="T0" fmla="*/ 3 w 121"/>
                <a:gd name="T1" fmla="*/ 3 h 100"/>
                <a:gd name="T2" fmla="*/ 27 w 121"/>
                <a:gd name="T3" fmla="*/ 1 h 100"/>
                <a:gd name="T4" fmla="*/ 34 w 121"/>
                <a:gd name="T5" fmla="*/ 12 h 100"/>
                <a:gd name="T6" fmla="*/ 31 w 121"/>
                <a:gd name="T7" fmla="*/ 34 h 100"/>
                <a:gd name="T8" fmla="*/ 40 w 121"/>
                <a:gd name="T9" fmla="*/ 33 h 100"/>
                <a:gd name="T10" fmla="*/ 45 w 121"/>
                <a:gd name="T11" fmla="*/ 51 h 100"/>
                <a:gd name="T12" fmla="*/ 63 w 121"/>
                <a:gd name="T13" fmla="*/ 57 h 100"/>
                <a:gd name="T14" fmla="*/ 81 w 121"/>
                <a:gd name="T15" fmla="*/ 55 h 100"/>
                <a:gd name="T16" fmla="*/ 76 w 121"/>
                <a:gd name="T17" fmla="*/ 54 h 100"/>
                <a:gd name="T18" fmla="*/ 93 w 121"/>
                <a:gd name="T19" fmla="*/ 76 h 100"/>
                <a:gd name="T20" fmla="*/ 115 w 121"/>
                <a:gd name="T21" fmla="*/ 87 h 100"/>
                <a:gd name="T22" fmla="*/ 109 w 121"/>
                <a:gd name="T23" fmla="*/ 99 h 100"/>
                <a:gd name="T24" fmla="*/ 85 w 121"/>
                <a:gd name="T25" fmla="*/ 76 h 100"/>
                <a:gd name="T26" fmla="*/ 73 w 121"/>
                <a:gd name="T27" fmla="*/ 81 h 100"/>
                <a:gd name="T28" fmla="*/ 42 w 121"/>
                <a:gd name="T29" fmla="*/ 61 h 100"/>
                <a:gd name="T30" fmla="*/ 31 w 121"/>
                <a:gd name="T31" fmla="*/ 43 h 100"/>
                <a:gd name="T32" fmla="*/ 21 w 121"/>
                <a:gd name="T33" fmla="*/ 66 h 100"/>
                <a:gd name="T34" fmla="*/ 9 w 121"/>
                <a:gd name="T35" fmla="*/ 54 h 100"/>
                <a:gd name="T36" fmla="*/ 16 w 121"/>
                <a:gd name="T37" fmla="*/ 28 h 100"/>
                <a:gd name="T38" fmla="*/ 0 w 121"/>
                <a:gd name="T39" fmla="*/ 13 h 100"/>
                <a:gd name="T40" fmla="*/ 3 w 121"/>
                <a:gd name="T41" fmla="*/ 3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1" h="100">
                  <a:moveTo>
                    <a:pt x="3" y="3"/>
                  </a:moveTo>
                  <a:cubicBezTo>
                    <a:pt x="12" y="2"/>
                    <a:pt x="18" y="0"/>
                    <a:pt x="27" y="1"/>
                  </a:cubicBezTo>
                  <a:cubicBezTo>
                    <a:pt x="32" y="7"/>
                    <a:pt x="37" y="4"/>
                    <a:pt x="34" y="12"/>
                  </a:cubicBezTo>
                  <a:cubicBezTo>
                    <a:pt x="32" y="23"/>
                    <a:pt x="30" y="20"/>
                    <a:pt x="31" y="34"/>
                  </a:cubicBezTo>
                  <a:cubicBezTo>
                    <a:pt x="34" y="34"/>
                    <a:pt x="37" y="33"/>
                    <a:pt x="40" y="33"/>
                  </a:cubicBezTo>
                  <a:cubicBezTo>
                    <a:pt x="54" y="33"/>
                    <a:pt x="58" y="45"/>
                    <a:pt x="45" y="51"/>
                  </a:cubicBezTo>
                  <a:cubicBezTo>
                    <a:pt x="51" y="54"/>
                    <a:pt x="57" y="55"/>
                    <a:pt x="63" y="57"/>
                  </a:cubicBezTo>
                  <a:cubicBezTo>
                    <a:pt x="69" y="56"/>
                    <a:pt x="75" y="56"/>
                    <a:pt x="81" y="55"/>
                  </a:cubicBezTo>
                  <a:cubicBezTo>
                    <a:pt x="83" y="55"/>
                    <a:pt x="77" y="52"/>
                    <a:pt x="76" y="54"/>
                  </a:cubicBezTo>
                  <a:cubicBezTo>
                    <a:pt x="71" y="63"/>
                    <a:pt x="84" y="75"/>
                    <a:pt x="93" y="76"/>
                  </a:cubicBezTo>
                  <a:cubicBezTo>
                    <a:pt x="97" y="83"/>
                    <a:pt x="107" y="83"/>
                    <a:pt x="115" y="87"/>
                  </a:cubicBezTo>
                  <a:cubicBezTo>
                    <a:pt x="121" y="95"/>
                    <a:pt x="120" y="100"/>
                    <a:pt x="109" y="99"/>
                  </a:cubicBezTo>
                  <a:cubicBezTo>
                    <a:pt x="99" y="94"/>
                    <a:pt x="95" y="82"/>
                    <a:pt x="85" y="76"/>
                  </a:cubicBezTo>
                  <a:cubicBezTo>
                    <a:pt x="76" y="79"/>
                    <a:pt x="82" y="86"/>
                    <a:pt x="73" y="81"/>
                  </a:cubicBezTo>
                  <a:cubicBezTo>
                    <a:pt x="65" y="68"/>
                    <a:pt x="56" y="63"/>
                    <a:pt x="42" y="61"/>
                  </a:cubicBezTo>
                  <a:cubicBezTo>
                    <a:pt x="38" y="55"/>
                    <a:pt x="34" y="50"/>
                    <a:pt x="31" y="43"/>
                  </a:cubicBezTo>
                  <a:cubicBezTo>
                    <a:pt x="21" y="46"/>
                    <a:pt x="23" y="55"/>
                    <a:pt x="21" y="66"/>
                  </a:cubicBezTo>
                  <a:cubicBezTo>
                    <a:pt x="18" y="61"/>
                    <a:pt x="9" y="54"/>
                    <a:pt x="9" y="54"/>
                  </a:cubicBezTo>
                  <a:cubicBezTo>
                    <a:pt x="5" y="44"/>
                    <a:pt x="8" y="34"/>
                    <a:pt x="16" y="28"/>
                  </a:cubicBezTo>
                  <a:cubicBezTo>
                    <a:pt x="15" y="14"/>
                    <a:pt x="13" y="16"/>
                    <a:pt x="0" y="13"/>
                  </a:cubicBezTo>
                  <a:cubicBezTo>
                    <a:pt x="1" y="5"/>
                    <a:pt x="0" y="8"/>
                    <a:pt x="3" y="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84" name="Freeform 842"/>
            <p:cNvSpPr>
              <a:spLocks/>
            </p:cNvSpPr>
            <p:nvPr>
              <p:custDataLst>
                <p:tags r:id="rId147"/>
              </p:custDataLst>
            </p:nvPr>
          </p:nvSpPr>
          <p:spPr bwMode="gray">
            <a:xfrm>
              <a:off x="1622968" y="2892371"/>
              <a:ext cx="41654" cy="10910"/>
            </a:xfrm>
            <a:custGeom>
              <a:avLst/>
              <a:gdLst>
                <a:gd name="T0" fmla="*/ 2 w 43"/>
                <a:gd name="T1" fmla="*/ 5 h 11"/>
                <a:gd name="T2" fmla="*/ 22 w 43"/>
                <a:gd name="T3" fmla="*/ 2 h 11"/>
                <a:gd name="T4" fmla="*/ 5 w 43"/>
                <a:gd name="T5" fmla="*/ 6 h 11"/>
                <a:gd name="T6" fmla="*/ 2 w 43"/>
                <a:gd name="T7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11">
                  <a:moveTo>
                    <a:pt x="2" y="5"/>
                  </a:moveTo>
                  <a:cubicBezTo>
                    <a:pt x="11" y="0"/>
                    <a:pt x="10" y="0"/>
                    <a:pt x="22" y="2"/>
                  </a:cubicBezTo>
                  <a:cubicBezTo>
                    <a:pt x="34" y="11"/>
                    <a:pt x="43" y="9"/>
                    <a:pt x="5" y="6"/>
                  </a:cubicBezTo>
                  <a:cubicBezTo>
                    <a:pt x="0" y="3"/>
                    <a:pt x="0" y="2"/>
                    <a:pt x="2" y="5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85" name="Freeform 843"/>
            <p:cNvSpPr>
              <a:spLocks/>
            </p:cNvSpPr>
            <p:nvPr>
              <p:custDataLst>
                <p:tags r:id="rId148"/>
              </p:custDataLst>
            </p:nvPr>
          </p:nvSpPr>
          <p:spPr bwMode="gray">
            <a:xfrm>
              <a:off x="1713218" y="2866585"/>
              <a:ext cx="61489" cy="39670"/>
            </a:xfrm>
            <a:custGeom>
              <a:avLst/>
              <a:gdLst>
                <a:gd name="T0" fmla="*/ 2 w 64"/>
                <a:gd name="T1" fmla="*/ 3 h 41"/>
                <a:gd name="T2" fmla="*/ 1 w 64"/>
                <a:gd name="T3" fmla="*/ 18 h 41"/>
                <a:gd name="T4" fmla="*/ 11 w 64"/>
                <a:gd name="T5" fmla="*/ 38 h 41"/>
                <a:gd name="T6" fmla="*/ 56 w 64"/>
                <a:gd name="T7" fmla="*/ 36 h 41"/>
                <a:gd name="T8" fmla="*/ 59 w 64"/>
                <a:gd name="T9" fmla="*/ 32 h 41"/>
                <a:gd name="T10" fmla="*/ 32 w 64"/>
                <a:gd name="T11" fmla="*/ 5 h 41"/>
                <a:gd name="T12" fmla="*/ 8 w 64"/>
                <a:gd name="T13" fmla="*/ 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41">
                  <a:moveTo>
                    <a:pt x="2" y="3"/>
                  </a:moveTo>
                  <a:cubicBezTo>
                    <a:pt x="2" y="5"/>
                    <a:pt x="0" y="12"/>
                    <a:pt x="1" y="18"/>
                  </a:cubicBezTo>
                  <a:cubicBezTo>
                    <a:pt x="2" y="24"/>
                    <a:pt x="2" y="35"/>
                    <a:pt x="11" y="38"/>
                  </a:cubicBezTo>
                  <a:cubicBezTo>
                    <a:pt x="20" y="41"/>
                    <a:pt x="45" y="36"/>
                    <a:pt x="56" y="36"/>
                  </a:cubicBezTo>
                  <a:cubicBezTo>
                    <a:pt x="64" y="35"/>
                    <a:pt x="63" y="37"/>
                    <a:pt x="59" y="32"/>
                  </a:cubicBezTo>
                  <a:cubicBezTo>
                    <a:pt x="47" y="29"/>
                    <a:pt x="40" y="10"/>
                    <a:pt x="32" y="5"/>
                  </a:cubicBezTo>
                  <a:cubicBezTo>
                    <a:pt x="24" y="0"/>
                    <a:pt x="13" y="3"/>
                    <a:pt x="8" y="2"/>
                  </a:cubicBez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86" name="Freeform 844"/>
            <p:cNvSpPr>
              <a:spLocks/>
            </p:cNvSpPr>
            <p:nvPr>
              <p:custDataLst>
                <p:tags r:id="rId149"/>
              </p:custDataLst>
            </p:nvPr>
          </p:nvSpPr>
          <p:spPr bwMode="gray">
            <a:xfrm>
              <a:off x="1654704" y="3419982"/>
              <a:ext cx="166614" cy="720012"/>
            </a:xfrm>
            <a:custGeom>
              <a:avLst/>
              <a:gdLst>
                <a:gd name="T0" fmla="*/ 80 w 172"/>
                <a:gd name="T1" fmla="*/ 87 h 745"/>
                <a:gd name="T2" fmla="*/ 71 w 172"/>
                <a:gd name="T3" fmla="*/ 169 h 745"/>
                <a:gd name="T4" fmla="*/ 65 w 172"/>
                <a:gd name="T5" fmla="*/ 184 h 745"/>
                <a:gd name="T6" fmla="*/ 65 w 172"/>
                <a:gd name="T7" fmla="*/ 217 h 745"/>
                <a:gd name="T8" fmla="*/ 53 w 172"/>
                <a:gd name="T9" fmla="*/ 291 h 745"/>
                <a:gd name="T10" fmla="*/ 34 w 172"/>
                <a:gd name="T11" fmla="*/ 330 h 745"/>
                <a:gd name="T12" fmla="*/ 40 w 172"/>
                <a:gd name="T13" fmla="*/ 370 h 745"/>
                <a:gd name="T14" fmla="*/ 28 w 172"/>
                <a:gd name="T15" fmla="*/ 408 h 745"/>
                <a:gd name="T16" fmla="*/ 8 w 172"/>
                <a:gd name="T17" fmla="*/ 523 h 745"/>
                <a:gd name="T18" fmla="*/ 11 w 172"/>
                <a:gd name="T19" fmla="*/ 616 h 745"/>
                <a:gd name="T20" fmla="*/ 28 w 172"/>
                <a:gd name="T21" fmla="*/ 679 h 745"/>
                <a:gd name="T22" fmla="*/ 52 w 172"/>
                <a:gd name="T23" fmla="*/ 702 h 745"/>
                <a:gd name="T24" fmla="*/ 89 w 172"/>
                <a:gd name="T25" fmla="*/ 721 h 745"/>
                <a:gd name="T26" fmla="*/ 121 w 172"/>
                <a:gd name="T27" fmla="*/ 745 h 745"/>
                <a:gd name="T28" fmla="*/ 151 w 172"/>
                <a:gd name="T29" fmla="*/ 715 h 745"/>
                <a:gd name="T30" fmla="*/ 172 w 172"/>
                <a:gd name="T31" fmla="*/ 711 h 745"/>
                <a:gd name="T32" fmla="*/ 124 w 172"/>
                <a:gd name="T33" fmla="*/ 703 h 745"/>
                <a:gd name="T34" fmla="*/ 98 w 172"/>
                <a:gd name="T35" fmla="*/ 693 h 745"/>
                <a:gd name="T36" fmla="*/ 71 w 172"/>
                <a:gd name="T37" fmla="*/ 651 h 745"/>
                <a:gd name="T38" fmla="*/ 56 w 172"/>
                <a:gd name="T39" fmla="*/ 630 h 745"/>
                <a:gd name="T40" fmla="*/ 43 w 172"/>
                <a:gd name="T41" fmla="*/ 600 h 745"/>
                <a:gd name="T42" fmla="*/ 52 w 172"/>
                <a:gd name="T43" fmla="*/ 570 h 745"/>
                <a:gd name="T44" fmla="*/ 58 w 172"/>
                <a:gd name="T45" fmla="*/ 541 h 745"/>
                <a:gd name="T46" fmla="*/ 70 w 172"/>
                <a:gd name="T47" fmla="*/ 484 h 745"/>
                <a:gd name="T48" fmla="*/ 67 w 172"/>
                <a:gd name="T49" fmla="*/ 456 h 745"/>
                <a:gd name="T50" fmla="*/ 56 w 172"/>
                <a:gd name="T51" fmla="*/ 426 h 745"/>
                <a:gd name="T52" fmla="*/ 62 w 172"/>
                <a:gd name="T53" fmla="*/ 394 h 745"/>
                <a:gd name="T54" fmla="*/ 73 w 172"/>
                <a:gd name="T55" fmla="*/ 342 h 745"/>
                <a:gd name="T56" fmla="*/ 88 w 172"/>
                <a:gd name="T57" fmla="*/ 300 h 745"/>
                <a:gd name="T58" fmla="*/ 89 w 172"/>
                <a:gd name="T59" fmla="*/ 256 h 745"/>
                <a:gd name="T60" fmla="*/ 91 w 172"/>
                <a:gd name="T61" fmla="*/ 186 h 745"/>
                <a:gd name="T62" fmla="*/ 115 w 172"/>
                <a:gd name="T63" fmla="*/ 153 h 745"/>
                <a:gd name="T64" fmla="*/ 116 w 172"/>
                <a:gd name="T65" fmla="*/ 117 h 745"/>
                <a:gd name="T66" fmla="*/ 128 w 172"/>
                <a:gd name="T67" fmla="*/ 96 h 745"/>
                <a:gd name="T68" fmla="*/ 128 w 172"/>
                <a:gd name="T69" fmla="*/ 72 h 745"/>
                <a:gd name="T70" fmla="*/ 103 w 172"/>
                <a:gd name="T71" fmla="*/ 34 h 745"/>
                <a:gd name="T72" fmla="*/ 97 w 172"/>
                <a:gd name="T73" fmla="*/ 0 h 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2" h="745">
                  <a:moveTo>
                    <a:pt x="85" y="10"/>
                  </a:moveTo>
                  <a:cubicBezTo>
                    <a:pt x="84" y="40"/>
                    <a:pt x="98" y="63"/>
                    <a:pt x="80" y="87"/>
                  </a:cubicBezTo>
                  <a:cubicBezTo>
                    <a:pt x="81" y="103"/>
                    <a:pt x="83" y="134"/>
                    <a:pt x="77" y="150"/>
                  </a:cubicBezTo>
                  <a:cubicBezTo>
                    <a:pt x="76" y="156"/>
                    <a:pt x="74" y="163"/>
                    <a:pt x="71" y="169"/>
                  </a:cubicBezTo>
                  <a:cubicBezTo>
                    <a:pt x="71" y="174"/>
                    <a:pt x="73" y="183"/>
                    <a:pt x="71" y="187"/>
                  </a:cubicBezTo>
                  <a:cubicBezTo>
                    <a:pt x="70" y="189"/>
                    <a:pt x="65" y="182"/>
                    <a:pt x="65" y="184"/>
                  </a:cubicBezTo>
                  <a:cubicBezTo>
                    <a:pt x="63" y="193"/>
                    <a:pt x="65" y="202"/>
                    <a:pt x="64" y="211"/>
                  </a:cubicBezTo>
                  <a:cubicBezTo>
                    <a:pt x="64" y="213"/>
                    <a:pt x="66" y="215"/>
                    <a:pt x="65" y="217"/>
                  </a:cubicBezTo>
                  <a:cubicBezTo>
                    <a:pt x="67" y="229"/>
                    <a:pt x="77" y="253"/>
                    <a:pt x="61" y="261"/>
                  </a:cubicBezTo>
                  <a:cubicBezTo>
                    <a:pt x="56" y="270"/>
                    <a:pt x="57" y="281"/>
                    <a:pt x="53" y="291"/>
                  </a:cubicBezTo>
                  <a:cubicBezTo>
                    <a:pt x="52" y="300"/>
                    <a:pt x="48" y="315"/>
                    <a:pt x="41" y="319"/>
                  </a:cubicBezTo>
                  <a:cubicBezTo>
                    <a:pt x="40" y="325"/>
                    <a:pt x="40" y="327"/>
                    <a:pt x="34" y="330"/>
                  </a:cubicBezTo>
                  <a:cubicBezTo>
                    <a:pt x="31" y="335"/>
                    <a:pt x="40" y="346"/>
                    <a:pt x="37" y="351"/>
                  </a:cubicBezTo>
                  <a:cubicBezTo>
                    <a:pt x="35" y="362"/>
                    <a:pt x="35" y="361"/>
                    <a:pt x="40" y="370"/>
                  </a:cubicBezTo>
                  <a:cubicBezTo>
                    <a:pt x="40" y="375"/>
                    <a:pt x="45" y="375"/>
                    <a:pt x="43" y="381"/>
                  </a:cubicBezTo>
                  <a:cubicBezTo>
                    <a:pt x="41" y="387"/>
                    <a:pt x="33" y="392"/>
                    <a:pt x="28" y="408"/>
                  </a:cubicBezTo>
                  <a:cubicBezTo>
                    <a:pt x="14" y="426"/>
                    <a:pt x="29" y="458"/>
                    <a:pt x="14" y="478"/>
                  </a:cubicBezTo>
                  <a:cubicBezTo>
                    <a:pt x="11" y="493"/>
                    <a:pt x="11" y="508"/>
                    <a:pt x="8" y="523"/>
                  </a:cubicBezTo>
                  <a:cubicBezTo>
                    <a:pt x="7" y="537"/>
                    <a:pt x="8" y="552"/>
                    <a:pt x="2" y="565"/>
                  </a:cubicBezTo>
                  <a:cubicBezTo>
                    <a:pt x="3" y="584"/>
                    <a:pt x="0" y="601"/>
                    <a:pt x="11" y="616"/>
                  </a:cubicBezTo>
                  <a:cubicBezTo>
                    <a:pt x="12" y="625"/>
                    <a:pt x="8" y="646"/>
                    <a:pt x="19" y="651"/>
                  </a:cubicBezTo>
                  <a:cubicBezTo>
                    <a:pt x="26" y="661"/>
                    <a:pt x="17" y="672"/>
                    <a:pt x="28" y="679"/>
                  </a:cubicBezTo>
                  <a:cubicBezTo>
                    <a:pt x="31" y="684"/>
                    <a:pt x="34" y="688"/>
                    <a:pt x="37" y="693"/>
                  </a:cubicBezTo>
                  <a:cubicBezTo>
                    <a:pt x="40" y="698"/>
                    <a:pt x="46" y="698"/>
                    <a:pt x="52" y="702"/>
                  </a:cubicBezTo>
                  <a:cubicBezTo>
                    <a:pt x="58" y="706"/>
                    <a:pt x="70" y="712"/>
                    <a:pt x="76" y="715"/>
                  </a:cubicBezTo>
                  <a:cubicBezTo>
                    <a:pt x="81" y="717"/>
                    <a:pt x="85" y="718"/>
                    <a:pt x="89" y="721"/>
                  </a:cubicBezTo>
                  <a:cubicBezTo>
                    <a:pt x="92" y="727"/>
                    <a:pt x="98" y="732"/>
                    <a:pt x="104" y="735"/>
                  </a:cubicBezTo>
                  <a:cubicBezTo>
                    <a:pt x="107" y="742"/>
                    <a:pt x="114" y="744"/>
                    <a:pt x="121" y="745"/>
                  </a:cubicBezTo>
                  <a:cubicBezTo>
                    <a:pt x="130" y="744"/>
                    <a:pt x="135" y="745"/>
                    <a:pt x="137" y="736"/>
                  </a:cubicBezTo>
                  <a:cubicBezTo>
                    <a:pt x="124" y="719"/>
                    <a:pt x="141" y="716"/>
                    <a:pt x="151" y="715"/>
                  </a:cubicBezTo>
                  <a:cubicBezTo>
                    <a:pt x="156" y="711"/>
                    <a:pt x="163" y="713"/>
                    <a:pt x="166" y="712"/>
                  </a:cubicBezTo>
                  <a:cubicBezTo>
                    <a:pt x="168" y="711"/>
                    <a:pt x="170" y="711"/>
                    <a:pt x="172" y="711"/>
                  </a:cubicBezTo>
                  <a:cubicBezTo>
                    <a:pt x="168" y="710"/>
                    <a:pt x="150" y="706"/>
                    <a:pt x="142" y="705"/>
                  </a:cubicBezTo>
                  <a:cubicBezTo>
                    <a:pt x="134" y="704"/>
                    <a:pt x="130" y="703"/>
                    <a:pt x="124" y="703"/>
                  </a:cubicBezTo>
                  <a:cubicBezTo>
                    <a:pt x="119" y="702"/>
                    <a:pt x="111" y="705"/>
                    <a:pt x="107" y="703"/>
                  </a:cubicBezTo>
                  <a:cubicBezTo>
                    <a:pt x="103" y="701"/>
                    <a:pt x="100" y="697"/>
                    <a:pt x="98" y="693"/>
                  </a:cubicBezTo>
                  <a:cubicBezTo>
                    <a:pt x="92" y="689"/>
                    <a:pt x="96" y="688"/>
                    <a:pt x="92" y="681"/>
                  </a:cubicBezTo>
                  <a:cubicBezTo>
                    <a:pt x="88" y="674"/>
                    <a:pt x="77" y="658"/>
                    <a:pt x="71" y="651"/>
                  </a:cubicBezTo>
                  <a:cubicBezTo>
                    <a:pt x="57" y="648"/>
                    <a:pt x="61" y="650"/>
                    <a:pt x="56" y="639"/>
                  </a:cubicBezTo>
                  <a:cubicBezTo>
                    <a:pt x="53" y="634"/>
                    <a:pt x="55" y="634"/>
                    <a:pt x="56" y="630"/>
                  </a:cubicBezTo>
                  <a:cubicBezTo>
                    <a:pt x="57" y="626"/>
                    <a:pt x="63" y="617"/>
                    <a:pt x="61" y="612"/>
                  </a:cubicBezTo>
                  <a:cubicBezTo>
                    <a:pt x="57" y="605"/>
                    <a:pt x="51" y="601"/>
                    <a:pt x="43" y="600"/>
                  </a:cubicBezTo>
                  <a:cubicBezTo>
                    <a:pt x="40" y="596"/>
                    <a:pt x="40" y="593"/>
                    <a:pt x="41" y="588"/>
                  </a:cubicBezTo>
                  <a:cubicBezTo>
                    <a:pt x="42" y="583"/>
                    <a:pt x="50" y="575"/>
                    <a:pt x="52" y="570"/>
                  </a:cubicBezTo>
                  <a:cubicBezTo>
                    <a:pt x="54" y="562"/>
                    <a:pt x="51" y="560"/>
                    <a:pt x="52" y="555"/>
                  </a:cubicBezTo>
                  <a:cubicBezTo>
                    <a:pt x="53" y="550"/>
                    <a:pt x="55" y="549"/>
                    <a:pt x="58" y="541"/>
                  </a:cubicBezTo>
                  <a:cubicBezTo>
                    <a:pt x="60" y="532"/>
                    <a:pt x="66" y="513"/>
                    <a:pt x="68" y="504"/>
                  </a:cubicBezTo>
                  <a:cubicBezTo>
                    <a:pt x="70" y="495"/>
                    <a:pt x="70" y="490"/>
                    <a:pt x="70" y="484"/>
                  </a:cubicBezTo>
                  <a:cubicBezTo>
                    <a:pt x="71" y="478"/>
                    <a:pt x="70" y="472"/>
                    <a:pt x="71" y="466"/>
                  </a:cubicBezTo>
                  <a:cubicBezTo>
                    <a:pt x="63" y="456"/>
                    <a:pt x="71" y="463"/>
                    <a:pt x="67" y="456"/>
                  </a:cubicBezTo>
                  <a:cubicBezTo>
                    <a:pt x="66" y="452"/>
                    <a:pt x="60" y="447"/>
                    <a:pt x="58" y="442"/>
                  </a:cubicBezTo>
                  <a:cubicBezTo>
                    <a:pt x="56" y="437"/>
                    <a:pt x="56" y="431"/>
                    <a:pt x="56" y="426"/>
                  </a:cubicBezTo>
                  <a:cubicBezTo>
                    <a:pt x="55" y="420"/>
                    <a:pt x="55" y="416"/>
                    <a:pt x="58" y="411"/>
                  </a:cubicBezTo>
                  <a:cubicBezTo>
                    <a:pt x="58" y="406"/>
                    <a:pt x="60" y="399"/>
                    <a:pt x="62" y="394"/>
                  </a:cubicBezTo>
                  <a:cubicBezTo>
                    <a:pt x="64" y="389"/>
                    <a:pt x="66" y="387"/>
                    <a:pt x="68" y="378"/>
                  </a:cubicBezTo>
                  <a:cubicBezTo>
                    <a:pt x="69" y="365"/>
                    <a:pt x="71" y="354"/>
                    <a:pt x="73" y="342"/>
                  </a:cubicBezTo>
                  <a:cubicBezTo>
                    <a:pt x="75" y="332"/>
                    <a:pt x="73" y="325"/>
                    <a:pt x="76" y="318"/>
                  </a:cubicBezTo>
                  <a:cubicBezTo>
                    <a:pt x="78" y="311"/>
                    <a:pt x="85" y="307"/>
                    <a:pt x="88" y="300"/>
                  </a:cubicBezTo>
                  <a:cubicBezTo>
                    <a:pt x="90" y="291"/>
                    <a:pt x="95" y="281"/>
                    <a:pt x="95" y="274"/>
                  </a:cubicBezTo>
                  <a:cubicBezTo>
                    <a:pt x="95" y="267"/>
                    <a:pt x="90" y="265"/>
                    <a:pt x="89" y="256"/>
                  </a:cubicBezTo>
                  <a:cubicBezTo>
                    <a:pt x="88" y="247"/>
                    <a:pt x="86" y="234"/>
                    <a:pt x="86" y="222"/>
                  </a:cubicBezTo>
                  <a:cubicBezTo>
                    <a:pt x="87" y="211"/>
                    <a:pt x="86" y="197"/>
                    <a:pt x="91" y="186"/>
                  </a:cubicBezTo>
                  <a:cubicBezTo>
                    <a:pt x="93" y="177"/>
                    <a:pt x="99" y="170"/>
                    <a:pt x="106" y="166"/>
                  </a:cubicBezTo>
                  <a:cubicBezTo>
                    <a:pt x="109" y="162"/>
                    <a:pt x="112" y="157"/>
                    <a:pt x="115" y="153"/>
                  </a:cubicBezTo>
                  <a:cubicBezTo>
                    <a:pt x="116" y="148"/>
                    <a:pt x="113" y="141"/>
                    <a:pt x="113" y="135"/>
                  </a:cubicBezTo>
                  <a:cubicBezTo>
                    <a:pt x="113" y="129"/>
                    <a:pt x="114" y="123"/>
                    <a:pt x="116" y="117"/>
                  </a:cubicBezTo>
                  <a:cubicBezTo>
                    <a:pt x="118" y="111"/>
                    <a:pt x="122" y="103"/>
                    <a:pt x="124" y="100"/>
                  </a:cubicBezTo>
                  <a:cubicBezTo>
                    <a:pt x="125" y="99"/>
                    <a:pt x="127" y="98"/>
                    <a:pt x="128" y="96"/>
                  </a:cubicBezTo>
                  <a:cubicBezTo>
                    <a:pt x="133" y="79"/>
                    <a:pt x="148" y="64"/>
                    <a:pt x="136" y="73"/>
                  </a:cubicBezTo>
                  <a:cubicBezTo>
                    <a:pt x="130" y="69"/>
                    <a:pt x="131" y="78"/>
                    <a:pt x="128" y="72"/>
                  </a:cubicBezTo>
                  <a:cubicBezTo>
                    <a:pt x="127" y="66"/>
                    <a:pt x="114" y="67"/>
                    <a:pt x="110" y="61"/>
                  </a:cubicBezTo>
                  <a:cubicBezTo>
                    <a:pt x="106" y="55"/>
                    <a:pt x="104" y="42"/>
                    <a:pt x="103" y="34"/>
                  </a:cubicBezTo>
                  <a:cubicBezTo>
                    <a:pt x="102" y="26"/>
                    <a:pt x="107" y="21"/>
                    <a:pt x="106" y="15"/>
                  </a:cubicBezTo>
                  <a:cubicBezTo>
                    <a:pt x="103" y="8"/>
                    <a:pt x="105" y="1"/>
                    <a:pt x="97" y="0"/>
                  </a:cubicBezTo>
                  <a:cubicBezTo>
                    <a:pt x="90" y="3"/>
                    <a:pt x="81" y="8"/>
                    <a:pt x="85" y="1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87" name="Freeform 847"/>
            <p:cNvSpPr>
              <a:spLocks/>
            </p:cNvSpPr>
            <p:nvPr>
              <p:custDataLst>
                <p:tags r:id="rId150"/>
              </p:custDataLst>
            </p:nvPr>
          </p:nvSpPr>
          <p:spPr bwMode="gray">
            <a:xfrm>
              <a:off x="1694375" y="795808"/>
              <a:ext cx="880675" cy="1290269"/>
            </a:xfrm>
            <a:custGeom>
              <a:avLst/>
              <a:gdLst>
                <a:gd name="T0" fmla="*/ 117 w 909"/>
                <a:gd name="T1" fmla="*/ 387 h 1335"/>
                <a:gd name="T2" fmla="*/ 111 w 909"/>
                <a:gd name="T3" fmla="*/ 327 h 1335"/>
                <a:gd name="T4" fmla="*/ 177 w 909"/>
                <a:gd name="T5" fmla="*/ 281 h 1335"/>
                <a:gd name="T6" fmla="*/ 211 w 909"/>
                <a:gd name="T7" fmla="*/ 201 h 1335"/>
                <a:gd name="T8" fmla="*/ 293 w 909"/>
                <a:gd name="T9" fmla="*/ 243 h 1335"/>
                <a:gd name="T10" fmla="*/ 339 w 909"/>
                <a:gd name="T11" fmla="*/ 181 h 1335"/>
                <a:gd name="T12" fmla="*/ 377 w 909"/>
                <a:gd name="T13" fmla="*/ 167 h 1335"/>
                <a:gd name="T14" fmla="*/ 385 w 909"/>
                <a:gd name="T15" fmla="*/ 147 h 1335"/>
                <a:gd name="T16" fmla="*/ 421 w 909"/>
                <a:gd name="T17" fmla="*/ 143 h 1335"/>
                <a:gd name="T18" fmla="*/ 471 w 909"/>
                <a:gd name="T19" fmla="*/ 123 h 1335"/>
                <a:gd name="T20" fmla="*/ 483 w 909"/>
                <a:gd name="T21" fmla="*/ 109 h 1335"/>
                <a:gd name="T22" fmla="*/ 411 w 909"/>
                <a:gd name="T23" fmla="*/ 73 h 1335"/>
                <a:gd name="T24" fmla="*/ 459 w 909"/>
                <a:gd name="T25" fmla="*/ 49 h 1335"/>
                <a:gd name="T26" fmla="*/ 543 w 909"/>
                <a:gd name="T27" fmla="*/ 15 h 1335"/>
                <a:gd name="T28" fmla="*/ 697 w 909"/>
                <a:gd name="T29" fmla="*/ 41 h 1335"/>
                <a:gd name="T30" fmla="*/ 549 w 909"/>
                <a:gd name="T31" fmla="*/ 95 h 1335"/>
                <a:gd name="T32" fmla="*/ 673 w 909"/>
                <a:gd name="T33" fmla="*/ 73 h 1335"/>
                <a:gd name="T34" fmla="*/ 717 w 909"/>
                <a:gd name="T35" fmla="*/ 97 h 1335"/>
                <a:gd name="T36" fmla="*/ 759 w 909"/>
                <a:gd name="T37" fmla="*/ 147 h 1335"/>
                <a:gd name="T38" fmla="*/ 707 w 909"/>
                <a:gd name="T39" fmla="*/ 179 h 1335"/>
                <a:gd name="T40" fmla="*/ 611 w 909"/>
                <a:gd name="T41" fmla="*/ 191 h 1335"/>
                <a:gd name="T42" fmla="*/ 713 w 909"/>
                <a:gd name="T43" fmla="*/ 197 h 1335"/>
                <a:gd name="T44" fmla="*/ 729 w 909"/>
                <a:gd name="T45" fmla="*/ 231 h 1335"/>
                <a:gd name="T46" fmla="*/ 743 w 909"/>
                <a:gd name="T47" fmla="*/ 285 h 1335"/>
                <a:gd name="T48" fmla="*/ 761 w 909"/>
                <a:gd name="T49" fmla="*/ 281 h 1335"/>
                <a:gd name="T50" fmla="*/ 805 w 909"/>
                <a:gd name="T51" fmla="*/ 247 h 1335"/>
                <a:gd name="T52" fmla="*/ 823 w 909"/>
                <a:gd name="T53" fmla="*/ 235 h 1335"/>
                <a:gd name="T54" fmla="*/ 805 w 909"/>
                <a:gd name="T55" fmla="*/ 217 h 1335"/>
                <a:gd name="T56" fmla="*/ 901 w 909"/>
                <a:gd name="T57" fmla="*/ 223 h 1335"/>
                <a:gd name="T58" fmla="*/ 789 w 909"/>
                <a:gd name="T59" fmla="*/ 331 h 1335"/>
                <a:gd name="T60" fmla="*/ 839 w 909"/>
                <a:gd name="T61" fmla="*/ 363 h 1335"/>
                <a:gd name="T62" fmla="*/ 819 w 909"/>
                <a:gd name="T63" fmla="*/ 407 h 1335"/>
                <a:gd name="T64" fmla="*/ 799 w 909"/>
                <a:gd name="T65" fmla="*/ 487 h 1335"/>
                <a:gd name="T66" fmla="*/ 761 w 909"/>
                <a:gd name="T67" fmla="*/ 617 h 1335"/>
                <a:gd name="T68" fmla="*/ 797 w 909"/>
                <a:gd name="T69" fmla="*/ 685 h 1335"/>
                <a:gd name="T70" fmla="*/ 795 w 909"/>
                <a:gd name="T71" fmla="*/ 759 h 1335"/>
                <a:gd name="T72" fmla="*/ 761 w 909"/>
                <a:gd name="T73" fmla="*/ 839 h 1335"/>
                <a:gd name="T74" fmla="*/ 761 w 909"/>
                <a:gd name="T75" fmla="*/ 925 h 1335"/>
                <a:gd name="T76" fmla="*/ 705 w 909"/>
                <a:gd name="T77" fmla="*/ 923 h 1335"/>
                <a:gd name="T78" fmla="*/ 695 w 909"/>
                <a:gd name="T79" fmla="*/ 1033 h 1335"/>
                <a:gd name="T80" fmla="*/ 551 w 909"/>
                <a:gd name="T81" fmla="*/ 1145 h 1335"/>
                <a:gd name="T82" fmla="*/ 463 w 909"/>
                <a:gd name="T83" fmla="*/ 1261 h 1335"/>
                <a:gd name="T84" fmla="*/ 373 w 909"/>
                <a:gd name="T85" fmla="*/ 1309 h 1335"/>
                <a:gd name="T86" fmla="*/ 319 w 909"/>
                <a:gd name="T87" fmla="*/ 1227 h 1335"/>
                <a:gd name="T88" fmla="*/ 291 w 909"/>
                <a:gd name="T89" fmla="*/ 1045 h 1335"/>
                <a:gd name="T90" fmla="*/ 309 w 909"/>
                <a:gd name="T91" fmla="*/ 931 h 1335"/>
                <a:gd name="T92" fmla="*/ 239 w 909"/>
                <a:gd name="T93" fmla="*/ 845 h 1335"/>
                <a:gd name="T94" fmla="*/ 211 w 909"/>
                <a:gd name="T95" fmla="*/ 691 h 1335"/>
                <a:gd name="T96" fmla="*/ 71 w 909"/>
                <a:gd name="T97" fmla="*/ 671 h 1335"/>
                <a:gd name="T98" fmla="*/ 31 w 909"/>
                <a:gd name="T99" fmla="*/ 607 h 1335"/>
                <a:gd name="T100" fmla="*/ 93 w 909"/>
                <a:gd name="T101" fmla="*/ 567 h 1335"/>
                <a:gd name="T102" fmla="*/ 49 w 909"/>
                <a:gd name="T103" fmla="*/ 571 h 1335"/>
                <a:gd name="T104" fmla="*/ 43 w 909"/>
                <a:gd name="T105" fmla="*/ 495 h 1335"/>
                <a:gd name="T106" fmla="*/ 111 w 909"/>
                <a:gd name="T107" fmla="*/ 435 h 1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09" h="1335">
                  <a:moveTo>
                    <a:pt x="111" y="451"/>
                  </a:moveTo>
                  <a:cubicBezTo>
                    <a:pt x="113" y="434"/>
                    <a:pt x="113" y="417"/>
                    <a:pt x="123" y="403"/>
                  </a:cubicBezTo>
                  <a:cubicBezTo>
                    <a:pt x="125" y="386"/>
                    <a:pt x="129" y="392"/>
                    <a:pt x="133" y="379"/>
                  </a:cubicBezTo>
                  <a:cubicBezTo>
                    <a:pt x="129" y="366"/>
                    <a:pt x="126" y="384"/>
                    <a:pt x="117" y="387"/>
                  </a:cubicBezTo>
                  <a:cubicBezTo>
                    <a:pt x="112" y="386"/>
                    <a:pt x="107" y="387"/>
                    <a:pt x="103" y="385"/>
                  </a:cubicBezTo>
                  <a:cubicBezTo>
                    <a:pt x="99" y="383"/>
                    <a:pt x="91" y="377"/>
                    <a:pt x="91" y="377"/>
                  </a:cubicBezTo>
                  <a:cubicBezTo>
                    <a:pt x="83" y="366"/>
                    <a:pt x="86" y="364"/>
                    <a:pt x="91" y="353"/>
                  </a:cubicBezTo>
                  <a:cubicBezTo>
                    <a:pt x="100" y="333"/>
                    <a:pt x="86" y="330"/>
                    <a:pt x="111" y="327"/>
                  </a:cubicBezTo>
                  <a:cubicBezTo>
                    <a:pt x="113" y="313"/>
                    <a:pt x="121" y="307"/>
                    <a:pt x="133" y="299"/>
                  </a:cubicBezTo>
                  <a:cubicBezTo>
                    <a:pt x="139" y="290"/>
                    <a:pt x="142" y="308"/>
                    <a:pt x="151" y="311"/>
                  </a:cubicBezTo>
                  <a:cubicBezTo>
                    <a:pt x="156" y="326"/>
                    <a:pt x="150" y="294"/>
                    <a:pt x="151" y="287"/>
                  </a:cubicBezTo>
                  <a:cubicBezTo>
                    <a:pt x="153" y="278"/>
                    <a:pt x="168" y="282"/>
                    <a:pt x="177" y="281"/>
                  </a:cubicBezTo>
                  <a:cubicBezTo>
                    <a:pt x="191" y="259"/>
                    <a:pt x="170" y="230"/>
                    <a:pt x="189" y="211"/>
                  </a:cubicBezTo>
                  <a:cubicBezTo>
                    <a:pt x="205" y="213"/>
                    <a:pt x="206" y="215"/>
                    <a:pt x="219" y="219"/>
                  </a:cubicBezTo>
                  <a:cubicBezTo>
                    <a:pt x="223" y="231"/>
                    <a:pt x="234" y="249"/>
                    <a:pt x="245" y="257"/>
                  </a:cubicBezTo>
                  <a:cubicBezTo>
                    <a:pt x="233" y="229"/>
                    <a:pt x="228" y="212"/>
                    <a:pt x="211" y="201"/>
                  </a:cubicBezTo>
                  <a:cubicBezTo>
                    <a:pt x="198" y="182"/>
                    <a:pt x="216" y="185"/>
                    <a:pt x="235" y="183"/>
                  </a:cubicBezTo>
                  <a:cubicBezTo>
                    <a:pt x="242" y="172"/>
                    <a:pt x="246" y="173"/>
                    <a:pt x="259" y="171"/>
                  </a:cubicBezTo>
                  <a:cubicBezTo>
                    <a:pt x="272" y="167"/>
                    <a:pt x="263" y="162"/>
                    <a:pt x="281" y="165"/>
                  </a:cubicBezTo>
                  <a:cubicBezTo>
                    <a:pt x="297" y="189"/>
                    <a:pt x="264" y="233"/>
                    <a:pt x="293" y="243"/>
                  </a:cubicBezTo>
                  <a:cubicBezTo>
                    <a:pt x="297" y="230"/>
                    <a:pt x="294" y="211"/>
                    <a:pt x="297" y="197"/>
                  </a:cubicBezTo>
                  <a:cubicBezTo>
                    <a:pt x="296" y="189"/>
                    <a:pt x="291" y="164"/>
                    <a:pt x="307" y="169"/>
                  </a:cubicBezTo>
                  <a:cubicBezTo>
                    <a:pt x="313" y="187"/>
                    <a:pt x="326" y="200"/>
                    <a:pt x="345" y="205"/>
                  </a:cubicBezTo>
                  <a:cubicBezTo>
                    <a:pt x="359" y="202"/>
                    <a:pt x="346" y="191"/>
                    <a:pt x="339" y="181"/>
                  </a:cubicBezTo>
                  <a:cubicBezTo>
                    <a:pt x="337" y="171"/>
                    <a:pt x="333" y="166"/>
                    <a:pt x="331" y="155"/>
                  </a:cubicBezTo>
                  <a:cubicBezTo>
                    <a:pt x="332" y="150"/>
                    <a:pt x="330" y="145"/>
                    <a:pt x="333" y="141"/>
                  </a:cubicBezTo>
                  <a:cubicBezTo>
                    <a:pt x="334" y="139"/>
                    <a:pt x="360" y="148"/>
                    <a:pt x="365" y="151"/>
                  </a:cubicBezTo>
                  <a:cubicBezTo>
                    <a:pt x="368" y="159"/>
                    <a:pt x="370" y="162"/>
                    <a:pt x="377" y="167"/>
                  </a:cubicBezTo>
                  <a:cubicBezTo>
                    <a:pt x="382" y="175"/>
                    <a:pt x="390" y="182"/>
                    <a:pt x="399" y="185"/>
                  </a:cubicBezTo>
                  <a:cubicBezTo>
                    <a:pt x="407" y="197"/>
                    <a:pt x="413" y="210"/>
                    <a:pt x="427" y="215"/>
                  </a:cubicBezTo>
                  <a:cubicBezTo>
                    <a:pt x="424" y="200"/>
                    <a:pt x="425" y="186"/>
                    <a:pt x="411" y="177"/>
                  </a:cubicBezTo>
                  <a:cubicBezTo>
                    <a:pt x="404" y="166"/>
                    <a:pt x="396" y="154"/>
                    <a:pt x="385" y="147"/>
                  </a:cubicBezTo>
                  <a:cubicBezTo>
                    <a:pt x="376" y="134"/>
                    <a:pt x="374" y="127"/>
                    <a:pt x="389" y="117"/>
                  </a:cubicBezTo>
                  <a:cubicBezTo>
                    <a:pt x="395" y="118"/>
                    <a:pt x="404" y="117"/>
                    <a:pt x="409" y="123"/>
                  </a:cubicBezTo>
                  <a:cubicBezTo>
                    <a:pt x="418" y="134"/>
                    <a:pt x="422" y="162"/>
                    <a:pt x="437" y="167"/>
                  </a:cubicBezTo>
                  <a:cubicBezTo>
                    <a:pt x="432" y="157"/>
                    <a:pt x="431" y="149"/>
                    <a:pt x="421" y="143"/>
                  </a:cubicBezTo>
                  <a:cubicBezTo>
                    <a:pt x="419" y="136"/>
                    <a:pt x="413" y="132"/>
                    <a:pt x="411" y="125"/>
                  </a:cubicBezTo>
                  <a:cubicBezTo>
                    <a:pt x="410" y="121"/>
                    <a:pt x="407" y="113"/>
                    <a:pt x="407" y="113"/>
                  </a:cubicBezTo>
                  <a:cubicBezTo>
                    <a:pt x="424" y="107"/>
                    <a:pt x="435" y="111"/>
                    <a:pt x="453" y="113"/>
                  </a:cubicBezTo>
                  <a:cubicBezTo>
                    <a:pt x="460" y="115"/>
                    <a:pt x="471" y="123"/>
                    <a:pt x="471" y="123"/>
                  </a:cubicBezTo>
                  <a:cubicBezTo>
                    <a:pt x="467" y="139"/>
                    <a:pt x="468" y="119"/>
                    <a:pt x="459" y="113"/>
                  </a:cubicBezTo>
                  <a:cubicBezTo>
                    <a:pt x="458" y="109"/>
                    <a:pt x="451" y="100"/>
                    <a:pt x="455" y="101"/>
                  </a:cubicBezTo>
                  <a:cubicBezTo>
                    <a:pt x="469" y="104"/>
                    <a:pt x="462" y="102"/>
                    <a:pt x="477" y="107"/>
                  </a:cubicBezTo>
                  <a:cubicBezTo>
                    <a:pt x="479" y="108"/>
                    <a:pt x="483" y="109"/>
                    <a:pt x="483" y="109"/>
                  </a:cubicBezTo>
                  <a:cubicBezTo>
                    <a:pt x="484" y="111"/>
                    <a:pt x="489" y="114"/>
                    <a:pt x="487" y="115"/>
                  </a:cubicBezTo>
                  <a:cubicBezTo>
                    <a:pt x="481" y="119"/>
                    <a:pt x="464" y="101"/>
                    <a:pt x="461" y="99"/>
                  </a:cubicBezTo>
                  <a:cubicBezTo>
                    <a:pt x="451" y="92"/>
                    <a:pt x="446" y="94"/>
                    <a:pt x="431" y="93"/>
                  </a:cubicBezTo>
                  <a:cubicBezTo>
                    <a:pt x="426" y="86"/>
                    <a:pt x="418" y="78"/>
                    <a:pt x="411" y="73"/>
                  </a:cubicBezTo>
                  <a:cubicBezTo>
                    <a:pt x="400" y="57"/>
                    <a:pt x="416" y="62"/>
                    <a:pt x="431" y="63"/>
                  </a:cubicBezTo>
                  <a:cubicBezTo>
                    <a:pt x="433" y="64"/>
                    <a:pt x="437" y="67"/>
                    <a:pt x="437" y="65"/>
                  </a:cubicBezTo>
                  <a:cubicBezTo>
                    <a:pt x="438" y="61"/>
                    <a:pt x="433" y="53"/>
                    <a:pt x="433" y="53"/>
                  </a:cubicBezTo>
                  <a:cubicBezTo>
                    <a:pt x="441" y="50"/>
                    <a:pt x="451" y="52"/>
                    <a:pt x="459" y="49"/>
                  </a:cubicBezTo>
                  <a:cubicBezTo>
                    <a:pt x="461" y="48"/>
                    <a:pt x="459" y="44"/>
                    <a:pt x="461" y="43"/>
                  </a:cubicBezTo>
                  <a:cubicBezTo>
                    <a:pt x="467" y="41"/>
                    <a:pt x="473" y="42"/>
                    <a:pt x="479" y="41"/>
                  </a:cubicBezTo>
                  <a:cubicBezTo>
                    <a:pt x="488" y="38"/>
                    <a:pt x="493" y="35"/>
                    <a:pt x="503" y="33"/>
                  </a:cubicBezTo>
                  <a:cubicBezTo>
                    <a:pt x="515" y="25"/>
                    <a:pt x="529" y="18"/>
                    <a:pt x="543" y="15"/>
                  </a:cubicBezTo>
                  <a:cubicBezTo>
                    <a:pt x="560" y="4"/>
                    <a:pt x="587" y="5"/>
                    <a:pt x="607" y="3"/>
                  </a:cubicBezTo>
                  <a:cubicBezTo>
                    <a:pt x="616" y="0"/>
                    <a:pt x="622" y="3"/>
                    <a:pt x="631" y="5"/>
                  </a:cubicBezTo>
                  <a:cubicBezTo>
                    <a:pt x="648" y="17"/>
                    <a:pt x="670" y="20"/>
                    <a:pt x="687" y="31"/>
                  </a:cubicBezTo>
                  <a:cubicBezTo>
                    <a:pt x="690" y="35"/>
                    <a:pt x="695" y="37"/>
                    <a:pt x="697" y="41"/>
                  </a:cubicBezTo>
                  <a:cubicBezTo>
                    <a:pt x="701" y="51"/>
                    <a:pt x="677" y="57"/>
                    <a:pt x="671" y="59"/>
                  </a:cubicBezTo>
                  <a:cubicBezTo>
                    <a:pt x="655" y="64"/>
                    <a:pt x="631" y="62"/>
                    <a:pt x="619" y="63"/>
                  </a:cubicBezTo>
                  <a:cubicBezTo>
                    <a:pt x="600" y="67"/>
                    <a:pt x="585" y="79"/>
                    <a:pt x="567" y="85"/>
                  </a:cubicBezTo>
                  <a:cubicBezTo>
                    <a:pt x="562" y="93"/>
                    <a:pt x="558" y="93"/>
                    <a:pt x="549" y="95"/>
                  </a:cubicBezTo>
                  <a:cubicBezTo>
                    <a:pt x="556" y="105"/>
                    <a:pt x="556" y="96"/>
                    <a:pt x="563" y="89"/>
                  </a:cubicBezTo>
                  <a:cubicBezTo>
                    <a:pt x="597" y="94"/>
                    <a:pt x="563" y="106"/>
                    <a:pt x="585" y="121"/>
                  </a:cubicBezTo>
                  <a:cubicBezTo>
                    <a:pt x="596" y="87"/>
                    <a:pt x="581" y="91"/>
                    <a:pt x="621" y="87"/>
                  </a:cubicBezTo>
                  <a:cubicBezTo>
                    <a:pt x="627" y="70"/>
                    <a:pt x="673" y="73"/>
                    <a:pt x="673" y="73"/>
                  </a:cubicBezTo>
                  <a:cubicBezTo>
                    <a:pt x="689" y="70"/>
                    <a:pt x="690" y="69"/>
                    <a:pt x="709" y="71"/>
                  </a:cubicBezTo>
                  <a:cubicBezTo>
                    <a:pt x="708" y="78"/>
                    <a:pt x="708" y="86"/>
                    <a:pt x="707" y="93"/>
                  </a:cubicBezTo>
                  <a:cubicBezTo>
                    <a:pt x="707" y="96"/>
                    <a:pt x="703" y="100"/>
                    <a:pt x="705" y="103"/>
                  </a:cubicBezTo>
                  <a:cubicBezTo>
                    <a:pt x="707" y="107"/>
                    <a:pt x="713" y="98"/>
                    <a:pt x="717" y="97"/>
                  </a:cubicBezTo>
                  <a:cubicBezTo>
                    <a:pt x="722" y="98"/>
                    <a:pt x="729" y="96"/>
                    <a:pt x="733" y="99"/>
                  </a:cubicBezTo>
                  <a:cubicBezTo>
                    <a:pt x="744" y="106"/>
                    <a:pt x="726" y="115"/>
                    <a:pt x="741" y="105"/>
                  </a:cubicBezTo>
                  <a:cubicBezTo>
                    <a:pt x="749" y="108"/>
                    <a:pt x="754" y="113"/>
                    <a:pt x="761" y="117"/>
                  </a:cubicBezTo>
                  <a:cubicBezTo>
                    <a:pt x="760" y="127"/>
                    <a:pt x="762" y="137"/>
                    <a:pt x="759" y="147"/>
                  </a:cubicBezTo>
                  <a:cubicBezTo>
                    <a:pt x="758" y="150"/>
                    <a:pt x="753" y="147"/>
                    <a:pt x="751" y="149"/>
                  </a:cubicBezTo>
                  <a:cubicBezTo>
                    <a:pt x="737" y="166"/>
                    <a:pt x="763" y="163"/>
                    <a:pt x="731" y="167"/>
                  </a:cubicBezTo>
                  <a:cubicBezTo>
                    <a:pt x="727" y="168"/>
                    <a:pt x="723" y="170"/>
                    <a:pt x="719" y="171"/>
                  </a:cubicBezTo>
                  <a:cubicBezTo>
                    <a:pt x="714" y="173"/>
                    <a:pt x="707" y="179"/>
                    <a:pt x="707" y="179"/>
                  </a:cubicBezTo>
                  <a:cubicBezTo>
                    <a:pt x="681" y="175"/>
                    <a:pt x="685" y="175"/>
                    <a:pt x="647" y="177"/>
                  </a:cubicBezTo>
                  <a:cubicBezTo>
                    <a:pt x="643" y="178"/>
                    <a:pt x="639" y="179"/>
                    <a:pt x="635" y="181"/>
                  </a:cubicBezTo>
                  <a:cubicBezTo>
                    <a:pt x="633" y="182"/>
                    <a:pt x="631" y="184"/>
                    <a:pt x="629" y="185"/>
                  </a:cubicBezTo>
                  <a:cubicBezTo>
                    <a:pt x="623" y="188"/>
                    <a:pt x="611" y="191"/>
                    <a:pt x="611" y="191"/>
                  </a:cubicBezTo>
                  <a:cubicBezTo>
                    <a:pt x="603" y="203"/>
                    <a:pt x="611" y="217"/>
                    <a:pt x="595" y="221"/>
                  </a:cubicBezTo>
                  <a:cubicBezTo>
                    <a:pt x="598" y="231"/>
                    <a:pt x="601" y="224"/>
                    <a:pt x="609" y="221"/>
                  </a:cubicBezTo>
                  <a:cubicBezTo>
                    <a:pt x="626" y="204"/>
                    <a:pt x="645" y="195"/>
                    <a:pt x="669" y="193"/>
                  </a:cubicBezTo>
                  <a:cubicBezTo>
                    <a:pt x="687" y="187"/>
                    <a:pt x="694" y="196"/>
                    <a:pt x="713" y="197"/>
                  </a:cubicBezTo>
                  <a:cubicBezTo>
                    <a:pt x="722" y="225"/>
                    <a:pt x="708" y="221"/>
                    <a:pt x="693" y="231"/>
                  </a:cubicBezTo>
                  <a:cubicBezTo>
                    <a:pt x="690" y="235"/>
                    <a:pt x="686" y="245"/>
                    <a:pt x="691" y="245"/>
                  </a:cubicBezTo>
                  <a:cubicBezTo>
                    <a:pt x="691" y="245"/>
                    <a:pt x="706" y="235"/>
                    <a:pt x="709" y="233"/>
                  </a:cubicBezTo>
                  <a:cubicBezTo>
                    <a:pt x="715" y="229"/>
                    <a:pt x="722" y="232"/>
                    <a:pt x="729" y="231"/>
                  </a:cubicBezTo>
                  <a:cubicBezTo>
                    <a:pt x="739" y="221"/>
                    <a:pt x="738" y="206"/>
                    <a:pt x="745" y="199"/>
                  </a:cubicBezTo>
                  <a:cubicBezTo>
                    <a:pt x="748" y="195"/>
                    <a:pt x="757" y="191"/>
                    <a:pt x="757" y="191"/>
                  </a:cubicBezTo>
                  <a:cubicBezTo>
                    <a:pt x="784" y="200"/>
                    <a:pt x="767" y="251"/>
                    <a:pt x="765" y="265"/>
                  </a:cubicBezTo>
                  <a:cubicBezTo>
                    <a:pt x="764" y="275"/>
                    <a:pt x="743" y="285"/>
                    <a:pt x="743" y="285"/>
                  </a:cubicBezTo>
                  <a:cubicBezTo>
                    <a:pt x="735" y="298"/>
                    <a:pt x="742" y="312"/>
                    <a:pt x="729" y="321"/>
                  </a:cubicBezTo>
                  <a:cubicBezTo>
                    <a:pt x="726" y="331"/>
                    <a:pt x="724" y="338"/>
                    <a:pt x="737" y="335"/>
                  </a:cubicBezTo>
                  <a:cubicBezTo>
                    <a:pt x="744" y="328"/>
                    <a:pt x="748" y="326"/>
                    <a:pt x="745" y="317"/>
                  </a:cubicBezTo>
                  <a:cubicBezTo>
                    <a:pt x="750" y="303"/>
                    <a:pt x="753" y="293"/>
                    <a:pt x="761" y="281"/>
                  </a:cubicBezTo>
                  <a:cubicBezTo>
                    <a:pt x="764" y="277"/>
                    <a:pt x="773" y="273"/>
                    <a:pt x="773" y="273"/>
                  </a:cubicBezTo>
                  <a:cubicBezTo>
                    <a:pt x="777" y="262"/>
                    <a:pt x="781" y="253"/>
                    <a:pt x="785" y="243"/>
                  </a:cubicBezTo>
                  <a:cubicBezTo>
                    <a:pt x="787" y="239"/>
                    <a:pt x="785" y="232"/>
                    <a:pt x="789" y="231"/>
                  </a:cubicBezTo>
                  <a:cubicBezTo>
                    <a:pt x="793" y="230"/>
                    <a:pt x="805" y="247"/>
                    <a:pt x="805" y="247"/>
                  </a:cubicBezTo>
                  <a:cubicBezTo>
                    <a:pt x="815" y="262"/>
                    <a:pt x="808" y="237"/>
                    <a:pt x="821" y="245"/>
                  </a:cubicBezTo>
                  <a:cubicBezTo>
                    <a:pt x="825" y="244"/>
                    <a:pt x="826" y="254"/>
                    <a:pt x="829" y="251"/>
                  </a:cubicBezTo>
                  <a:cubicBezTo>
                    <a:pt x="831" y="249"/>
                    <a:pt x="827" y="243"/>
                    <a:pt x="825" y="241"/>
                  </a:cubicBezTo>
                  <a:cubicBezTo>
                    <a:pt x="823" y="240"/>
                    <a:pt x="824" y="236"/>
                    <a:pt x="823" y="235"/>
                  </a:cubicBezTo>
                  <a:cubicBezTo>
                    <a:pt x="822" y="234"/>
                    <a:pt x="819" y="234"/>
                    <a:pt x="817" y="233"/>
                  </a:cubicBezTo>
                  <a:cubicBezTo>
                    <a:pt x="811" y="227"/>
                    <a:pt x="818" y="220"/>
                    <a:pt x="811" y="215"/>
                  </a:cubicBezTo>
                  <a:cubicBezTo>
                    <a:pt x="805" y="205"/>
                    <a:pt x="794" y="198"/>
                    <a:pt x="797" y="187"/>
                  </a:cubicBezTo>
                  <a:cubicBezTo>
                    <a:pt x="803" y="195"/>
                    <a:pt x="798" y="212"/>
                    <a:pt x="805" y="217"/>
                  </a:cubicBezTo>
                  <a:cubicBezTo>
                    <a:pt x="808" y="219"/>
                    <a:pt x="824" y="225"/>
                    <a:pt x="829" y="227"/>
                  </a:cubicBezTo>
                  <a:cubicBezTo>
                    <a:pt x="841" y="223"/>
                    <a:pt x="845" y="213"/>
                    <a:pt x="857" y="209"/>
                  </a:cubicBezTo>
                  <a:cubicBezTo>
                    <a:pt x="882" y="211"/>
                    <a:pt x="871" y="207"/>
                    <a:pt x="889" y="219"/>
                  </a:cubicBezTo>
                  <a:cubicBezTo>
                    <a:pt x="893" y="221"/>
                    <a:pt x="901" y="223"/>
                    <a:pt x="901" y="223"/>
                  </a:cubicBezTo>
                  <a:cubicBezTo>
                    <a:pt x="905" y="234"/>
                    <a:pt x="902" y="245"/>
                    <a:pt x="909" y="255"/>
                  </a:cubicBezTo>
                  <a:cubicBezTo>
                    <a:pt x="901" y="260"/>
                    <a:pt x="891" y="265"/>
                    <a:pt x="887" y="275"/>
                  </a:cubicBezTo>
                  <a:cubicBezTo>
                    <a:pt x="879" y="293"/>
                    <a:pt x="892" y="304"/>
                    <a:pt x="871" y="307"/>
                  </a:cubicBezTo>
                  <a:cubicBezTo>
                    <a:pt x="867" y="352"/>
                    <a:pt x="828" y="329"/>
                    <a:pt x="789" y="331"/>
                  </a:cubicBezTo>
                  <a:cubicBezTo>
                    <a:pt x="787" y="333"/>
                    <a:pt x="765" y="354"/>
                    <a:pt x="781" y="343"/>
                  </a:cubicBezTo>
                  <a:cubicBezTo>
                    <a:pt x="788" y="332"/>
                    <a:pt x="792" y="335"/>
                    <a:pt x="805" y="337"/>
                  </a:cubicBezTo>
                  <a:cubicBezTo>
                    <a:pt x="815" y="344"/>
                    <a:pt x="835" y="323"/>
                    <a:pt x="845" y="331"/>
                  </a:cubicBezTo>
                  <a:cubicBezTo>
                    <a:pt x="847" y="331"/>
                    <a:pt x="841" y="357"/>
                    <a:pt x="839" y="363"/>
                  </a:cubicBezTo>
                  <a:cubicBezTo>
                    <a:pt x="834" y="377"/>
                    <a:pt x="810" y="366"/>
                    <a:pt x="795" y="367"/>
                  </a:cubicBezTo>
                  <a:cubicBezTo>
                    <a:pt x="787" y="372"/>
                    <a:pt x="784" y="375"/>
                    <a:pt x="793" y="381"/>
                  </a:cubicBezTo>
                  <a:cubicBezTo>
                    <a:pt x="797" y="386"/>
                    <a:pt x="825" y="381"/>
                    <a:pt x="829" y="385"/>
                  </a:cubicBezTo>
                  <a:cubicBezTo>
                    <a:pt x="833" y="389"/>
                    <a:pt x="824" y="404"/>
                    <a:pt x="819" y="407"/>
                  </a:cubicBezTo>
                  <a:cubicBezTo>
                    <a:pt x="813" y="406"/>
                    <a:pt x="807" y="406"/>
                    <a:pt x="801" y="405"/>
                  </a:cubicBezTo>
                  <a:cubicBezTo>
                    <a:pt x="799" y="404"/>
                    <a:pt x="796" y="399"/>
                    <a:pt x="795" y="401"/>
                  </a:cubicBezTo>
                  <a:cubicBezTo>
                    <a:pt x="790" y="417"/>
                    <a:pt x="799" y="422"/>
                    <a:pt x="797" y="439"/>
                  </a:cubicBezTo>
                  <a:cubicBezTo>
                    <a:pt x="799" y="451"/>
                    <a:pt x="793" y="477"/>
                    <a:pt x="799" y="487"/>
                  </a:cubicBezTo>
                  <a:cubicBezTo>
                    <a:pt x="791" y="492"/>
                    <a:pt x="781" y="478"/>
                    <a:pt x="773" y="483"/>
                  </a:cubicBezTo>
                  <a:cubicBezTo>
                    <a:pt x="766" y="494"/>
                    <a:pt x="781" y="524"/>
                    <a:pt x="767" y="529"/>
                  </a:cubicBezTo>
                  <a:cubicBezTo>
                    <a:pt x="753" y="571"/>
                    <a:pt x="777" y="588"/>
                    <a:pt x="811" y="595"/>
                  </a:cubicBezTo>
                  <a:cubicBezTo>
                    <a:pt x="807" y="627"/>
                    <a:pt x="801" y="615"/>
                    <a:pt x="761" y="617"/>
                  </a:cubicBezTo>
                  <a:cubicBezTo>
                    <a:pt x="758" y="627"/>
                    <a:pt x="748" y="629"/>
                    <a:pt x="757" y="635"/>
                  </a:cubicBezTo>
                  <a:cubicBezTo>
                    <a:pt x="764" y="646"/>
                    <a:pt x="775" y="655"/>
                    <a:pt x="787" y="659"/>
                  </a:cubicBezTo>
                  <a:cubicBezTo>
                    <a:pt x="793" y="669"/>
                    <a:pt x="789" y="661"/>
                    <a:pt x="793" y="673"/>
                  </a:cubicBezTo>
                  <a:cubicBezTo>
                    <a:pt x="794" y="677"/>
                    <a:pt x="797" y="685"/>
                    <a:pt x="797" y="685"/>
                  </a:cubicBezTo>
                  <a:cubicBezTo>
                    <a:pt x="795" y="714"/>
                    <a:pt x="802" y="736"/>
                    <a:pt x="773" y="717"/>
                  </a:cubicBezTo>
                  <a:cubicBezTo>
                    <a:pt x="764" y="703"/>
                    <a:pt x="765" y="686"/>
                    <a:pt x="761" y="697"/>
                  </a:cubicBezTo>
                  <a:cubicBezTo>
                    <a:pt x="770" y="725"/>
                    <a:pt x="773" y="742"/>
                    <a:pt x="803" y="747"/>
                  </a:cubicBezTo>
                  <a:cubicBezTo>
                    <a:pt x="796" y="767"/>
                    <a:pt x="807" y="737"/>
                    <a:pt x="795" y="759"/>
                  </a:cubicBezTo>
                  <a:cubicBezTo>
                    <a:pt x="786" y="776"/>
                    <a:pt x="789" y="770"/>
                    <a:pt x="769" y="773"/>
                  </a:cubicBezTo>
                  <a:cubicBezTo>
                    <a:pt x="764" y="789"/>
                    <a:pt x="772" y="794"/>
                    <a:pt x="789" y="797"/>
                  </a:cubicBezTo>
                  <a:cubicBezTo>
                    <a:pt x="782" y="818"/>
                    <a:pt x="749" y="804"/>
                    <a:pt x="731" y="805"/>
                  </a:cubicBezTo>
                  <a:cubicBezTo>
                    <a:pt x="734" y="814"/>
                    <a:pt x="753" y="834"/>
                    <a:pt x="761" y="839"/>
                  </a:cubicBezTo>
                  <a:cubicBezTo>
                    <a:pt x="770" y="853"/>
                    <a:pt x="759" y="852"/>
                    <a:pt x="763" y="863"/>
                  </a:cubicBezTo>
                  <a:cubicBezTo>
                    <a:pt x="762" y="872"/>
                    <a:pt x="761" y="881"/>
                    <a:pt x="761" y="881"/>
                  </a:cubicBezTo>
                  <a:cubicBezTo>
                    <a:pt x="758" y="898"/>
                    <a:pt x="763" y="892"/>
                    <a:pt x="749" y="887"/>
                  </a:cubicBezTo>
                  <a:cubicBezTo>
                    <a:pt x="753" y="900"/>
                    <a:pt x="753" y="913"/>
                    <a:pt x="761" y="925"/>
                  </a:cubicBezTo>
                  <a:cubicBezTo>
                    <a:pt x="763" y="929"/>
                    <a:pt x="765" y="937"/>
                    <a:pt x="765" y="937"/>
                  </a:cubicBezTo>
                  <a:cubicBezTo>
                    <a:pt x="762" y="958"/>
                    <a:pt x="764" y="958"/>
                    <a:pt x="741" y="955"/>
                  </a:cubicBezTo>
                  <a:cubicBezTo>
                    <a:pt x="735" y="951"/>
                    <a:pt x="729" y="945"/>
                    <a:pt x="723" y="941"/>
                  </a:cubicBezTo>
                  <a:cubicBezTo>
                    <a:pt x="720" y="931"/>
                    <a:pt x="715" y="926"/>
                    <a:pt x="705" y="923"/>
                  </a:cubicBezTo>
                  <a:cubicBezTo>
                    <a:pt x="708" y="988"/>
                    <a:pt x="702" y="963"/>
                    <a:pt x="751" y="973"/>
                  </a:cubicBezTo>
                  <a:cubicBezTo>
                    <a:pt x="743" y="978"/>
                    <a:pt x="745" y="983"/>
                    <a:pt x="739" y="989"/>
                  </a:cubicBezTo>
                  <a:cubicBezTo>
                    <a:pt x="730" y="998"/>
                    <a:pt x="726" y="1008"/>
                    <a:pt x="715" y="1015"/>
                  </a:cubicBezTo>
                  <a:cubicBezTo>
                    <a:pt x="712" y="1023"/>
                    <a:pt x="698" y="1025"/>
                    <a:pt x="695" y="1033"/>
                  </a:cubicBezTo>
                  <a:cubicBezTo>
                    <a:pt x="690" y="1049"/>
                    <a:pt x="627" y="1051"/>
                    <a:pt x="621" y="1051"/>
                  </a:cubicBezTo>
                  <a:cubicBezTo>
                    <a:pt x="606" y="1056"/>
                    <a:pt x="612" y="1052"/>
                    <a:pt x="603" y="1061"/>
                  </a:cubicBezTo>
                  <a:cubicBezTo>
                    <a:pt x="601" y="1073"/>
                    <a:pt x="582" y="1110"/>
                    <a:pt x="575" y="1121"/>
                  </a:cubicBezTo>
                  <a:cubicBezTo>
                    <a:pt x="570" y="1129"/>
                    <a:pt x="560" y="1140"/>
                    <a:pt x="551" y="1145"/>
                  </a:cubicBezTo>
                  <a:cubicBezTo>
                    <a:pt x="538" y="1151"/>
                    <a:pt x="529" y="1160"/>
                    <a:pt x="515" y="1165"/>
                  </a:cubicBezTo>
                  <a:cubicBezTo>
                    <a:pt x="508" y="1167"/>
                    <a:pt x="493" y="1171"/>
                    <a:pt x="493" y="1171"/>
                  </a:cubicBezTo>
                  <a:cubicBezTo>
                    <a:pt x="491" y="1194"/>
                    <a:pt x="486" y="1234"/>
                    <a:pt x="463" y="1249"/>
                  </a:cubicBezTo>
                  <a:cubicBezTo>
                    <a:pt x="460" y="1253"/>
                    <a:pt x="465" y="1257"/>
                    <a:pt x="463" y="1261"/>
                  </a:cubicBezTo>
                  <a:cubicBezTo>
                    <a:pt x="461" y="1265"/>
                    <a:pt x="459" y="1273"/>
                    <a:pt x="459" y="1273"/>
                  </a:cubicBezTo>
                  <a:cubicBezTo>
                    <a:pt x="458" y="1293"/>
                    <a:pt x="455" y="1318"/>
                    <a:pt x="443" y="1335"/>
                  </a:cubicBezTo>
                  <a:cubicBezTo>
                    <a:pt x="430" y="1334"/>
                    <a:pt x="416" y="1333"/>
                    <a:pt x="403" y="1329"/>
                  </a:cubicBezTo>
                  <a:cubicBezTo>
                    <a:pt x="394" y="1320"/>
                    <a:pt x="384" y="1315"/>
                    <a:pt x="373" y="1309"/>
                  </a:cubicBezTo>
                  <a:cubicBezTo>
                    <a:pt x="369" y="1307"/>
                    <a:pt x="361" y="1301"/>
                    <a:pt x="361" y="1301"/>
                  </a:cubicBezTo>
                  <a:cubicBezTo>
                    <a:pt x="358" y="1297"/>
                    <a:pt x="353" y="1295"/>
                    <a:pt x="351" y="1291"/>
                  </a:cubicBezTo>
                  <a:cubicBezTo>
                    <a:pt x="345" y="1281"/>
                    <a:pt x="340" y="1266"/>
                    <a:pt x="335" y="1255"/>
                  </a:cubicBezTo>
                  <a:cubicBezTo>
                    <a:pt x="330" y="1245"/>
                    <a:pt x="329" y="1234"/>
                    <a:pt x="319" y="1227"/>
                  </a:cubicBezTo>
                  <a:cubicBezTo>
                    <a:pt x="315" y="1214"/>
                    <a:pt x="317" y="1200"/>
                    <a:pt x="313" y="1187"/>
                  </a:cubicBezTo>
                  <a:cubicBezTo>
                    <a:pt x="312" y="1172"/>
                    <a:pt x="298" y="1167"/>
                    <a:pt x="293" y="1153"/>
                  </a:cubicBezTo>
                  <a:cubicBezTo>
                    <a:pt x="291" y="1147"/>
                    <a:pt x="285" y="1135"/>
                    <a:pt x="285" y="1135"/>
                  </a:cubicBezTo>
                  <a:cubicBezTo>
                    <a:pt x="286" y="1104"/>
                    <a:pt x="281" y="1074"/>
                    <a:pt x="291" y="1045"/>
                  </a:cubicBezTo>
                  <a:cubicBezTo>
                    <a:pt x="293" y="1017"/>
                    <a:pt x="296" y="1012"/>
                    <a:pt x="279" y="995"/>
                  </a:cubicBezTo>
                  <a:cubicBezTo>
                    <a:pt x="273" y="978"/>
                    <a:pt x="266" y="951"/>
                    <a:pt x="285" y="945"/>
                  </a:cubicBezTo>
                  <a:cubicBezTo>
                    <a:pt x="304" y="946"/>
                    <a:pt x="310" y="944"/>
                    <a:pt x="323" y="953"/>
                  </a:cubicBezTo>
                  <a:cubicBezTo>
                    <a:pt x="320" y="944"/>
                    <a:pt x="316" y="936"/>
                    <a:pt x="309" y="931"/>
                  </a:cubicBezTo>
                  <a:cubicBezTo>
                    <a:pt x="302" y="920"/>
                    <a:pt x="292" y="921"/>
                    <a:pt x="281" y="913"/>
                  </a:cubicBezTo>
                  <a:cubicBezTo>
                    <a:pt x="271" y="915"/>
                    <a:pt x="263" y="909"/>
                    <a:pt x="259" y="897"/>
                  </a:cubicBezTo>
                  <a:cubicBezTo>
                    <a:pt x="257" y="879"/>
                    <a:pt x="257" y="878"/>
                    <a:pt x="247" y="863"/>
                  </a:cubicBezTo>
                  <a:cubicBezTo>
                    <a:pt x="243" y="858"/>
                    <a:pt x="239" y="845"/>
                    <a:pt x="239" y="845"/>
                  </a:cubicBezTo>
                  <a:cubicBezTo>
                    <a:pt x="243" y="817"/>
                    <a:pt x="247" y="781"/>
                    <a:pt x="233" y="755"/>
                  </a:cubicBezTo>
                  <a:cubicBezTo>
                    <a:pt x="227" y="745"/>
                    <a:pt x="222" y="735"/>
                    <a:pt x="217" y="725"/>
                  </a:cubicBezTo>
                  <a:cubicBezTo>
                    <a:pt x="215" y="721"/>
                    <a:pt x="213" y="713"/>
                    <a:pt x="213" y="713"/>
                  </a:cubicBezTo>
                  <a:cubicBezTo>
                    <a:pt x="212" y="706"/>
                    <a:pt x="214" y="698"/>
                    <a:pt x="211" y="691"/>
                  </a:cubicBezTo>
                  <a:cubicBezTo>
                    <a:pt x="209" y="687"/>
                    <a:pt x="203" y="686"/>
                    <a:pt x="199" y="683"/>
                  </a:cubicBezTo>
                  <a:cubicBezTo>
                    <a:pt x="184" y="673"/>
                    <a:pt x="168" y="665"/>
                    <a:pt x="151" y="659"/>
                  </a:cubicBezTo>
                  <a:cubicBezTo>
                    <a:pt x="130" y="661"/>
                    <a:pt x="115" y="669"/>
                    <a:pt x="93" y="671"/>
                  </a:cubicBezTo>
                  <a:cubicBezTo>
                    <a:pt x="86" y="681"/>
                    <a:pt x="80" y="677"/>
                    <a:pt x="71" y="671"/>
                  </a:cubicBezTo>
                  <a:cubicBezTo>
                    <a:pt x="66" y="663"/>
                    <a:pt x="59" y="654"/>
                    <a:pt x="51" y="649"/>
                  </a:cubicBezTo>
                  <a:cubicBezTo>
                    <a:pt x="41" y="634"/>
                    <a:pt x="27" y="640"/>
                    <a:pt x="67" y="637"/>
                  </a:cubicBezTo>
                  <a:cubicBezTo>
                    <a:pt x="63" y="626"/>
                    <a:pt x="53" y="616"/>
                    <a:pt x="43" y="611"/>
                  </a:cubicBezTo>
                  <a:cubicBezTo>
                    <a:pt x="39" y="609"/>
                    <a:pt x="31" y="607"/>
                    <a:pt x="31" y="607"/>
                  </a:cubicBezTo>
                  <a:cubicBezTo>
                    <a:pt x="36" y="593"/>
                    <a:pt x="53" y="598"/>
                    <a:pt x="67" y="597"/>
                  </a:cubicBezTo>
                  <a:cubicBezTo>
                    <a:pt x="75" y="594"/>
                    <a:pt x="83" y="593"/>
                    <a:pt x="91" y="591"/>
                  </a:cubicBezTo>
                  <a:cubicBezTo>
                    <a:pt x="93" y="589"/>
                    <a:pt x="97" y="583"/>
                    <a:pt x="97" y="579"/>
                  </a:cubicBezTo>
                  <a:cubicBezTo>
                    <a:pt x="97" y="575"/>
                    <a:pt x="93" y="567"/>
                    <a:pt x="93" y="567"/>
                  </a:cubicBezTo>
                  <a:cubicBezTo>
                    <a:pt x="73" y="572"/>
                    <a:pt x="82" y="572"/>
                    <a:pt x="65" y="569"/>
                  </a:cubicBezTo>
                  <a:cubicBezTo>
                    <a:pt x="51" y="578"/>
                    <a:pt x="58" y="575"/>
                    <a:pt x="47" y="579"/>
                  </a:cubicBezTo>
                  <a:cubicBezTo>
                    <a:pt x="40" y="578"/>
                    <a:pt x="30" y="582"/>
                    <a:pt x="25" y="577"/>
                  </a:cubicBezTo>
                  <a:cubicBezTo>
                    <a:pt x="19" y="571"/>
                    <a:pt x="49" y="571"/>
                    <a:pt x="49" y="571"/>
                  </a:cubicBezTo>
                  <a:cubicBezTo>
                    <a:pt x="47" y="562"/>
                    <a:pt x="46" y="558"/>
                    <a:pt x="37" y="555"/>
                  </a:cubicBezTo>
                  <a:cubicBezTo>
                    <a:pt x="31" y="549"/>
                    <a:pt x="23" y="542"/>
                    <a:pt x="15" y="539"/>
                  </a:cubicBezTo>
                  <a:cubicBezTo>
                    <a:pt x="12" y="535"/>
                    <a:pt x="6" y="534"/>
                    <a:pt x="5" y="529"/>
                  </a:cubicBezTo>
                  <a:cubicBezTo>
                    <a:pt x="0" y="495"/>
                    <a:pt x="16" y="497"/>
                    <a:pt x="43" y="495"/>
                  </a:cubicBezTo>
                  <a:cubicBezTo>
                    <a:pt x="53" y="488"/>
                    <a:pt x="47" y="480"/>
                    <a:pt x="57" y="473"/>
                  </a:cubicBezTo>
                  <a:cubicBezTo>
                    <a:pt x="66" y="460"/>
                    <a:pt x="76" y="464"/>
                    <a:pt x="93" y="463"/>
                  </a:cubicBezTo>
                  <a:cubicBezTo>
                    <a:pt x="100" y="459"/>
                    <a:pt x="102" y="453"/>
                    <a:pt x="109" y="449"/>
                  </a:cubicBezTo>
                  <a:cubicBezTo>
                    <a:pt x="112" y="440"/>
                    <a:pt x="111" y="445"/>
                    <a:pt x="111" y="435"/>
                  </a:cubicBez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88" name="Freeform 848"/>
            <p:cNvSpPr>
              <a:spLocks/>
            </p:cNvSpPr>
            <p:nvPr>
              <p:custDataLst>
                <p:tags r:id="rId151"/>
              </p:custDataLst>
            </p:nvPr>
          </p:nvSpPr>
          <p:spPr bwMode="gray">
            <a:xfrm>
              <a:off x="2390970" y="1872508"/>
              <a:ext cx="163734" cy="109244"/>
            </a:xfrm>
            <a:custGeom>
              <a:avLst/>
              <a:gdLst>
                <a:gd name="T0" fmla="*/ 32 w 169"/>
                <a:gd name="T1" fmla="*/ 1 h 113"/>
                <a:gd name="T2" fmla="*/ 50 w 169"/>
                <a:gd name="T3" fmla="*/ 17 h 113"/>
                <a:gd name="T4" fmla="*/ 60 w 169"/>
                <a:gd name="T5" fmla="*/ 31 h 113"/>
                <a:gd name="T6" fmla="*/ 72 w 169"/>
                <a:gd name="T7" fmla="*/ 25 h 113"/>
                <a:gd name="T8" fmla="*/ 114 w 169"/>
                <a:gd name="T9" fmla="*/ 13 h 113"/>
                <a:gd name="T10" fmla="*/ 152 w 169"/>
                <a:gd name="T11" fmla="*/ 11 h 113"/>
                <a:gd name="T12" fmla="*/ 148 w 169"/>
                <a:gd name="T13" fmla="*/ 23 h 113"/>
                <a:gd name="T14" fmla="*/ 166 w 169"/>
                <a:gd name="T15" fmla="*/ 45 h 113"/>
                <a:gd name="T16" fmla="*/ 158 w 169"/>
                <a:gd name="T17" fmla="*/ 67 h 113"/>
                <a:gd name="T18" fmla="*/ 134 w 169"/>
                <a:gd name="T19" fmla="*/ 87 h 113"/>
                <a:gd name="T20" fmla="*/ 116 w 169"/>
                <a:gd name="T21" fmla="*/ 95 h 113"/>
                <a:gd name="T22" fmla="*/ 112 w 169"/>
                <a:gd name="T23" fmla="*/ 107 h 113"/>
                <a:gd name="T24" fmla="*/ 94 w 169"/>
                <a:gd name="T25" fmla="*/ 113 h 113"/>
                <a:gd name="T26" fmla="*/ 54 w 169"/>
                <a:gd name="T27" fmla="*/ 97 h 113"/>
                <a:gd name="T28" fmla="*/ 24 w 169"/>
                <a:gd name="T29" fmla="*/ 107 h 113"/>
                <a:gd name="T30" fmla="*/ 38 w 169"/>
                <a:gd name="T31" fmla="*/ 85 h 113"/>
                <a:gd name="T32" fmla="*/ 16 w 169"/>
                <a:gd name="T33" fmla="*/ 69 h 113"/>
                <a:gd name="T34" fmla="*/ 2 w 169"/>
                <a:gd name="T35" fmla="*/ 55 h 113"/>
                <a:gd name="T36" fmla="*/ 26 w 169"/>
                <a:gd name="T37" fmla="*/ 53 h 113"/>
                <a:gd name="T38" fmla="*/ 24 w 169"/>
                <a:gd name="T39" fmla="*/ 47 h 113"/>
                <a:gd name="T40" fmla="*/ 0 w 169"/>
                <a:gd name="T41" fmla="*/ 41 h 113"/>
                <a:gd name="T42" fmla="*/ 4 w 169"/>
                <a:gd name="T43" fmla="*/ 29 h 113"/>
                <a:gd name="T44" fmla="*/ 16 w 169"/>
                <a:gd name="T45" fmla="*/ 21 h 113"/>
                <a:gd name="T46" fmla="*/ 28 w 169"/>
                <a:gd name="T47" fmla="*/ 5 h 113"/>
                <a:gd name="T48" fmla="*/ 32 w 169"/>
                <a:gd name="T49" fmla="*/ 1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9" h="113">
                  <a:moveTo>
                    <a:pt x="32" y="1"/>
                  </a:moveTo>
                  <a:cubicBezTo>
                    <a:pt x="35" y="6"/>
                    <a:pt x="45" y="15"/>
                    <a:pt x="50" y="17"/>
                  </a:cubicBezTo>
                  <a:cubicBezTo>
                    <a:pt x="53" y="45"/>
                    <a:pt x="50" y="43"/>
                    <a:pt x="60" y="31"/>
                  </a:cubicBezTo>
                  <a:cubicBezTo>
                    <a:pt x="63" y="27"/>
                    <a:pt x="68" y="26"/>
                    <a:pt x="72" y="25"/>
                  </a:cubicBezTo>
                  <a:cubicBezTo>
                    <a:pt x="81" y="11"/>
                    <a:pt x="99" y="14"/>
                    <a:pt x="114" y="13"/>
                  </a:cubicBezTo>
                  <a:cubicBezTo>
                    <a:pt x="126" y="5"/>
                    <a:pt x="131" y="0"/>
                    <a:pt x="152" y="11"/>
                  </a:cubicBezTo>
                  <a:cubicBezTo>
                    <a:pt x="156" y="13"/>
                    <a:pt x="148" y="23"/>
                    <a:pt x="148" y="23"/>
                  </a:cubicBezTo>
                  <a:cubicBezTo>
                    <a:pt x="157" y="29"/>
                    <a:pt x="158" y="37"/>
                    <a:pt x="166" y="45"/>
                  </a:cubicBezTo>
                  <a:cubicBezTo>
                    <a:pt x="169" y="54"/>
                    <a:pt x="168" y="64"/>
                    <a:pt x="158" y="67"/>
                  </a:cubicBezTo>
                  <a:cubicBezTo>
                    <a:pt x="147" y="84"/>
                    <a:pt x="161" y="84"/>
                    <a:pt x="134" y="87"/>
                  </a:cubicBezTo>
                  <a:cubicBezTo>
                    <a:pt x="127" y="89"/>
                    <a:pt x="123" y="93"/>
                    <a:pt x="116" y="95"/>
                  </a:cubicBezTo>
                  <a:cubicBezTo>
                    <a:pt x="115" y="99"/>
                    <a:pt x="113" y="103"/>
                    <a:pt x="112" y="107"/>
                  </a:cubicBezTo>
                  <a:cubicBezTo>
                    <a:pt x="110" y="113"/>
                    <a:pt x="94" y="113"/>
                    <a:pt x="94" y="113"/>
                  </a:cubicBezTo>
                  <a:cubicBezTo>
                    <a:pt x="77" y="111"/>
                    <a:pt x="69" y="102"/>
                    <a:pt x="54" y="97"/>
                  </a:cubicBezTo>
                  <a:cubicBezTo>
                    <a:pt x="26" y="100"/>
                    <a:pt x="41" y="101"/>
                    <a:pt x="24" y="107"/>
                  </a:cubicBezTo>
                  <a:cubicBezTo>
                    <a:pt x="21" y="98"/>
                    <a:pt x="32" y="93"/>
                    <a:pt x="38" y="85"/>
                  </a:cubicBezTo>
                  <a:cubicBezTo>
                    <a:pt x="28" y="79"/>
                    <a:pt x="29" y="72"/>
                    <a:pt x="16" y="69"/>
                  </a:cubicBezTo>
                  <a:cubicBezTo>
                    <a:pt x="9" y="64"/>
                    <a:pt x="9" y="60"/>
                    <a:pt x="2" y="55"/>
                  </a:cubicBezTo>
                  <a:cubicBezTo>
                    <a:pt x="10" y="54"/>
                    <a:pt x="18" y="56"/>
                    <a:pt x="26" y="53"/>
                  </a:cubicBezTo>
                  <a:cubicBezTo>
                    <a:pt x="28" y="52"/>
                    <a:pt x="26" y="48"/>
                    <a:pt x="24" y="47"/>
                  </a:cubicBezTo>
                  <a:cubicBezTo>
                    <a:pt x="17" y="43"/>
                    <a:pt x="0" y="41"/>
                    <a:pt x="0" y="41"/>
                  </a:cubicBezTo>
                  <a:cubicBezTo>
                    <a:pt x="1" y="37"/>
                    <a:pt x="0" y="31"/>
                    <a:pt x="4" y="29"/>
                  </a:cubicBezTo>
                  <a:cubicBezTo>
                    <a:pt x="8" y="26"/>
                    <a:pt x="16" y="21"/>
                    <a:pt x="16" y="21"/>
                  </a:cubicBezTo>
                  <a:cubicBezTo>
                    <a:pt x="19" y="13"/>
                    <a:pt x="21" y="10"/>
                    <a:pt x="28" y="5"/>
                  </a:cubicBezTo>
                  <a:cubicBezTo>
                    <a:pt x="38" y="8"/>
                    <a:pt x="38" y="9"/>
                    <a:pt x="32" y="1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grpSp>
          <p:nvGrpSpPr>
            <p:cNvPr id="189" name="Group 849"/>
            <p:cNvGrpSpPr>
              <a:grpSpLocks/>
            </p:cNvGrpSpPr>
            <p:nvPr>
              <p:custDataLst>
                <p:tags r:id="rId152"/>
              </p:custDataLst>
            </p:nvPr>
          </p:nvGrpSpPr>
          <p:grpSpPr bwMode="auto">
            <a:xfrm>
              <a:off x="1833220" y="2901297"/>
              <a:ext cx="64464" cy="106118"/>
              <a:chOff x="4714" y="2568"/>
              <a:chExt cx="67" cy="110"/>
            </a:xfrm>
            <a:solidFill>
              <a:schemeClr val="bg1"/>
            </a:solidFill>
          </p:grpSpPr>
          <p:sp>
            <p:nvSpPr>
              <p:cNvPr id="211" name="Freeform 850"/>
              <p:cNvSpPr>
                <a:spLocks/>
              </p:cNvSpPr>
              <p:nvPr>
                <p:custDataLst>
                  <p:tags r:id="rId167"/>
                </p:custDataLst>
              </p:nvPr>
            </p:nvSpPr>
            <p:spPr bwMode="gray">
              <a:xfrm>
                <a:off x="4751" y="2668"/>
                <a:ext cx="17" cy="10"/>
              </a:xfrm>
              <a:custGeom>
                <a:avLst/>
                <a:gdLst>
                  <a:gd name="T0" fmla="*/ 0 w 17"/>
                  <a:gd name="T1" fmla="*/ 1 h 10"/>
                  <a:gd name="T2" fmla="*/ 9 w 17"/>
                  <a:gd name="T3" fmla="*/ 2 h 10"/>
                  <a:gd name="T4" fmla="*/ 0 w 17"/>
                  <a:gd name="T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7" h="10">
                    <a:moveTo>
                      <a:pt x="0" y="1"/>
                    </a:moveTo>
                    <a:cubicBezTo>
                      <a:pt x="3" y="1"/>
                      <a:pt x="7" y="0"/>
                      <a:pt x="9" y="2"/>
                    </a:cubicBezTo>
                    <a:cubicBezTo>
                      <a:pt x="17" y="8"/>
                      <a:pt x="4" y="10"/>
                      <a:pt x="0" y="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CA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2" name="Freeform 851"/>
              <p:cNvSpPr>
                <a:spLocks/>
              </p:cNvSpPr>
              <p:nvPr>
                <p:custDataLst>
                  <p:tags r:id="rId168"/>
                </p:custDataLst>
              </p:nvPr>
            </p:nvSpPr>
            <p:spPr bwMode="gray">
              <a:xfrm>
                <a:off x="4765" y="2640"/>
                <a:ext cx="16" cy="6"/>
              </a:xfrm>
              <a:custGeom>
                <a:avLst/>
                <a:gdLst>
                  <a:gd name="T0" fmla="*/ 4 w 16"/>
                  <a:gd name="T1" fmla="*/ 0 h 6"/>
                  <a:gd name="T2" fmla="*/ 13 w 16"/>
                  <a:gd name="T3" fmla="*/ 2 h 6"/>
                  <a:gd name="T4" fmla="*/ 1 w 16"/>
                  <a:gd name="T5" fmla="*/ 3 h 6"/>
                  <a:gd name="T6" fmla="*/ 4 w 16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6">
                    <a:moveTo>
                      <a:pt x="4" y="0"/>
                    </a:moveTo>
                    <a:cubicBezTo>
                      <a:pt x="7" y="1"/>
                      <a:pt x="11" y="0"/>
                      <a:pt x="13" y="2"/>
                    </a:cubicBezTo>
                    <a:cubicBezTo>
                      <a:pt x="16" y="5"/>
                      <a:pt x="4" y="6"/>
                      <a:pt x="1" y="3"/>
                    </a:cubicBezTo>
                    <a:cubicBezTo>
                      <a:pt x="0" y="2"/>
                      <a:pt x="3" y="1"/>
                      <a:pt x="4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CA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3" name="Freeform 852"/>
              <p:cNvSpPr>
                <a:spLocks/>
              </p:cNvSpPr>
              <p:nvPr>
                <p:custDataLst>
                  <p:tags r:id="rId169"/>
                </p:custDataLst>
              </p:nvPr>
            </p:nvSpPr>
            <p:spPr bwMode="gray">
              <a:xfrm>
                <a:off x="4742" y="2645"/>
                <a:ext cx="12" cy="7"/>
              </a:xfrm>
              <a:custGeom>
                <a:avLst/>
                <a:gdLst>
                  <a:gd name="T0" fmla="*/ 6 w 12"/>
                  <a:gd name="T1" fmla="*/ 3 h 7"/>
                  <a:gd name="T2" fmla="*/ 2 w 12"/>
                  <a:gd name="T3" fmla="*/ 6 h 7"/>
                  <a:gd name="T4" fmla="*/ 11 w 12"/>
                  <a:gd name="T5" fmla="*/ 4 h 7"/>
                  <a:gd name="T6" fmla="*/ 8 w 12"/>
                  <a:gd name="T7" fmla="*/ 0 h 7"/>
                  <a:gd name="T8" fmla="*/ 6 w 12"/>
                  <a:gd name="T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7">
                    <a:moveTo>
                      <a:pt x="6" y="3"/>
                    </a:moveTo>
                    <a:cubicBezTo>
                      <a:pt x="5" y="4"/>
                      <a:pt x="0" y="6"/>
                      <a:pt x="2" y="6"/>
                    </a:cubicBezTo>
                    <a:cubicBezTo>
                      <a:pt x="5" y="7"/>
                      <a:pt x="9" y="6"/>
                      <a:pt x="11" y="4"/>
                    </a:cubicBezTo>
                    <a:cubicBezTo>
                      <a:pt x="12" y="3"/>
                      <a:pt x="10" y="0"/>
                      <a:pt x="8" y="0"/>
                    </a:cubicBezTo>
                    <a:cubicBezTo>
                      <a:pt x="7" y="0"/>
                      <a:pt x="7" y="2"/>
                      <a:pt x="6" y="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CA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4" name="Freeform 853"/>
              <p:cNvSpPr>
                <a:spLocks/>
              </p:cNvSpPr>
              <p:nvPr>
                <p:custDataLst>
                  <p:tags r:id="rId170"/>
                </p:custDataLst>
              </p:nvPr>
            </p:nvSpPr>
            <p:spPr bwMode="gray">
              <a:xfrm>
                <a:off x="4733" y="2652"/>
                <a:ext cx="13" cy="14"/>
              </a:xfrm>
              <a:custGeom>
                <a:avLst/>
                <a:gdLst>
                  <a:gd name="T0" fmla="*/ 5 w 13"/>
                  <a:gd name="T1" fmla="*/ 6 h 14"/>
                  <a:gd name="T2" fmla="*/ 9 w 13"/>
                  <a:gd name="T3" fmla="*/ 14 h 14"/>
                  <a:gd name="T4" fmla="*/ 5 w 13"/>
                  <a:gd name="T5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4">
                    <a:moveTo>
                      <a:pt x="5" y="6"/>
                    </a:moveTo>
                    <a:cubicBezTo>
                      <a:pt x="13" y="0"/>
                      <a:pt x="11" y="9"/>
                      <a:pt x="9" y="14"/>
                    </a:cubicBezTo>
                    <a:cubicBezTo>
                      <a:pt x="0" y="11"/>
                      <a:pt x="1" y="14"/>
                      <a:pt x="5" y="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CA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5" name="Freeform 854"/>
              <p:cNvSpPr>
                <a:spLocks/>
              </p:cNvSpPr>
              <p:nvPr>
                <p:custDataLst>
                  <p:tags r:id="rId171"/>
                </p:custDataLst>
              </p:nvPr>
            </p:nvSpPr>
            <p:spPr bwMode="gray">
              <a:xfrm>
                <a:off x="4714" y="2568"/>
                <a:ext cx="33" cy="25"/>
              </a:xfrm>
              <a:custGeom>
                <a:avLst/>
                <a:gdLst>
                  <a:gd name="T0" fmla="*/ 3 w 33"/>
                  <a:gd name="T1" fmla="*/ 2 h 25"/>
                  <a:gd name="T2" fmla="*/ 15 w 33"/>
                  <a:gd name="T3" fmla="*/ 3 h 25"/>
                  <a:gd name="T4" fmla="*/ 21 w 33"/>
                  <a:gd name="T5" fmla="*/ 12 h 25"/>
                  <a:gd name="T6" fmla="*/ 33 w 33"/>
                  <a:gd name="T7" fmla="*/ 5 h 25"/>
                  <a:gd name="T8" fmla="*/ 21 w 33"/>
                  <a:gd name="T9" fmla="*/ 21 h 25"/>
                  <a:gd name="T10" fmla="*/ 7 w 33"/>
                  <a:gd name="T11" fmla="*/ 15 h 25"/>
                  <a:gd name="T12" fmla="*/ 3 w 33"/>
                  <a:gd name="T13" fmla="*/ 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25">
                    <a:moveTo>
                      <a:pt x="3" y="2"/>
                    </a:moveTo>
                    <a:cubicBezTo>
                      <a:pt x="7" y="2"/>
                      <a:pt x="12" y="0"/>
                      <a:pt x="15" y="3"/>
                    </a:cubicBezTo>
                    <a:cubicBezTo>
                      <a:pt x="25" y="12"/>
                      <a:pt x="8" y="17"/>
                      <a:pt x="21" y="12"/>
                    </a:cubicBezTo>
                    <a:cubicBezTo>
                      <a:pt x="22" y="3"/>
                      <a:pt x="25" y="2"/>
                      <a:pt x="33" y="5"/>
                    </a:cubicBezTo>
                    <a:cubicBezTo>
                      <a:pt x="29" y="25"/>
                      <a:pt x="24" y="6"/>
                      <a:pt x="21" y="21"/>
                    </a:cubicBezTo>
                    <a:cubicBezTo>
                      <a:pt x="15" y="20"/>
                      <a:pt x="12" y="17"/>
                      <a:pt x="7" y="15"/>
                    </a:cubicBezTo>
                    <a:cubicBezTo>
                      <a:pt x="2" y="10"/>
                      <a:pt x="0" y="8"/>
                      <a:pt x="3" y="2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CA" sz="1632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6" name="Freeform 855"/>
              <p:cNvSpPr>
                <a:spLocks/>
              </p:cNvSpPr>
              <p:nvPr>
                <p:custDataLst>
                  <p:tags r:id="rId172"/>
                </p:custDataLst>
              </p:nvPr>
            </p:nvSpPr>
            <p:spPr bwMode="gray">
              <a:xfrm>
                <a:off x="4745" y="2589"/>
                <a:ext cx="20" cy="48"/>
              </a:xfrm>
              <a:custGeom>
                <a:avLst/>
                <a:gdLst>
                  <a:gd name="T0" fmla="*/ 6 w 20"/>
                  <a:gd name="T1" fmla="*/ 0 h 48"/>
                  <a:gd name="T2" fmla="*/ 5 w 20"/>
                  <a:gd name="T3" fmla="*/ 12 h 48"/>
                  <a:gd name="T4" fmla="*/ 9 w 20"/>
                  <a:gd name="T5" fmla="*/ 48 h 48"/>
                  <a:gd name="T6" fmla="*/ 12 w 20"/>
                  <a:gd name="T7" fmla="*/ 32 h 48"/>
                  <a:gd name="T8" fmla="*/ 6 w 20"/>
                  <a:gd name="T9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48">
                    <a:moveTo>
                      <a:pt x="6" y="0"/>
                    </a:moveTo>
                    <a:cubicBezTo>
                      <a:pt x="0" y="3"/>
                      <a:pt x="2" y="6"/>
                      <a:pt x="5" y="12"/>
                    </a:cubicBezTo>
                    <a:cubicBezTo>
                      <a:pt x="7" y="26"/>
                      <a:pt x="8" y="33"/>
                      <a:pt x="9" y="48"/>
                    </a:cubicBezTo>
                    <a:cubicBezTo>
                      <a:pt x="20" y="46"/>
                      <a:pt x="17" y="39"/>
                      <a:pt x="12" y="32"/>
                    </a:cubicBezTo>
                    <a:cubicBezTo>
                      <a:pt x="14" y="12"/>
                      <a:pt x="18" y="12"/>
                      <a:pt x="6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accent6">
                    <a:lumMod val="40000"/>
                    <a:lumOff val="6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32962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CA" sz="1632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90" name="Freeform 856"/>
            <p:cNvSpPr>
              <a:spLocks/>
            </p:cNvSpPr>
            <p:nvPr>
              <p:custDataLst>
                <p:tags r:id="rId153"/>
              </p:custDataLst>
            </p:nvPr>
          </p:nvSpPr>
          <p:spPr bwMode="gray">
            <a:xfrm>
              <a:off x="1063621" y="2661293"/>
              <a:ext cx="437363" cy="284633"/>
            </a:xfrm>
            <a:custGeom>
              <a:avLst/>
              <a:gdLst>
                <a:gd name="T0" fmla="*/ 9 w 451"/>
                <a:gd name="T1" fmla="*/ 30 h 295"/>
                <a:gd name="T2" fmla="*/ 44 w 451"/>
                <a:gd name="T3" fmla="*/ 74 h 295"/>
                <a:gd name="T4" fmla="*/ 65 w 451"/>
                <a:gd name="T5" fmla="*/ 116 h 295"/>
                <a:gd name="T6" fmla="*/ 81 w 451"/>
                <a:gd name="T7" fmla="*/ 149 h 295"/>
                <a:gd name="T8" fmla="*/ 105 w 451"/>
                <a:gd name="T9" fmla="*/ 170 h 295"/>
                <a:gd name="T10" fmla="*/ 95 w 451"/>
                <a:gd name="T11" fmla="*/ 129 h 295"/>
                <a:gd name="T12" fmla="*/ 66 w 451"/>
                <a:gd name="T13" fmla="*/ 83 h 295"/>
                <a:gd name="T14" fmla="*/ 44 w 451"/>
                <a:gd name="T15" fmla="*/ 51 h 295"/>
                <a:gd name="T16" fmla="*/ 35 w 451"/>
                <a:gd name="T17" fmla="*/ 20 h 295"/>
                <a:gd name="T18" fmla="*/ 65 w 451"/>
                <a:gd name="T19" fmla="*/ 45 h 295"/>
                <a:gd name="T20" fmla="*/ 120 w 451"/>
                <a:gd name="T21" fmla="*/ 116 h 295"/>
                <a:gd name="T22" fmla="*/ 152 w 451"/>
                <a:gd name="T23" fmla="*/ 156 h 295"/>
                <a:gd name="T24" fmla="*/ 171 w 451"/>
                <a:gd name="T25" fmla="*/ 213 h 295"/>
                <a:gd name="T26" fmla="*/ 201 w 451"/>
                <a:gd name="T27" fmla="*/ 237 h 295"/>
                <a:gd name="T28" fmla="*/ 273 w 451"/>
                <a:gd name="T29" fmla="*/ 276 h 295"/>
                <a:gd name="T30" fmla="*/ 327 w 451"/>
                <a:gd name="T31" fmla="*/ 279 h 295"/>
                <a:gd name="T32" fmla="*/ 371 w 451"/>
                <a:gd name="T33" fmla="*/ 294 h 295"/>
                <a:gd name="T34" fmla="*/ 398 w 451"/>
                <a:gd name="T35" fmla="*/ 279 h 295"/>
                <a:gd name="T36" fmla="*/ 387 w 451"/>
                <a:gd name="T37" fmla="*/ 257 h 295"/>
                <a:gd name="T38" fmla="*/ 413 w 451"/>
                <a:gd name="T39" fmla="*/ 251 h 295"/>
                <a:gd name="T40" fmla="*/ 450 w 451"/>
                <a:gd name="T41" fmla="*/ 195 h 295"/>
                <a:gd name="T42" fmla="*/ 411 w 451"/>
                <a:gd name="T43" fmla="*/ 198 h 295"/>
                <a:gd name="T44" fmla="*/ 396 w 451"/>
                <a:gd name="T45" fmla="*/ 221 h 295"/>
                <a:gd name="T46" fmla="*/ 348 w 451"/>
                <a:gd name="T47" fmla="*/ 242 h 295"/>
                <a:gd name="T48" fmla="*/ 315 w 451"/>
                <a:gd name="T49" fmla="*/ 233 h 295"/>
                <a:gd name="T50" fmla="*/ 285 w 451"/>
                <a:gd name="T51" fmla="*/ 167 h 295"/>
                <a:gd name="T52" fmla="*/ 272 w 451"/>
                <a:gd name="T53" fmla="*/ 117 h 295"/>
                <a:gd name="T54" fmla="*/ 249 w 451"/>
                <a:gd name="T55" fmla="*/ 74 h 295"/>
                <a:gd name="T56" fmla="*/ 212 w 451"/>
                <a:gd name="T57" fmla="*/ 65 h 295"/>
                <a:gd name="T58" fmla="*/ 147 w 451"/>
                <a:gd name="T59" fmla="*/ 18 h 295"/>
                <a:gd name="T60" fmla="*/ 116 w 451"/>
                <a:gd name="T61" fmla="*/ 30 h 295"/>
                <a:gd name="T62" fmla="*/ 63 w 451"/>
                <a:gd name="T63" fmla="*/ 21 h 295"/>
                <a:gd name="T64" fmla="*/ 5 w 451"/>
                <a:gd name="T65" fmla="*/ 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51" h="295">
                  <a:moveTo>
                    <a:pt x="5" y="9"/>
                  </a:moveTo>
                  <a:cubicBezTo>
                    <a:pt x="0" y="13"/>
                    <a:pt x="5" y="22"/>
                    <a:pt x="9" y="30"/>
                  </a:cubicBezTo>
                  <a:cubicBezTo>
                    <a:pt x="13" y="38"/>
                    <a:pt x="21" y="50"/>
                    <a:pt x="27" y="57"/>
                  </a:cubicBezTo>
                  <a:cubicBezTo>
                    <a:pt x="33" y="64"/>
                    <a:pt x="41" y="68"/>
                    <a:pt x="44" y="74"/>
                  </a:cubicBezTo>
                  <a:cubicBezTo>
                    <a:pt x="47" y="80"/>
                    <a:pt x="41" y="88"/>
                    <a:pt x="44" y="95"/>
                  </a:cubicBezTo>
                  <a:cubicBezTo>
                    <a:pt x="47" y="102"/>
                    <a:pt x="60" y="110"/>
                    <a:pt x="65" y="116"/>
                  </a:cubicBezTo>
                  <a:cubicBezTo>
                    <a:pt x="70" y="122"/>
                    <a:pt x="72" y="129"/>
                    <a:pt x="75" y="134"/>
                  </a:cubicBezTo>
                  <a:cubicBezTo>
                    <a:pt x="78" y="139"/>
                    <a:pt x="77" y="146"/>
                    <a:pt x="81" y="149"/>
                  </a:cubicBezTo>
                  <a:cubicBezTo>
                    <a:pt x="85" y="152"/>
                    <a:pt x="97" y="150"/>
                    <a:pt x="101" y="153"/>
                  </a:cubicBezTo>
                  <a:cubicBezTo>
                    <a:pt x="105" y="156"/>
                    <a:pt x="103" y="169"/>
                    <a:pt x="105" y="170"/>
                  </a:cubicBezTo>
                  <a:cubicBezTo>
                    <a:pt x="107" y="171"/>
                    <a:pt x="115" y="166"/>
                    <a:pt x="113" y="159"/>
                  </a:cubicBezTo>
                  <a:cubicBezTo>
                    <a:pt x="111" y="152"/>
                    <a:pt x="101" y="138"/>
                    <a:pt x="95" y="129"/>
                  </a:cubicBezTo>
                  <a:cubicBezTo>
                    <a:pt x="89" y="120"/>
                    <a:pt x="82" y="110"/>
                    <a:pt x="77" y="102"/>
                  </a:cubicBezTo>
                  <a:cubicBezTo>
                    <a:pt x="72" y="94"/>
                    <a:pt x="70" y="90"/>
                    <a:pt x="66" y="83"/>
                  </a:cubicBezTo>
                  <a:cubicBezTo>
                    <a:pt x="62" y="76"/>
                    <a:pt x="57" y="67"/>
                    <a:pt x="53" y="62"/>
                  </a:cubicBezTo>
                  <a:cubicBezTo>
                    <a:pt x="49" y="57"/>
                    <a:pt x="47" y="56"/>
                    <a:pt x="44" y="51"/>
                  </a:cubicBezTo>
                  <a:cubicBezTo>
                    <a:pt x="41" y="46"/>
                    <a:pt x="36" y="38"/>
                    <a:pt x="35" y="33"/>
                  </a:cubicBezTo>
                  <a:cubicBezTo>
                    <a:pt x="34" y="28"/>
                    <a:pt x="31" y="21"/>
                    <a:pt x="35" y="20"/>
                  </a:cubicBezTo>
                  <a:cubicBezTo>
                    <a:pt x="39" y="19"/>
                    <a:pt x="54" y="25"/>
                    <a:pt x="59" y="29"/>
                  </a:cubicBezTo>
                  <a:cubicBezTo>
                    <a:pt x="64" y="33"/>
                    <a:pt x="61" y="37"/>
                    <a:pt x="65" y="45"/>
                  </a:cubicBezTo>
                  <a:cubicBezTo>
                    <a:pt x="69" y="53"/>
                    <a:pt x="75" y="68"/>
                    <a:pt x="84" y="80"/>
                  </a:cubicBezTo>
                  <a:cubicBezTo>
                    <a:pt x="93" y="92"/>
                    <a:pt x="114" y="108"/>
                    <a:pt x="120" y="116"/>
                  </a:cubicBezTo>
                  <a:cubicBezTo>
                    <a:pt x="126" y="124"/>
                    <a:pt x="114" y="122"/>
                    <a:pt x="119" y="129"/>
                  </a:cubicBezTo>
                  <a:cubicBezTo>
                    <a:pt x="124" y="136"/>
                    <a:pt x="142" y="145"/>
                    <a:pt x="152" y="156"/>
                  </a:cubicBezTo>
                  <a:cubicBezTo>
                    <a:pt x="162" y="167"/>
                    <a:pt x="174" y="189"/>
                    <a:pt x="177" y="198"/>
                  </a:cubicBezTo>
                  <a:cubicBezTo>
                    <a:pt x="180" y="207"/>
                    <a:pt x="170" y="207"/>
                    <a:pt x="171" y="213"/>
                  </a:cubicBezTo>
                  <a:cubicBezTo>
                    <a:pt x="172" y="219"/>
                    <a:pt x="181" y="233"/>
                    <a:pt x="186" y="237"/>
                  </a:cubicBezTo>
                  <a:cubicBezTo>
                    <a:pt x="191" y="241"/>
                    <a:pt x="194" y="235"/>
                    <a:pt x="201" y="237"/>
                  </a:cubicBezTo>
                  <a:cubicBezTo>
                    <a:pt x="208" y="239"/>
                    <a:pt x="216" y="246"/>
                    <a:pt x="228" y="252"/>
                  </a:cubicBezTo>
                  <a:cubicBezTo>
                    <a:pt x="240" y="258"/>
                    <a:pt x="260" y="271"/>
                    <a:pt x="273" y="276"/>
                  </a:cubicBezTo>
                  <a:cubicBezTo>
                    <a:pt x="286" y="281"/>
                    <a:pt x="296" y="281"/>
                    <a:pt x="305" y="281"/>
                  </a:cubicBezTo>
                  <a:cubicBezTo>
                    <a:pt x="314" y="281"/>
                    <a:pt x="320" y="279"/>
                    <a:pt x="327" y="279"/>
                  </a:cubicBezTo>
                  <a:cubicBezTo>
                    <a:pt x="334" y="279"/>
                    <a:pt x="343" y="279"/>
                    <a:pt x="350" y="282"/>
                  </a:cubicBezTo>
                  <a:cubicBezTo>
                    <a:pt x="357" y="285"/>
                    <a:pt x="366" y="295"/>
                    <a:pt x="371" y="294"/>
                  </a:cubicBezTo>
                  <a:cubicBezTo>
                    <a:pt x="376" y="293"/>
                    <a:pt x="376" y="281"/>
                    <a:pt x="380" y="279"/>
                  </a:cubicBezTo>
                  <a:cubicBezTo>
                    <a:pt x="384" y="277"/>
                    <a:pt x="393" y="279"/>
                    <a:pt x="398" y="279"/>
                  </a:cubicBezTo>
                  <a:cubicBezTo>
                    <a:pt x="403" y="279"/>
                    <a:pt x="410" y="279"/>
                    <a:pt x="408" y="276"/>
                  </a:cubicBezTo>
                  <a:cubicBezTo>
                    <a:pt x="406" y="273"/>
                    <a:pt x="389" y="261"/>
                    <a:pt x="387" y="257"/>
                  </a:cubicBezTo>
                  <a:cubicBezTo>
                    <a:pt x="385" y="253"/>
                    <a:pt x="391" y="253"/>
                    <a:pt x="395" y="252"/>
                  </a:cubicBezTo>
                  <a:cubicBezTo>
                    <a:pt x="399" y="251"/>
                    <a:pt x="407" y="252"/>
                    <a:pt x="413" y="251"/>
                  </a:cubicBezTo>
                  <a:cubicBezTo>
                    <a:pt x="419" y="250"/>
                    <a:pt x="425" y="252"/>
                    <a:pt x="431" y="243"/>
                  </a:cubicBezTo>
                  <a:cubicBezTo>
                    <a:pt x="437" y="234"/>
                    <a:pt x="451" y="204"/>
                    <a:pt x="450" y="195"/>
                  </a:cubicBezTo>
                  <a:cubicBezTo>
                    <a:pt x="449" y="186"/>
                    <a:pt x="431" y="191"/>
                    <a:pt x="425" y="191"/>
                  </a:cubicBezTo>
                  <a:cubicBezTo>
                    <a:pt x="419" y="191"/>
                    <a:pt x="415" y="197"/>
                    <a:pt x="411" y="198"/>
                  </a:cubicBezTo>
                  <a:cubicBezTo>
                    <a:pt x="407" y="199"/>
                    <a:pt x="401" y="194"/>
                    <a:pt x="399" y="198"/>
                  </a:cubicBezTo>
                  <a:cubicBezTo>
                    <a:pt x="397" y="202"/>
                    <a:pt x="399" y="215"/>
                    <a:pt x="396" y="221"/>
                  </a:cubicBezTo>
                  <a:cubicBezTo>
                    <a:pt x="393" y="227"/>
                    <a:pt x="391" y="233"/>
                    <a:pt x="383" y="237"/>
                  </a:cubicBezTo>
                  <a:cubicBezTo>
                    <a:pt x="375" y="241"/>
                    <a:pt x="355" y="241"/>
                    <a:pt x="348" y="242"/>
                  </a:cubicBezTo>
                  <a:cubicBezTo>
                    <a:pt x="341" y="243"/>
                    <a:pt x="343" y="244"/>
                    <a:pt x="338" y="243"/>
                  </a:cubicBezTo>
                  <a:cubicBezTo>
                    <a:pt x="333" y="242"/>
                    <a:pt x="321" y="240"/>
                    <a:pt x="315" y="233"/>
                  </a:cubicBezTo>
                  <a:cubicBezTo>
                    <a:pt x="309" y="226"/>
                    <a:pt x="304" y="211"/>
                    <a:pt x="299" y="200"/>
                  </a:cubicBezTo>
                  <a:cubicBezTo>
                    <a:pt x="294" y="189"/>
                    <a:pt x="286" y="181"/>
                    <a:pt x="285" y="167"/>
                  </a:cubicBezTo>
                  <a:cubicBezTo>
                    <a:pt x="284" y="153"/>
                    <a:pt x="292" y="125"/>
                    <a:pt x="290" y="117"/>
                  </a:cubicBezTo>
                  <a:cubicBezTo>
                    <a:pt x="288" y="109"/>
                    <a:pt x="277" y="119"/>
                    <a:pt x="272" y="117"/>
                  </a:cubicBezTo>
                  <a:cubicBezTo>
                    <a:pt x="267" y="115"/>
                    <a:pt x="262" y="112"/>
                    <a:pt x="258" y="105"/>
                  </a:cubicBezTo>
                  <a:cubicBezTo>
                    <a:pt x="254" y="98"/>
                    <a:pt x="256" y="82"/>
                    <a:pt x="249" y="74"/>
                  </a:cubicBezTo>
                  <a:cubicBezTo>
                    <a:pt x="242" y="66"/>
                    <a:pt x="219" y="55"/>
                    <a:pt x="213" y="54"/>
                  </a:cubicBezTo>
                  <a:cubicBezTo>
                    <a:pt x="207" y="53"/>
                    <a:pt x="216" y="65"/>
                    <a:pt x="212" y="65"/>
                  </a:cubicBezTo>
                  <a:cubicBezTo>
                    <a:pt x="208" y="65"/>
                    <a:pt x="200" y="61"/>
                    <a:pt x="189" y="53"/>
                  </a:cubicBezTo>
                  <a:cubicBezTo>
                    <a:pt x="178" y="45"/>
                    <a:pt x="156" y="23"/>
                    <a:pt x="147" y="18"/>
                  </a:cubicBezTo>
                  <a:cubicBezTo>
                    <a:pt x="138" y="13"/>
                    <a:pt x="140" y="18"/>
                    <a:pt x="135" y="20"/>
                  </a:cubicBezTo>
                  <a:cubicBezTo>
                    <a:pt x="130" y="22"/>
                    <a:pt x="123" y="28"/>
                    <a:pt x="116" y="30"/>
                  </a:cubicBezTo>
                  <a:cubicBezTo>
                    <a:pt x="109" y="32"/>
                    <a:pt x="104" y="35"/>
                    <a:pt x="95" y="33"/>
                  </a:cubicBezTo>
                  <a:cubicBezTo>
                    <a:pt x="86" y="31"/>
                    <a:pt x="73" y="26"/>
                    <a:pt x="63" y="21"/>
                  </a:cubicBezTo>
                  <a:cubicBezTo>
                    <a:pt x="53" y="16"/>
                    <a:pt x="45" y="4"/>
                    <a:pt x="35" y="2"/>
                  </a:cubicBezTo>
                  <a:cubicBezTo>
                    <a:pt x="25" y="0"/>
                    <a:pt x="11" y="8"/>
                    <a:pt x="5" y="9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91" name="Freeform 857"/>
            <p:cNvSpPr>
              <a:spLocks/>
            </p:cNvSpPr>
            <p:nvPr>
              <p:custDataLst>
                <p:tags r:id="rId154"/>
              </p:custDataLst>
            </p:nvPr>
          </p:nvSpPr>
          <p:spPr bwMode="gray">
            <a:xfrm>
              <a:off x="1845121" y="3447751"/>
              <a:ext cx="131903" cy="123969"/>
            </a:xfrm>
            <a:custGeom>
              <a:avLst/>
              <a:gdLst>
                <a:gd name="T0" fmla="*/ 0 w 137"/>
                <a:gd name="T1" fmla="*/ 43 h 128"/>
                <a:gd name="T2" fmla="*/ 6 w 137"/>
                <a:gd name="T3" fmla="*/ 28 h 128"/>
                <a:gd name="T4" fmla="*/ 12 w 137"/>
                <a:gd name="T5" fmla="*/ 10 h 128"/>
                <a:gd name="T6" fmla="*/ 24 w 137"/>
                <a:gd name="T7" fmla="*/ 4 h 128"/>
                <a:gd name="T8" fmla="*/ 35 w 137"/>
                <a:gd name="T9" fmla="*/ 2 h 128"/>
                <a:gd name="T10" fmla="*/ 69 w 137"/>
                <a:gd name="T11" fmla="*/ 5 h 128"/>
                <a:gd name="T12" fmla="*/ 69 w 137"/>
                <a:gd name="T13" fmla="*/ 19 h 128"/>
                <a:gd name="T14" fmla="*/ 70 w 137"/>
                <a:gd name="T15" fmla="*/ 41 h 128"/>
                <a:gd name="T16" fmla="*/ 94 w 137"/>
                <a:gd name="T17" fmla="*/ 47 h 128"/>
                <a:gd name="T18" fmla="*/ 114 w 137"/>
                <a:gd name="T19" fmla="*/ 49 h 128"/>
                <a:gd name="T20" fmla="*/ 115 w 137"/>
                <a:gd name="T21" fmla="*/ 65 h 128"/>
                <a:gd name="T22" fmla="*/ 132 w 137"/>
                <a:gd name="T23" fmla="*/ 76 h 128"/>
                <a:gd name="T24" fmla="*/ 136 w 137"/>
                <a:gd name="T25" fmla="*/ 92 h 128"/>
                <a:gd name="T26" fmla="*/ 126 w 137"/>
                <a:gd name="T27" fmla="*/ 110 h 128"/>
                <a:gd name="T28" fmla="*/ 115 w 137"/>
                <a:gd name="T29" fmla="*/ 127 h 128"/>
                <a:gd name="T30" fmla="*/ 70 w 137"/>
                <a:gd name="T31" fmla="*/ 119 h 128"/>
                <a:gd name="T32" fmla="*/ 76 w 137"/>
                <a:gd name="T33" fmla="*/ 103 h 128"/>
                <a:gd name="T34" fmla="*/ 57 w 137"/>
                <a:gd name="T35" fmla="*/ 86 h 128"/>
                <a:gd name="T36" fmla="*/ 39 w 137"/>
                <a:gd name="T37" fmla="*/ 73 h 128"/>
                <a:gd name="T38" fmla="*/ 15 w 137"/>
                <a:gd name="T39" fmla="*/ 53 h 128"/>
                <a:gd name="T40" fmla="*/ 0 w 137"/>
                <a:gd name="T41" fmla="*/ 4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7" h="128">
                  <a:moveTo>
                    <a:pt x="0" y="43"/>
                  </a:moveTo>
                  <a:cubicBezTo>
                    <a:pt x="1" y="38"/>
                    <a:pt x="6" y="28"/>
                    <a:pt x="6" y="28"/>
                  </a:cubicBezTo>
                  <a:cubicBezTo>
                    <a:pt x="8" y="23"/>
                    <a:pt x="9" y="14"/>
                    <a:pt x="12" y="10"/>
                  </a:cubicBezTo>
                  <a:cubicBezTo>
                    <a:pt x="15" y="6"/>
                    <a:pt x="20" y="5"/>
                    <a:pt x="24" y="4"/>
                  </a:cubicBezTo>
                  <a:cubicBezTo>
                    <a:pt x="29" y="0"/>
                    <a:pt x="28" y="2"/>
                    <a:pt x="35" y="2"/>
                  </a:cubicBezTo>
                  <a:cubicBezTo>
                    <a:pt x="42" y="2"/>
                    <a:pt x="63" y="2"/>
                    <a:pt x="69" y="5"/>
                  </a:cubicBezTo>
                  <a:cubicBezTo>
                    <a:pt x="75" y="8"/>
                    <a:pt x="69" y="13"/>
                    <a:pt x="69" y="19"/>
                  </a:cubicBezTo>
                  <a:cubicBezTo>
                    <a:pt x="69" y="25"/>
                    <a:pt x="66" y="36"/>
                    <a:pt x="70" y="41"/>
                  </a:cubicBezTo>
                  <a:cubicBezTo>
                    <a:pt x="74" y="49"/>
                    <a:pt x="87" y="45"/>
                    <a:pt x="94" y="47"/>
                  </a:cubicBezTo>
                  <a:cubicBezTo>
                    <a:pt x="101" y="48"/>
                    <a:pt x="110" y="46"/>
                    <a:pt x="114" y="49"/>
                  </a:cubicBezTo>
                  <a:cubicBezTo>
                    <a:pt x="118" y="51"/>
                    <a:pt x="112" y="61"/>
                    <a:pt x="115" y="65"/>
                  </a:cubicBezTo>
                  <a:cubicBezTo>
                    <a:pt x="118" y="69"/>
                    <a:pt x="129" y="72"/>
                    <a:pt x="132" y="76"/>
                  </a:cubicBezTo>
                  <a:cubicBezTo>
                    <a:pt x="135" y="80"/>
                    <a:pt x="137" y="86"/>
                    <a:pt x="136" y="92"/>
                  </a:cubicBezTo>
                  <a:cubicBezTo>
                    <a:pt x="135" y="98"/>
                    <a:pt x="129" y="104"/>
                    <a:pt x="126" y="110"/>
                  </a:cubicBezTo>
                  <a:cubicBezTo>
                    <a:pt x="123" y="116"/>
                    <a:pt x="124" y="125"/>
                    <a:pt x="115" y="127"/>
                  </a:cubicBezTo>
                  <a:cubicBezTo>
                    <a:pt x="87" y="126"/>
                    <a:pt x="86" y="128"/>
                    <a:pt x="70" y="119"/>
                  </a:cubicBezTo>
                  <a:cubicBezTo>
                    <a:pt x="63" y="115"/>
                    <a:pt x="78" y="108"/>
                    <a:pt x="76" y="103"/>
                  </a:cubicBezTo>
                  <a:cubicBezTo>
                    <a:pt x="74" y="98"/>
                    <a:pt x="63" y="91"/>
                    <a:pt x="57" y="86"/>
                  </a:cubicBezTo>
                  <a:cubicBezTo>
                    <a:pt x="53" y="77"/>
                    <a:pt x="50" y="75"/>
                    <a:pt x="39" y="73"/>
                  </a:cubicBezTo>
                  <a:cubicBezTo>
                    <a:pt x="33" y="67"/>
                    <a:pt x="21" y="58"/>
                    <a:pt x="15" y="53"/>
                  </a:cubicBezTo>
                  <a:cubicBezTo>
                    <a:pt x="9" y="48"/>
                    <a:pt x="3" y="45"/>
                    <a:pt x="0" y="4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92" name="Freeform 858"/>
            <p:cNvSpPr>
              <a:spLocks/>
            </p:cNvSpPr>
            <p:nvPr>
              <p:custDataLst>
                <p:tags r:id="rId155"/>
              </p:custDataLst>
            </p:nvPr>
          </p:nvSpPr>
          <p:spPr bwMode="gray">
            <a:xfrm>
              <a:off x="1463296" y="2901297"/>
              <a:ext cx="17852" cy="37687"/>
            </a:xfrm>
            <a:custGeom>
              <a:avLst/>
              <a:gdLst>
                <a:gd name="T0" fmla="*/ 14 w 19"/>
                <a:gd name="T1" fmla="*/ 0 h 38"/>
                <a:gd name="T2" fmla="*/ 19 w 19"/>
                <a:gd name="T3" fmla="*/ 32 h 38"/>
                <a:gd name="T4" fmla="*/ 5 w 19"/>
                <a:gd name="T5" fmla="*/ 38 h 38"/>
                <a:gd name="T6" fmla="*/ 4 w 19"/>
                <a:gd name="T7" fmla="*/ 23 h 38"/>
                <a:gd name="T8" fmla="*/ 10 w 19"/>
                <a:gd name="T9" fmla="*/ 9 h 38"/>
                <a:gd name="T10" fmla="*/ 14 w 19"/>
                <a:gd name="T1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38">
                  <a:moveTo>
                    <a:pt x="14" y="0"/>
                  </a:moveTo>
                  <a:cubicBezTo>
                    <a:pt x="18" y="22"/>
                    <a:pt x="16" y="11"/>
                    <a:pt x="19" y="32"/>
                  </a:cubicBezTo>
                  <a:cubicBezTo>
                    <a:pt x="13" y="33"/>
                    <a:pt x="10" y="36"/>
                    <a:pt x="5" y="38"/>
                  </a:cubicBezTo>
                  <a:cubicBezTo>
                    <a:pt x="0" y="32"/>
                    <a:pt x="1" y="30"/>
                    <a:pt x="4" y="23"/>
                  </a:cubicBezTo>
                  <a:cubicBezTo>
                    <a:pt x="5" y="17"/>
                    <a:pt x="7" y="14"/>
                    <a:pt x="10" y="9"/>
                  </a:cubicBezTo>
                  <a:cubicBezTo>
                    <a:pt x="11" y="2"/>
                    <a:pt x="10" y="4"/>
                    <a:pt x="14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93" name="Freeform 859"/>
            <p:cNvSpPr>
              <a:spLocks/>
            </p:cNvSpPr>
            <p:nvPr>
              <p:custDataLst>
                <p:tags r:id="rId156"/>
              </p:custDataLst>
            </p:nvPr>
          </p:nvSpPr>
          <p:spPr bwMode="gray">
            <a:xfrm>
              <a:off x="1514867" y="3001463"/>
              <a:ext cx="65456" cy="56530"/>
            </a:xfrm>
            <a:custGeom>
              <a:avLst/>
              <a:gdLst>
                <a:gd name="T0" fmla="*/ 5 w 68"/>
                <a:gd name="T1" fmla="*/ 4 h 58"/>
                <a:gd name="T2" fmla="*/ 14 w 68"/>
                <a:gd name="T3" fmla="*/ 15 h 58"/>
                <a:gd name="T4" fmla="*/ 23 w 68"/>
                <a:gd name="T5" fmla="*/ 31 h 58"/>
                <a:gd name="T6" fmla="*/ 33 w 68"/>
                <a:gd name="T7" fmla="*/ 36 h 58"/>
                <a:gd name="T8" fmla="*/ 60 w 68"/>
                <a:gd name="T9" fmla="*/ 51 h 58"/>
                <a:gd name="T10" fmla="*/ 68 w 68"/>
                <a:gd name="T11" fmla="*/ 43 h 58"/>
                <a:gd name="T12" fmla="*/ 51 w 68"/>
                <a:gd name="T13" fmla="*/ 33 h 58"/>
                <a:gd name="T14" fmla="*/ 39 w 68"/>
                <a:gd name="T15" fmla="*/ 24 h 58"/>
                <a:gd name="T16" fmla="*/ 38 w 68"/>
                <a:gd name="T17" fmla="*/ 16 h 58"/>
                <a:gd name="T18" fmla="*/ 5 w 68"/>
                <a:gd name="T19" fmla="*/ 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58">
                  <a:moveTo>
                    <a:pt x="5" y="4"/>
                  </a:moveTo>
                  <a:cubicBezTo>
                    <a:pt x="0" y="3"/>
                    <a:pt x="11" y="11"/>
                    <a:pt x="14" y="15"/>
                  </a:cubicBezTo>
                  <a:cubicBezTo>
                    <a:pt x="17" y="19"/>
                    <a:pt x="20" y="28"/>
                    <a:pt x="23" y="31"/>
                  </a:cubicBezTo>
                  <a:cubicBezTo>
                    <a:pt x="28" y="33"/>
                    <a:pt x="29" y="33"/>
                    <a:pt x="33" y="36"/>
                  </a:cubicBezTo>
                  <a:cubicBezTo>
                    <a:pt x="36" y="45"/>
                    <a:pt x="52" y="48"/>
                    <a:pt x="60" y="51"/>
                  </a:cubicBezTo>
                  <a:cubicBezTo>
                    <a:pt x="65" y="58"/>
                    <a:pt x="65" y="49"/>
                    <a:pt x="68" y="43"/>
                  </a:cubicBezTo>
                  <a:cubicBezTo>
                    <a:pt x="61" y="39"/>
                    <a:pt x="59" y="35"/>
                    <a:pt x="51" y="33"/>
                  </a:cubicBezTo>
                  <a:cubicBezTo>
                    <a:pt x="47" y="30"/>
                    <a:pt x="41" y="27"/>
                    <a:pt x="39" y="24"/>
                  </a:cubicBezTo>
                  <a:cubicBezTo>
                    <a:pt x="37" y="21"/>
                    <a:pt x="44" y="19"/>
                    <a:pt x="38" y="16"/>
                  </a:cubicBezTo>
                  <a:cubicBezTo>
                    <a:pt x="30" y="0"/>
                    <a:pt x="16" y="15"/>
                    <a:pt x="5" y="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94" name="Freeform 860"/>
            <p:cNvSpPr>
              <a:spLocks/>
            </p:cNvSpPr>
            <p:nvPr>
              <p:custDataLst>
                <p:tags r:id="rId157"/>
              </p:custDataLst>
            </p:nvPr>
          </p:nvSpPr>
          <p:spPr bwMode="gray">
            <a:xfrm>
              <a:off x="1685448" y="2865594"/>
              <a:ext cx="36695" cy="41654"/>
            </a:xfrm>
            <a:custGeom>
              <a:avLst/>
              <a:gdLst>
                <a:gd name="T0" fmla="*/ 15 w 69"/>
                <a:gd name="T1" fmla="*/ 0 h 43"/>
                <a:gd name="T2" fmla="*/ 22 w 69"/>
                <a:gd name="T3" fmla="*/ 12 h 43"/>
                <a:gd name="T4" fmla="*/ 16 w 69"/>
                <a:gd name="T5" fmla="*/ 27 h 43"/>
                <a:gd name="T6" fmla="*/ 0 w 69"/>
                <a:gd name="T7" fmla="*/ 28 h 43"/>
                <a:gd name="T8" fmla="*/ 7 w 69"/>
                <a:gd name="T9" fmla="*/ 37 h 43"/>
                <a:gd name="T10" fmla="*/ 31 w 69"/>
                <a:gd name="T11" fmla="*/ 34 h 43"/>
                <a:gd name="T12" fmla="*/ 46 w 69"/>
                <a:gd name="T13" fmla="*/ 43 h 43"/>
                <a:gd name="T14" fmla="*/ 69 w 69"/>
                <a:gd name="T15" fmla="*/ 37 h 43"/>
                <a:gd name="T16" fmla="*/ 54 w 69"/>
                <a:gd name="T17" fmla="*/ 16 h 43"/>
                <a:gd name="T18" fmla="*/ 60 w 69"/>
                <a:gd name="T19" fmla="*/ 1 h 43"/>
                <a:gd name="T20" fmla="*/ 40 w 69"/>
                <a:gd name="T21" fmla="*/ 4 h 43"/>
                <a:gd name="T22" fmla="*/ 25 w 69"/>
                <a:gd name="T23" fmla="*/ 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9" h="43">
                  <a:moveTo>
                    <a:pt x="15" y="0"/>
                  </a:moveTo>
                  <a:lnTo>
                    <a:pt x="22" y="12"/>
                  </a:lnTo>
                  <a:lnTo>
                    <a:pt x="16" y="27"/>
                  </a:lnTo>
                  <a:lnTo>
                    <a:pt x="0" y="28"/>
                  </a:lnTo>
                  <a:lnTo>
                    <a:pt x="7" y="37"/>
                  </a:lnTo>
                  <a:lnTo>
                    <a:pt x="31" y="34"/>
                  </a:lnTo>
                  <a:lnTo>
                    <a:pt x="46" y="43"/>
                  </a:lnTo>
                  <a:lnTo>
                    <a:pt x="69" y="37"/>
                  </a:lnTo>
                  <a:lnTo>
                    <a:pt x="54" y="16"/>
                  </a:lnTo>
                  <a:lnTo>
                    <a:pt x="60" y="1"/>
                  </a:lnTo>
                  <a:lnTo>
                    <a:pt x="40" y="4"/>
                  </a:lnTo>
                  <a:lnTo>
                    <a:pt x="25" y="4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95" name="Freeform 861"/>
            <p:cNvSpPr>
              <a:spLocks/>
            </p:cNvSpPr>
            <p:nvPr>
              <p:custDataLst>
                <p:tags r:id="rId158"/>
              </p:custDataLst>
            </p:nvPr>
          </p:nvSpPr>
          <p:spPr bwMode="gray">
            <a:xfrm>
              <a:off x="1780657" y="2890387"/>
              <a:ext cx="43637" cy="13885"/>
            </a:xfrm>
            <a:custGeom>
              <a:avLst/>
              <a:gdLst>
                <a:gd name="T0" fmla="*/ 0 w 45"/>
                <a:gd name="T1" fmla="*/ 8 h 15"/>
                <a:gd name="T2" fmla="*/ 24 w 45"/>
                <a:gd name="T3" fmla="*/ 8 h 15"/>
                <a:gd name="T4" fmla="*/ 43 w 45"/>
                <a:gd name="T5" fmla="*/ 0 h 15"/>
                <a:gd name="T6" fmla="*/ 45 w 45"/>
                <a:gd name="T7" fmla="*/ 14 h 15"/>
                <a:gd name="T8" fmla="*/ 21 w 45"/>
                <a:gd name="T9" fmla="*/ 15 h 15"/>
                <a:gd name="T10" fmla="*/ 0 w 45"/>
                <a:gd name="T11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15">
                  <a:moveTo>
                    <a:pt x="0" y="8"/>
                  </a:moveTo>
                  <a:lnTo>
                    <a:pt x="24" y="8"/>
                  </a:lnTo>
                  <a:lnTo>
                    <a:pt x="43" y="0"/>
                  </a:lnTo>
                  <a:lnTo>
                    <a:pt x="45" y="14"/>
                  </a:lnTo>
                  <a:lnTo>
                    <a:pt x="21" y="15"/>
                  </a:lnTo>
                  <a:lnTo>
                    <a:pt x="0" y="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96" name="Freeform 933"/>
            <p:cNvSpPr>
              <a:spLocks/>
            </p:cNvSpPr>
            <p:nvPr>
              <p:custDataLst>
                <p:tags r:id="rId159"/>
              </p:custDataLst>
            </p:nvPr>
          </p:nvSpPr>
          <p:spPr bwMode="gray">
            <a:xfrm>
              <a:off x="3099686" y="2987579"/>
              <a:ext cx="175540" cy="124961"/>
            </a:xfrm>
            <a:custGeom>
              <a:avLst/>
              <a:gdLst>
                <a:gd name="T0" fmla="*/ 177 w 177"/>
                <a:gd name="T1" fmla="*/ 113 h 126"/>
                <a:gd name="T2" fmla="*/ 151 w 177"/>
                <a:gd name="T3" fmla="*/ 111 h 126"/>
                <a:gd name="T4" fmla="*/ 142 w 177"/>
                <a:gd name="T5" fmla="*/ 117 h 126"/>
                <a:gd name="T6" fmla="*/ 134 w 177"/>
                <a:gd name="T7" fmla="*/ 123 h 126"/>
                <a:gd name="T8" fmla="*/ 127 w 177"/>
                <a:gd name="T9" fmla="*/ 122 h 126"/>
                <a:gd name="T10" fmla="*/ 113 w 177"/>
                <a:gd name="T11" fmla="*/ 122 h 126"/>
                <a:gd name="T12" fmla="*/ 110 w 177"/>
                <a:gd name="T13" fmla="*/ 126 h 126"/>
                <a:gd name="T14" fmla="*/ 94 w 177"/>
                <a:gd name="T15" fmla="*/ 125 h 126"/>
                <a:gd name="T16" fmla="*/ 87 w 177"/>
                <a:gd name="T17" fmla="*/ 118 h 126"/>
                <a:gd name="T18" fmla="*/ 74 w 177"/>
                <a:gd name="T19" fmla="*/ 113 h 126"/>
                <a:gd name="T20" fmla="*/ 63 w 177"/>
                <a:gd name="T21" fmla="*/ 115 h 126"/>
                <a:gd name="T22" fmla="*/ 50 w 177"/>
                <a:gd name="T23" fmla="*/ 107 h 126"/>
                <a:gd name="T24" fmla="*/ 49 w 177"/>
                <a:gd name="T25" fmla="*/ 105 h 126"/>
                <a:gd name="T26" fmla="*/ 45 w 177"/>
                <a:gd name="T27" fmla="*/ 102 h 126"/>
                <a:gd name="T28" fmla="*/ 32 w 177"/>
                <a:gd name="T29" fmla="*/ 87 h 126"/>
                <a:gd name="T30" fmla="*/ 29 w 177"/>
                <a:gd name="T31" fmla="*/ 81 h 126"/>
                <a:gd name="T32" fmla="*/ 18 w 177"/>
                <a:gd name="T33" fmla="*/ 73 h 126"/>
                <a:gd name="T34" fmla="*/ 12 w 177"/>
                <a:gd name="T35" fmla="*/ 63 h 126"/>
                <a:gd name="T36" fmla="*/ 3 w 177"/>
                <a:gd name="T37" fmla="*/ 59 h 126"/>
                <a:gd name="T38" fmla="*/ 0 w 177"/>
                <a:gd name="T39" fmla="*/ 57 h 126"/>
                <a:gd name="T40" fmla="*/ 4 w 177"/>
                <a:gd name="T41" fmla="*/ 49 h 126"/>
                <a:gd name="T42" fmla="*/ 9 w 177"/>
                <a:gd name="T43" fmla="*/ 35 h 126"/>
                <a:gd name="T44" fmla="*/ 13 w 177"/>
                <a:gd name="T45" fmla="*/ 30 h 126"/>
                <a:gd name="T46" fmla="*/ 25 w 177"/>
                <a:gd name="T47" fmla="*/ 28 h 126"/>
                <a:gd name="T48" fmla="*/ 35 w 177"/>
                <a:gd name="T49" fmla="*/ 37 h 126"/>
                <a:gd name="T50" fmla="*/ 44 w 177"/>
                <a:gd name="T51" fmla="*/ 38 h 126"/>
                <a:gd name="T52" fmla="*/ 59 w 177"/>
                <a:gd name="T53" fmla="*/ 42 h 126"/>
                <a:gd name="T54" fmla="*/ 69 w 177"/>
                <a:gd name="T55" fmla="*/ 41 h 126"/>
                <a:gd name="T56" fmla="*/ 70 w 177"/>
                <a:gd name="T57" fmla="*/ 39 h 126"/>
                <a:gd name="T58" fmla="*/ 81 w 177"/>
                <a:gd name="T59" fmla="*/ 31 h 126"/>
                <a:gd name="T60" fmla="*/ 87 w 177"/>
                <a:gd name="T61" fmla="*/ 27 h 126"/>
                <a:gd name="T62" fmla="*/ 101 w 177"/>
                <a:gd name="T63" fmla="*/ 37 h 126"/>
                <a:gd name="T64" fmla="*/ 107 w 177"/>
                <a:gd name="T65" fmla="*/ 37 h 126"/>
                <a:gd name="T66" fmla="*/ 116 w 177"/>
                <a:gd name="T67" fmla="*/ 26 h 126"/>
                <a:gd name="T68" fmla="*/ 123 w 177"/>
                <a:gd name="T69" fmla="*/ 20 h 126"/>
                <a:gd name="T70" fmla="*/ 124 w 177"/>
                <a:gd name="T71" fmla="*/ 8 h 126"/>
                <a:gd name="T72" fmla="*/ 119 w 177"/>
                <a:gd name="T73" fmla="*/ 4 h 126"/>
                <a:gd name="T74" fmla="*/ 130 w 177"/>
                <a:gd name="T75" fmla="*/ 0 h 126"/>
                <a:gd name="T76" fmla="*/ 134 w 177"/>
                <a:gd name="T77" fmla="*/ 15 h 126"/>
                <a:gd name="T78" fmla="*/ 141 w 177"/>
                <a:gd name="T79" fmla="*/ 25 h 126"/>
                <a:gd name="T80" fmla="*/ 147 w 177"/>
                <a:gd name="T81" fmla="*/ 41 h 126"/>
                <a:gd name="T82" fmla="*/ 144 w 177"/>
                <a:gd name="T83" fmla="*/ 54 h 126"/>
                <a:gd name="T84" fmla="*/ 136 w 177"/>
                <a:gd name="T85" fmla="*/ 56 h 126"/>
                <a:gd name="T86" fmla="*/ 132 w 177"/>
                <a:gd name="T87" fmla="*/ 63 h 126"/>
                <a:gd name="T88" fmla="*/ 140 w 177"/>
                <a:gd name="T89" fmla="*/ 66 h 126"/>
                <a:gd name="T90" fmla="*/ 153 w 177"/>
                <a:gd name="T91" fmla="*/ 80 h 126"/>
                <a:gd name="T92" fmla="*/ 159 w 177"/>
                <a:gd name="T93" fmla="*/ 85 h 126"/>
                <a:gd name="T94" fmla="*/ 164 w 177"/>
                <a:gd name="T95" fmla="*/ 98 h 126"/>
                <a:gd name="T96" fmla="*/ 166 w 177"/>
                <a:gd name="T97" fmla="*/ 101 h 126"/>
                <a:gd name="T98" fmla="*/ 177 w 177"/>
                <a:gd name="T99" fmla="*/ 11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77" h="126">
                  <a:moveTo>
                    <a:pt x="177" y="113"/>
                  </a:moveTo>
                  <a:lnTo>
                    <a:pt x="151" y="111"/>
                  </a:lnTo>
                  <a:cubicBezTo>
                    <a:pt x="148" y="114"/>
                    <a:pt x="145" y="115"/>
                    <a:pt x="142" y="117"/>
                  </a:cubicBezTo>
                  <a:cubicBezTo>
                    <a:pt x="141" y="121"/>
                    <a:pt x="137" y="122"/>
                    <a:pt x="134" y="123"/>
                  </a:cubicBezTo>
                  <a:cubicBezTo>
                    <a:pt x="131" y="121"/>
                    <a:pt x="130" y="122"/>
                    <a:pt x="127" y="122"/>
                  </a:cubicBezTo>
                  <a:cubicBezTo>
                    <a:pt x="124" y="122"/>
                    <a:pt x="116" y="121"/>
                    <a:pt x="113" y="122"/>
                  </a:cubicBezTo>
                  <a:cubicBezTo>
                    <a:pt x="111" y="122"/>
                    <a:pt x="110" y="123"/>
                    <a:pt x="110" y="126"/>
                  </a:cubicBezTo>
                  <a:cubicBezTo>
                    <a:pt x="107" y="126"/>
                    <a:pt x="98" y="126"/>
                    <a:pt x="94" y="125"/>
                  </a:cubicBezTo>
                  <a:cubicBezTo>
                    <a:pt x="94" y="123"/>
                    <a:pt x="89" y="118"/>
                    <a:pt x="87" y="118"/>
                  </a:cubicBezTo>
                  <a:cubicBezTo>
                    <a:pt x="84" y="116"/>
                    <a:pt x="76" y="114"/>
                    <a:pt x="74" y="113"/>
                  </a:cubicBezTo>
                  <a:cubicBezTo>
                    <a:pt x="70" y="112"/>
                    <a:pt x="66" y="115"/>
                    <a:pt x="63" y="115"/>
                  </a:cubicBezTo>
                  <a:cubicBezTo>
                    <a:pt x="59" y="114"/>
                    <a:pt x="52" y="109"/>
                    <a:pt x="50" y="107"/>
                  </a:cubicBezTo>
                  <a:cubicBezTo>
                    <a:pt x="50" y="106"/>
                    <a:pt x="50" y="106"/>
                    <a:pt x="49" y="105"/>
                  </a:cubicBezTo>
                  <a:cubicBezTo>
                    <a:pt x="48" y="105"/>
                    <a:pt x="47" y="104"/>
                    <a:pt x="45" y="102"/>
                  </a:cubicBezTo>
                  <a:cubicBezTo>
                    <a:pt x="42" y="99"/>
                    <a:pt x="35" y="90"/>
                    <a:pt x="32" y="87"/>
                  </a:cubicBezTo>
                  <a:cubicBezTo>
                    <a:pt x="30" y="84"/>
                    <a:pt x="33" y="81"/>
                    <a:pt x="29" y="81"/>
                  </a:cubicBezTo>
                  <a:cubicBezTo>
                    <a:pt x="27" y="79"/>
                    <a:pt x="20" y="75"/>
                    <a:pt x="18" y="73"/>
                  </a:cubicBezTo>
                  <a:cubicBezTo>
                    <a:pt x="15" y="70"/>
                    <a:pt x="14" y="65"/>
                    <a:pt x="12" y="63"/>
                  </a:cubicBezTo>
                  <a:cubicBezTo>
                    <a:pt x="7" y="61"/>
                    <a:pt x="9" y="60"/>
                    <a:pt x="3" y="59"/>
                  </a:cubicBezTo>
                  <a:cubicBezTo>
                    <a:pt x="2" y="58"/>
                    <a:pt x="0" y="59"/>
                    <a:pt x="0" y="57"/>
                  </a:cubicBezTo>
                  <a:cubicBezTo>
                    <a:pt x="0" y="53"/>
                    <a:pt x="1" y="50"/>
                    <a:pt x="4" y="49"/>
                  </a:cubicBezTo>
                  <a:cubicBezTo>
                    <a:pt x="6" y="45"/>
                    <a:pt x="8" y="38"/>
                    <a:pt x="9" y="35"/>
                  </a:cubicBezTo>
                  <a:cubicBezTo>
                    <a:pt x="10" y="32"/>
                    <a:pt x="11" y="32"/>
                    <a:pt x="13" y="30"/>
                  </a:cubicBezTo>
                  <a:cubicBezTo>
                    <a:pt x="16" y="26"/>
                    <a:pt x="18" y="28"/>
                    <a:pt x="25" y="28"/>
                  </a:cubicBezTo>
                  <a:cubicBezTo>
                    <a:pt x="29" y="29"/>
                    <a:pt x="32" y="35"/>
                    <a:pt x="35" y="37"/>
                  </a:cubicBezTo>
                  <a:cubicBezTo>
                    <a:pt x="35" y="42"/>
                    <a:pt x="39" y="39"/>
                    <a:pt x="44" y="38"/>
                  </a:cubicBezTo>
                  <a:cubicBezTo>
                    <a:pt x="48" y="39"/>
                    <a:pt x="55" y="42"/>
                    <a:pt x="59" y="42"/>
                  </a:cubicBezTo>
                  <a:cubicBezTo>
                    <a:pt x="62" y="42"/>
                    <a:pt x="66" y="43"/>
                    <a:pt x="69" y="41"/>
                  </a:cubicBezTo>
                  <a:cubicBezTo>
                    <a:pt x="70" y="40"/>
                    <a:pt x="69" y="39"/>
                    <a:pt x="70" y="39"/>
                  </a:cubicBezTo>
                  <a:cubicBezTo>
                    <a:pt x="72" y="37"/>
                    <a:pt x="78" y="33"/>
                    <a:pt x="81" y="31"/>
                  </a:cubicBezTo>
                  <a:cubicBezTo>
                    <a:pt x="83" y="30"/>
                    <a:pt x="87" y="27"/>
                    <a:pt x="87" y="27"/>
                  </a:cubicBezTo>
                  <a:lnTo>
                    <a:pt x="101" y="37"/>
                  </a:lnTo>
                  <a:lnTo>
                    <a:pt x="107" y="37"/>
                  </a:lnTo>
                  <a:lnTo>
                    <a:pt x="116" y="26"/>
                  </a:lnTo>
                  <a:lnTo>
                    <a:pt x="123" y="20"/>
                  </a:lnTo>
                  <a:lnTo>
                    <a:pt x="124" y="8"/>
                  </a:lnTo>
                  <a:lnTo>
                    <a:pt x="119" y="4"/>
                  </a:lnTo>
                  <a:cubicBezTo>
                    <a:pt x="129" y="4"/>
                    <a:pt x="129" y="6"/>
                    <a:pt x="130" y="0"/>
                  </a:cubicBezTo>
                  <a:cubicBezTo>
                    <a:pt x="136" y="1"/>
                    <a:pt x="132" y="10"/>
                    <a:pt x="134" y="15"/>
                  </a:cubicBezTo>
                  <a:cubicBezTo>
                    <a:pt x="135" y="20"/>
                    <a:pt x="135" y="24"/>
                    <a:pt x="141" y="25"/>
                  </a:cubicBezTo>
                  <a:cubicBezTo>
                    <a:pt x="143" y="29"/>
                    <a:pt x="147" y="36"/>
                    <a:pt x="147" y="41"/>
                  </a:cubicBezTo>
                  <a:cubicBezTo>
                    <a:pt x="147" y="48"/>
                    <a:pt x="151" y="53"/>
                    <a:pt x="144" y="54"/>
                  </a:cubicBezTo>
                  <a:cubicBezTo>
                    <a:pt x="142" y="58"/>
                    <a:pt x="140" y="56"/>
                    <a:pt x="136" y="56"/>
                  </a:cubicBezTo>
                  <a:cubicBezTo>
                    <a:pt x="132" y="57"/>
                    <a:pt x="132" y="59"/>
                    <a:pt x="132" y="63"/>
                  </a:cubicBezTo>
                  <a:cubicBezTo>
                    <a:pt x="133" y="69"/>
                    <a:pt x="131" y="66"/>
                    <a:pt x="140" y="66"/>
                  </a:cubicBezTo>
                  <a:cubicBezTo>
                    <a:pt x="143" y="69"/>
                    <a:pt x="150" y="77"/>
                    <a:pt x="153" y="80"/>
                  </a:cubicBezTo>
                  <a:cubicBezTo>
                    <a:pt x="154" y="82"/>
                    <a:pt x="157" y="82"/>
                    <a:pt x="159" y="85"/>
                  </a:cubicBezTo>
                  <a:cubicBezTo>
                    <a:pt x="161" y="88"/>
                    <a:pt x="163" y="95"/>
                    <a:pt x="164" y="98"/>
                  </a:cubicBezTo>
                  <a:cubicBezTo>
                    <a:pt x="164" y="99"/>
                    <a:pt x="164" y="101"/>
                    <a:pt x="166" y="101"/>
                  </a:cubicBezTo>
                  <a:cubicBezTo>
                    <a:pt x="175" y="102"/>
                    <a:pt x="177" y="113"/>
                    <a:pt x="177" y="11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197" name="Freeform 14"/>
            <p:cNvSpPr>
              <a:spLocks noEditPoints="1"/>
            </p:cNvSpPr>
            <p:nvPr/>
          </p:nvSpPr>
          <p:spPr bwMode="auto">
            <a:xfrm>
              <a:off x="717028" y="853984"/>
              <a:ext cx="1309112" cy="1664159"/>
            </a:xfrm>
            <a:custGeom>
              <a:avLst/>
              <a:gdLst>
                <a:gd name="T0" fmla="*/ 1268 w 1320"/>
                <a:gd name="T1" fmla="*/ 1494 h 1678"/>
                <a:gd name="T2" fmla="*/ 1194 w 1320"/>
                <a:gd name="T3" fmla="*/ 1358 h 1678"/>
                <a:gd name="T4" fmla="*/ 1068 w 1320"/>
                <a:gd name="T5" fmla="*/ 1274 h 1678"/>
                <a:gd name="T6" fmla="*/ 932 w 1320"/>
                <a:gd name="T7" fmla="*/ 1280 h 1678"/>
                <a:gd name="T8" fmla="*/ 750 w 1320"/>
                <a:gd name="T9" fmla="*/ 1316 h 1678"/>
                <a:gd name="T10" fmla="*/ 804 w 1320"/>
                <a:gd name="T11" fmla="*/ 1072 h 1678"/>
                <a:gd name="T12" fmla="*/ 862 w 1320"/>
                <a:gd name="T13" fmla="*/ 1064 h 1678"/>
                <a:gd name="T14" fmla="*/ 924 w 1320"/>
                <a:gd name="T15" fmla="*/ 870 h 1678"/>
                <a:gd name="T16" fmla="*/ 928 w 1320"/>
                <a:gd name="T17" fmla="*/ 1092 h 1678"/>
                <a:gd name="T18" fmla="*/ 1106 w 1320"/>
                <a:gd name="T19" fmla="*/ 1168 h 1678"/>
                <a:gd name="T20" fmla="*/ 1150 w 1320"/>
                <a:gd name="T21" fmla="*/ 1014 h 1678"/>
                <a:gd name="T22" fmla="*/ 998 w 1320"/>
                <a:gd name="T23" fmla="*/ 852 h 1678"/>
                <a:gd name="T24" fmla="*/ 904 w 1320"/>
                <a:gd name="T25" fmla="*/ 790 h 1678"/>
                <a:gd name="T26" fmla="*/ 820 w 1320"/>
                <a:gd name="T27" fmla="*/ 706 h 1678"/>
                <a:gd name="T28" fmla="*/ 796 w 1320"/>
                <a:gd name="T29" fmla="*/ 954 h 1678"/>
                <a:gd name="T30" fmla="*/ 678 w 1320"/>
                <a:gd name="T31" fmla="*/ 976 h 1678"/>
                <a:gd name="T32" fmla="*/ 468 w 1320"/>
                <a:gd name="T33" fmla="*/ 984 h 1678"/>
                <a:gd name="T34" fmla="*/ 538 w 1320"/>
                <a:gd name="T35" fmla="*/ 938 h 1678"/>
                <a:gd name="T36" fmla="*/ 496 w 1320"/>
                <a:gd name="T37" fmla="*/ 798 h 1678"/>
                <a:gd name="T38" fmla="*/ 342 w 1320"/>
                <a:gd name="T39" fmla="*/ 690 h 1678"/>
                <a:gd name="T40" fmla="*/ 270 w 1320"/>
                <a:gd name="T41" fmla="*/ 848 h 1678"/>
                <a:gd name="T42" fmla="*/ 332 w 1320"/>
                <a:gd name="T43" fmla="*/ 862 h 1678"/>
                <a:gd name="T44" fmla="*/ 272 w 1320"/>
                <a:gd name="T45" fmla="*/ 900 h 1678"/>
                <a:gd name="T46" fmla="*/ 128 w 1320"/>
                <a:gd name="T47" fmla="*/ 920 h 1678"/>
                <a:gd name="T48" fmla="*/ 30 w 1320"/>
                <a:gd name="T49" fmla="*/ 1270 h 1678"/>
                <a:gd name="T50" fmla="*/ 788 w 1320"/>
                <a:gd name="T51" fmla="*/ 1534 h 1678"/>
                <a:gd name="T52" fmla="*/ 854 w 1320"/>
                <a:gd name="T53" fmla="*/ 1672 h 1678"/>
                <a:gd name="T54" fmla="*/ 1114 w 1320"/>
                <a:gd name="T55" fmla="*/ 1602 h 1678"/>
                <a:gd name="T56" fmla="*/ 1114 w 1320"/>
                <a:gd name="T57" fmla="*/ 1534 h 1678"/>
                <a:gd name="T58" fmla="*/ 1238 w 1320"/>
                <a:gd name="T59" fmla="*/ 1462 h 1678"/>
                <a:gd name="T60" fmla="*/ 770 w 1320"/>
                <a:gd name="T61" fmla="*/ 1060 h 1678"/>
                <a:gd name="T62" fmla="*/ 662 w 1320"/>
                <a:gd name="T63" fmla="*/ 824 h 1678"/>
                <a:gd name="T64" fmla="*/ 616 w 1320"/>
                <a:gd name="T65" fmla="*/ 826 h 1678"/>
                <a:gd name="T66" fmla="*/ 706 w 1320"/>
                <a:gd name="T67" fmla="*/ 774 h 1678"/>
                <a:gd name="T68" fmla="*/ 984 w 1320"/>
                <a:gd name="T69" fmla="*/ 972 h 1678"/>
                <a:gd name="T70" fmla="*/ 900 w 1320"/>
                <a:gd name="T71" fmla="*/ 1196 h 1678"/>
                <a:gd name="T72" fmla="*/ 320 w 1320"/>
                <a:gd name="T73" fmla="*/ 600 h 1678"/>
                <a:gd name="T74" fmla="*/ 320 w 1320"/>
                <a:gd name="T75" fmla="*/ 516 h 1678"/>
                <a:gd name="T76" fmla="*/ 400 w 1320"/>
                <a:gd name="T77" fmla="*/ 482 h 1678"/>
                <a:gd name="T78" fmla="*/ 412 w 1320"/>
                <a:gd name="T79" fmla="*/ 472 h 1678"/>
                <a:gd name="T80" fmla="*/ 370 w 1320"/>
                <a:gd name="T81" fmla="*/ 486 h 1678"/>
                <a:gd name="T82" fmla="*/ 406 w 1320"/>
                <a:gd name="T83" fmla="*/ 572 h 1678"/>
                <a:gd name="T84" fmla="*/ 400 w 1320"/>
                <a:gd name="T85" fmla="*/ 666 h 1678"/>
                <a:gd name="T86" fmla="*/ 538 w 1320"/>
                <a:gd name="T87" fmla="*/ 646 h 1678"/>
                <a:gd name="T88" fmla="*/ 536 w 1320"/>
                <a:gd name="T89" fmla="*/ 428 h 1678"/>
                <a:gd name="T90" fmla="*/ 580 w 1320"/>
                <a:gd name="T91" fmla="*/ 388 h 1678"/>
                <a:gd name="T92" fmla="*/ 638 w 1320"/>
                <a:gd name="T93" fmla="*/ 436 h 1678"/>
                <a:gd name="T94" fmla="*/ 706 w 1320"/>
                <a:gd name="T95" fmla="*/ 500 h 1678"/>
                <a:gd name="T96" fmla="*/ 674 w 1320"/>
                <a:gd name="T97" fmla="*/ 354 h 1678"/>
                <a:gd name="T98" fmla="*/ 828 w 1320"/>
                <a:gd name="T99" fmla="*/ 480 h 1678"/>
                <a:gd name="T100" fmla="*/ 558 w 1320"/>
                <a:gd name="T101" fmla="*/ 552 h 1678"/>
                <a:gd name="T102" fmla="*/ 704 w 1320"/>
                <a:gd name="T103" fmla="*/ 626 h 1678"/>
                <a:gd name="T104" fmla="*/ 916 w 1320"/>
                <a:gd name="T105" fmla="*/ 640 h 1678"/>
                <a:gd name="T106" fmla="*/ 914 w 1320"/>
                <a:gd name="T107" fmla="*/ 570 h 1678"/>
                <a:gd name="T108" fmla="*/ 966 w 1320"/>
                <a:gd name="T109" fmla="*/ 372 h 1678"/>
                <a:gd name="T110" fmla="*/ 1184 w 1320"/>
                <a:gd name="T111" fmla="*/ 102 h 1678"/>
                <a:gd name="T112" fmla="*/ 1022 w 1320"/>
                <a:gd name="T113" fmla="*/ 8 h 1678"/>
                <a:gd name="T114" fmla="*/ 870 w 1320"/>
                <a:gd name="T115" fmla="*/ 84 h 1678"/>
                <a:gd name="T116" fmla="*/ 776 w 1320"/>
                <a:gd name="T117" fmla="*/ 132 h 1678"/>
                <a:gd name="T118" fmla="*/ 770 w 1320"/>
                <a:gd name="T119" fmla="*/ 226 h 1678"/>
                <a:gd name="T120" fmla="*/ 928 w 1320"/>
                <a:gd name="T121" fmla="*/ 212 h 1678"/>
                <a:gd name="T122" fmla="*/ 870 w 1320"/>
                <a:gd name="T123" fmla="*/ 318 h 1678"/>
                <a:gd name="T124" fmla="*/ 660 w 1320"/>
                <a:gd name="T125" fmla="*/ 294 h 1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20" h="1678">
                  <a:moveTo>
                    <a:pt x="296" y="1552"/>
                  </a:moveTo>
                  <a:lnTo>
                    <a:pt x="294" y="1546"/>
                  </a:lnTo>
                  <a:lnTo>
                    <a:pt x="292" y="1542"/>
                  </a:lnTo>
                  <a:lnTo>
                    <a:pt x="288" y="1538"/>
                  </a:lnTo>
                  <a:lnTo>
                    <a:pt x="286" y="1534"/>
                  </a:lnTo>
                  <a:lnTo>
                    <a:pt x="282" y="1532"/>
                  </a:lnTo>
                  <a:lnTo>
                    <a:pt x="276" y="1526"/>
                  </a:lnTo>
                  <a:lnTo>
                    <a:pt x="270" y="1520"/>
                  </a:lnTo>
                  <a:lnTo>
                    <a:pt x="266" y="1516"/>
                  </a:lnTo>
                  <a:lnTo>
                    <a:pt x="262" y="1512"/>
                  </a:lnTo>
                  <a:lnTo>
                    <a:pt x="260" y="1508"/>
                  </a:lnTo>
                  <a:lnTo>
                    <a:pt x="260" y="1506"/>
                  </a:lnTo>
                  <a:lnTo>
                    <a:pt x="258" y="1502"/>
                  </a:lnTo>
                  <a:lnTo>
                    <a:pt x="258" y="1500"/>
                  </a:lnTo>
                  <a:lnTo>
                    <a:pt x="258" y="1498"/>
                  </a:lnTo>
                  <a:lnTo>
                    <a:pt x="258" y="1496"/>
                  </a:lnTo>
                  <a:lnTo>
                    <a:pt x="258" y="1496"/>
                  </a:lnTo>
                  <a:lnTo>
                    <a:pt x="258" y="1494"/>
                  </a:lnTo>
                  <a:lnTo>
                    <a:pt x="256" y="1492"/>
                  </a:lnTo>
                  <a:lnTo>
                    <a:pt x="250" y="1492"/>
                  </a:lnTo>
                  <a:lnTo>
                    <a:pt x="246" y="1490"/>
                  </a:lnTo>
                  <a:lnTo>
                    <a:pt x="242" y="1488"/>
                  </a:lnTo>
                  <a:lnTo>
                    <a:pt x="238" y="1486"/>
                  </a:lnTo>
                  <a:lnTo>
                    <a:pt x="232" y="1482"/>
                  </a:lnTo>
                  <a:lnTo>
                    <a:pt x="226" y="1478"/>
                  </a:lnTo>
                  <a:lnTo>
                    <a:pt x="218" y="1474"/>
                  </a:lnTo>
                  <a:lnTo>
                    <a:pt x="214" y="1472"/>
                  </a:lnTo>
                  <a:lnTo>
                    <a:pt x="212" y="1470"/>
                  </a:lnTo>
                  <a:lnTo>
                    <a:pt x="206" y="1470"/>
                  </a:lnTo>
                  <a:lnTo>
                    <a:pt x="202" y="1468"/>
                  </a:lnTo>
                  <a:lnTo>
                    <a:pt x="196" y="1468"/>
                  </a:lnTo>
                  <a:lnTo>
                    <a:pt x="190" y="1468"/>
                  </a:lnTo>
                  <a:lnTo>
                    <a:pt x="190" y="1472"/>
                  </a:lnTo>
                  <a:lnTo>
                    <a:pt x="190" y="1472"/>
                  </a:lnTo>
                  <a:lnTo>
                    <a:pt x="190" y="1472"/>
                  </a:lnTo>
                  <a:lnTo>
                    <a:pt x="190" y="1472"/>
                  </a:lnTo>
                  <a:lnTo>
                    <a:pt x="190" y="1472"/>
                  </a:lnTo>
                  <a:lnTo>
                    <a:pt x="188" y="1470"/>
                  </a:lnTo>
                  <a:lnTo>
                    <a:pt x="188" y="1472"/>
                  </a:lnTo>
                  <a:lnTo>
                    <a:pt x="188" y="1472"/>
                  </a:lnTo>
                  <a:lnTo>
                    <a:pt x="186" y="1472"/>
                  </a:lnTo>
                  <a:lnTo>
                    <a:pt x="186" y="1474"/>
                  </a:lnTo>
                  <a:lnTo>
                    <a:pt x="186" y="1474"/>
                  </a:lnTo>
                  <a:lnTo>
                    <a:pt x="186" y="1474"/>
                  </a:lnTo>
                  <a:lnTo>
                    <a:pt x="188" y="1476"/>
                  </a:lnTo>
                  <a:lnTo>
                    <a:pt x="190" y="1480"/>
                  </a:lnTo>
                  <a:lnTo>
                    <a:pt x="190" y="1484"/>
                  </a:lnTo>
                  <a:lnTo>
                    <a:pt x="194" y="1488"/>
                  </a:lnTo>
                  <a:lnTo>
                    <a:pt x="196" y="1490"/>
                  </a:lnTo>
                  <a:lnTo>
                    <a:pt x="200" y="1494"/>
                  </a:lnTo>
                  <a:lnTo>
                    <a:pt x="206" y="1498"/>
                  </a:lnTo>
                  <a:lnTo>
                    <a:pt x="212" y="1502"/>
                  </a:lnTo>
                  <a:lnTo>
                    <a:pt x="216" y="1506"/>
                  </a:lnTo>
                  <a:lnTo>
                    <a:pt x="220" y="1510"/>
                  </a:lnTo>
                  <a:lnTo>
                    <a:pt x="222" y="1512"/>
                  </a:lnTo>
                  <a:lnTo>
                    <a:pt x="222" y="1516"/>
                  </a:lnTo>
                  <a:lnTo>
                    <a:pt x="222" y="1518"/>
                  </a:lnTo>
                  <a:lnTo>
                    <a:pt x="224" y="1520"/>
                  </a:lnTo>
                  <a:lnTo>
                    <a:pt x="224" y="1522"/>
                  </a:lnTo>
                  <a:lnTo>
                    <a:pt x="224" y="1524"/>
                  </a:lnTo>
                  <a:lnTo>
                    <a:pt x="224" y="1524"/>
                  </a:lnTo>
                  <a:lnTo>
                    <a:pt x="224" y="1526"/>
                  </a:lnTo>
                  <a:lnTo>
                    <a:pt x="224" y="1526"/>
                  </a:lnTo>
                  <a:lnTo>
                    <a:pt x="228" y="1526"/>
                  </a:lnTo>
                  <a:lnTo>
                    <a:pt x="232" y="1526"/>
                  </a:lnTo>
                  <a:lnTo>
                    <a:pt x="236" y="1526"/>
                  </a:lnTo>
                  <a:lnTo>
                    <a:pt x="236" y="1524"/>
                  </a:lnTo>
                  <a:lnTo>
                    <a:pt x="236" y="1524"/>
                  </a:lnTo>
                  <a:lnTo>
                    <a:pt x="238" y="1526"/>
                  </a:lnTo>
                  <a:lnTo>
                    <a:pt x="238" y="1526"/>
                  </a:lnTo>
                  <a:lnTo>
                    <a:pt x="242" y="1534"/>
                  </a:lnTo>
                  <a:lnTo>
                    <a:pt x="248" y="1540"/>
                  </a:lnTo>
                  <a:lnTo>
                    <a:pt x="254" y="1548"/>
                  </a:lnTo>
                  <a:lnTo>
                    <a:pt x="254" y="1548"/>
                  </a:lnTo>
                  <a:lnTo>
                    <a:pt x="254" y="1548"/>
                  </a:lnTo>
                  <a:lnTo>
                    <a:pt x="260" y="1552"/>
                  </a:lnTo>
                  <a:lnTo>
                    <a:pt x="260" y="1552"/>
                  </a:lnTo>
                  <a:lnTo>
                    <a:pt x="262" y="1552"/>
                  </a:lnTo>
                  <a:lnTo>
                    <a:pt x="268" y="1556"/>
                  </a:lnTo>
                  <a:lnTo>
                    <a:pt x="268" y="1556"/>
                  </a:lnTo>
                  <a:lnTo>
                    <a:pt x="268" y="1556"/>
                  </a:lnTo>
                  <a:lnTo>
                    <a:pt x="276" y="1560"/>
                  </a:lnTo>
                  <a:lnTo>
                    <a:pt x="276" y="1560"/>
                  </a:lnTo>
                  <a:lnTo>
                    <a:pt x="278" y="1560"/>
                  </a:lnTo>
                  <a:lnTo>
                    <a:pt x="286" y="1560"/>
                  </a:lnTo>
                  <a:lnTo>
                    <a:pt x="286" y="1560"/>
                  </a:lnTo>
                  <a:lnTo>
                    <a:pt x="296" y="1560"/>
                  </a:lnTo>
                  <a:lnTo>
                    <a:pt x="296" y="1560"/>
                  </a:lnTo>
                  <a:lnTo>
                    <a:pt x="298" y="1560"/>
                  </a:lnTo>
                  <a:lnTo>
                    <a:pt x="298" y="1560"/>
                  </a:lnTo>
                  <a:lnTo>
                    <a:pt x="298" y="1556"/>
                  </a:lnTo>
                  <a:lnTo>
                    <a:pt x="296" y="1552"/>
                  </a:lnTo>
                  <a:close/>
                  <a:moveTo>
                    <a:pt x="1320" y="1556"/>
                  </a:moveTo>
                  <a:lnTo>
                    <a:pt x="1318" y="1554"/>
                  </a:lnTo>
                  <a:lnTo>
                    <a:pt x="1318" y="1552"/>
                  </a:lnTo>
                  <a:lnTo>
                    <a:pt x="1316" y="1548"/>
                  </a:lnTo>
                  <a:lnTo>
                    <a:pt x="1316" y="1546"/>
                  </a:lnTo>
                  <a:lnTo>
                    <a:pt x="1316" y="1546"/>
                  </a:lnTo>
                  <a:lnTo>
                    <a:pt x="1316" y="1546"/>
                  </a:lnTo>
                  <a:lnTo>
                    <a:pt x="1316" y="1544"/>
                  </a:lnTo>
                  <a:lnTo>
                    <a:pt x="1316" y="1544"/>
                  </a:lnTo>
                  <a:lnTo>
                    <a:pt x="1314" y="1544"/>
                  </a:lnTo>
                  <a:lnTo>
                    <a:pt x="1314" y="1542"/>
                  </a:lnTo>
                  <a:lnTo>
                    <a:pt x="1314" y="1542"/>
                  </a:lnTo>
                  <a:lnTo>
                    <a:pt x="1312" y="1542"/>
                  </a:lnTo>
                  <a:lnTo>
                    <a:pt x="1312" y="1540"/>
                  </a:lnTo>
                  <a:lnTo>
                    <a:pt x="1312" y="1538"/>
                  </a:lnTo>
                  <a:lnTo>
                    <a:pt x="1314" y="1536"/>
                  </a:lnTo>
                  <a:lnTo>
                    <a:pt x="1314" y="1532"/>
                  </a:lnTo>
                  <a:lnTo>
                    <a:pt x="1314" y="1532"/>
                  </a:lnTo>
                  <a:lnTo>
                    <a:pt x="1314" y="1530"/>
                  </a:lnTo>
                  <a:lnTo>
                    <a:pt x="1314" y="1530"/>
                  </a:lnTo>
                  <a:lnTo>
                    <a:pt x="1314" y="1528"/>
                  </a:lnTo>
                  <a:lnTo>
                    <a:pt x="1314" y="1526"/>
                  </a:lnTo>
                  <a:lnTo>
                    <a:pt x="1314" y="1526"/>
                  </a:lnTo>
                  <a:lnTo>
                    <a:pt x="1312" y="1526"/>
                  </a:lnTo>
                  <a:lnTo>
                    <a:pt x="1310" y="1524"/>
                  </a:lnTo>
                  <a:lnTo>
                    <a:pt x="1310" y="1524"/>
                  </a:lnTo>
                  <a:lnTo>
                    <a:pt x="1310" y="1524"/>
                  </a:lnTo>
                  <a:lnTo>
                    <a:pt x="1308" y="1522"/>
                  </a:lnTo>
                  <a:lnTo>
                    <a:pt x="1308" y="1522"/>
                  </a:lnTo>
                  <a:lnTo>
                    <a:pt x="1306" y="1522"/>
                  </a:lnTo>
                  <a:lnTo>
                    <a:pt x="1304" y="1522"/>
                  </a:lnTo>
                  <a:lnTo>
                    <a:pt x="1304" y="1522"/>
                  </a:lnTo>
                  <a:lnTo>
                    <a:pt x="1304" y="1520"/>
                  </a:lnTo>
                  <a:lnTo>
                    <a:pt x="1302" y="1518"/>
                  </a:lnTo>
                  <a:lnTo>
                    <a:pt x="1302" y="1512"/>
                  </a:lnTo>
                  <a:lnTo>
                    <a:pt x="1302" y="1512"/>
                  </a:lnTo>
                  <a:lnTo>
                    <a:pt x="1300" y="1512"/>
                  </a:lnTo>
                  <a:lnTo>
                    <a:pt x="1300" y="1510"/>
                  </a:lnTo>
                  <a:lnTo>
                    <a:pt x="1300" y="1510"/>
                  </a:lnTo>
                  <a:lnTo>
                    <a:pt x="1300" y="1510"/>
                  </a:lnTo>
                  <a:lnTo>
                    <a:pt x="1298" y="1508"/>
                  </a:lnTo>
                  <a:lnTo>
                    <a:pt x="1298" y="1508"/>
                  </a:lnTo>
                  <a:lnTo>
                    <a:pt x="1298" y="1506"/>
                  </a:lnTo>
                  <a:lnTo>
                    <a:pt x="1296" y="1504"/>
                  </a:lnTo>
                  <a:lnTo>
                    <a:pt x="1296" y="1504"/>
                  </a:lnTo>
                  <a:lnTo>
                    <a:pt x="1296" y="1504"/>
                  </a:lnTo>
                  <a:lnTo>
                    <a:pt x="1292" y="1502"/>
                  </a:lnTo>
                  <a:lnTo>
                    <a:pt x="1292" y="1502"/>
                  </a:lnTo>
                  <a:lnTo>
                    <a:pt x="1290" y="1502"/>
                  </a:lnTo>
                  <a:lnTo>
                    <a:pt x="1286" y="1504"/>
                  </a:lnTo>
                  <a:lnTo>
                    <a:pt x="1282" y="1504"/>
                  </a:lnTo>
                  <a:lnTo>
                    <a:pt x="1278" y="1504"/>
                  </a:lnTo>
                  <a:lnTo>
                    <a:pt x="1276" y="1504"/>
                  </a:lnTo>
                  <a:lnTo>
                    <a:pt x="1276" y="1504"/>
                  </a:lnTo>
                  <a:lnTo>
                    <a:pt x="1274" y="1502"/>
                  </a:lnTo>
                  <a:lnTo>
                    <a:pt x="1274" y="1502"/>
                  </a:lnTo>
                  <a:lnTo>
                    <a:pt x="1274" y="1500"/>
                  </a:lnTo>
                  <a:lnTo>
                    <a:pt x="1274" y="1500"/>
                  </a:lnTo>
                  <a:lnTo>
                    <a:pt x="1274" y="1500"/>
                  </a:lnTo>
                  <a:lnTo>
                    <a:pt x="1272" y="1498"/>
                  </a:lnTo>
                  <a:lnTo>
                    <a:pt x="1272" y="1498"/>
                  </a:lnTo>
                  <a:lnTo>
                    <a:pt x="1272" y="1498"/>
                  </a:lnTo>
                  <a:lnTo>
                    <a:pt x="1272" y="1496"/>
                  </a:lnTo>
                  <a:lnTo>
                    <a:pt x="1268" y="1494"/>
                  </a:lnTo>
                  <a:lnTo>
                    <a:pt x="1266" y="1494"/>
                  </a:lnTo>
                  <a:lnTo>
                    <a:pt x="1266" y="1494"/>
                  </a:lnTo>
                  <a:lnTo>
                    <a:pt x="1264" y="1492"/>
                  </a:lnTo>
                  <a:lnTo>
                    <a:pt x="1264" y="1492"/>
                  </a:lnTo>
                  <a:lnTo>
                    <a:pt x="1264" y="1490"/>
                  </a:lnTo>
                  <a:lnTo>
                    <a:pt x="1264" y="1490"/>
                  </a:lnTo>
                  <a:lnTo>
                    <a:pt x="1264" y="1490"/>
                  </a:lnTo>
                  <a:lnTo>
                    <a:pt x="1262" y="1488"/>
                  </a:lnTo>
                  <a:lnTo>
                    <a:pt x="1262" y="1488"/>
                  </a:lnTo>
                  <a:lnTo>
                    <a:pt x="1262" y="1488"/>
                  </a:lnTo>
                  <a:lnTo>
                    <a:pt x="1264" y="1488"/>
                  </a:lnTo>
                  <a:lnTo>
                    <a:pt x="1268" y="1486"/>
                  </a:lnTo>
                  <a:lnTo>
                    <a:pt x="1270" y="1486"/>
                  </a:lnTo>
                  <a:lnTo>
                    <a:pt x="1270" y="1486"/>
                  </a:lnTo>
                  <a:lnTo>
                    <a:pt x="1270" y="1486"/>
                  </a:lnTo>
                  <a:lnTo>
                    <a:pt x="1272" y="1484"/>
                  </a:lnTo>
                  <a:lnTo>
                    <a:pt x="1274" y="1482"/>
                  </a:lnTo>
                  <a:lnTo>
                    <a:pt x="1274" y="1478"/>
                  </a:lnTo>
                  <a:lnTo>
                    <a:pt x="1276" y="1474"/>
                  </a:lnTo>
                  <a:lnTo>
                    <a:pt x="1276" y="1468"/>
                  </a:lnTo>
                  <a:lnTo>
                    <a:pt x="1276" y="1466"/>
                  </a:lnTo>
                  <a:lnTo>
                    <a:pt x="1278" y="1464"/>
                  </a:lnTo>
                  <a:lnTo>
                    <a:pt x="1278" y="1464"/>
                  </a:lnTo>
                  <a:lnTo>
                    <a:pt x="1278" y="1462"/>
                  </a:lnTo>
                  <a:lnTo>
                    <a:pt x="1278" y="1458"/>
                  </a:lnTo>
                  <a:lnTo>
                    <a:pt x="1276" y="1456"/>
                  </a:lnTo>
                  <a:lnTo>
                    <a:pt x="1276" y="1452"/>
                  </a:lnTo>
                  <a:lnTo>
                    <a:pt x="1276" y="1450"/>
                  </a:lnTo>
                  <a:lnTo>
                    <a:pt x="1274" y="1450"/>
                  </a:lnTo>
                  <a:lnTo>
                    <a:pt x="1274" y="1450"/>
                  </a:lnTo>
                  <a:lnTo>
                    <a:pt x="1274" y="1448"/>
                  </a:lnTo>
                  <a:lnTo>
                    <a:pt x="1274" y="1448"/>
                  </a:lnTo>
                  <a:lnTo>
                    <a:pt x="1274" y="1448"/>
                  </a:lnTo>
                  <a:lnTo>
                    <a:pt x="1274" y="1448"/>
                  </a:lnTo>
                  <a:lnTo>
                    <a:pt x="1272" y="1446"/>
                  </a:lnTo>
                  <a:lnTo>
                    <a:pt x="1272" y="1446"/>
                  </a:lnTo>
                  <a:lnTo>
                    <a:pt x="1272" y="1446"/>
                  </a:lnTo>
                  <a:lnTo>
                    <a:pt x="1270" y="1444"/>
                  </a:lnTo>
                  <a:lnTo>
                    <a:pt x="1270" y="1444"/>
                  </a:lnTo>
                  <a:lnTo>
                    <a:pt x="1268" y="1444"/>
                  </a:lnTo>
                  <a:lnTo>
                    <a:pt x="1268" y="1442"/>
                  </a:lnTo>
                  <a:lnTo>
                    <a:pt x="1268" y="1440"/>
                  </a:lnTo>
                  <a:lnTo>
                    <a:pt x="1266" y="1440"/>
                  </a:lnTo>
                  <a:lnTo>
                    <a:pt x="1266" y="1438"/>
                  </a:lnTo>
                  <a:lnTo>
                    <a:pt x="1266" y="1436"/>
                  </a:lnTo>
                  <a:lnTo>
                    <a:pt x="1266" y="1436"/>
                  </a:lnTo>
                  <a:lnTo>
                    <a:pt x="1266" y="1436"/>
                  </a:lnTo>
                  <a:lnTo>
                    <a:pt x="1266" y="1436"/>
                  </a:lnTo>
                  <a:lnTo>
                    <a:pt x="1264" y="1434"/>
                  </a:lnTo>
                  <a:lnTo>
                    <a:pt x="1266" y="1430"/>
                  </a:lnTo>
                  <a:lnTo>
                    <a:pt x="1266" y="1426"/>
                  </a:lnTo>
                  <a:lnTo>
                    <a:pt x="1266" y="1422"/>
                  </a:lnTo>
                  <a:lnTo>
                    <a:pt x="1266" y="1422"/>
                  </a:lnTo>
                  <a:lnTo>
                    <a:pt x="1266" y="1420"/>
                  </a:lnTo>
                  <a:lnTo>
                    <a:pt x="1266" y="1418"/>
                  </a:lnTo>
                  <a:lnTo>
                    <a:pt x="1266" y="1418"/>
                  </a:lnTo>
                  <a:lnTo>
                    <a:pt x="1266" y="1416"/>
                  </a:lnTo>
                  <a:lnTo>
                    <a:pt x="1264" y="1414"/>
                  </a:lnTo>
                  <a:lnTo>
                    <a:pt x="1264" y="1414"/>
                  </a:lnTo>
                  <a:lnTo>
                    <a:pt x="1264" y="1414"/>
                  </a:lnTo>
                  <a:lnTo>
                    <a:pt x="1262" y="1412"/>
                  </a:lnTo>
                  <a:lnTo>
                    <a:pt x="1262" y="1412"/>
                  </a:lnTo>
                  <a:lnTo>
                    <a:pt x="1262" y="1412"/>
                  </a:lnTo>
                  <a:lnTo>
                    <a:pt x="1258" y="1412"/>
                  </a:lnTo>
                  <a:lnTo>
                    <a:pt x="1258" y="1412"/>
                  </a:lnTo>
                  <a:lnTo>
                    <a:pt x="1258" y="1412"/>
                  </a:lnTo>
                  <a:lnTo>
                    <a:pt x="1256" y="1410"/>
                  </a:lnTo>
                  <a:lnTo>
                    <a:pt x="1250" y="1410"/>
                  </a:lnTo>
                  <a:lnTo>
                    <a:pt x="1248" y="1410"/>
                  </a:lnTo>
                  <a:lnTo>
                    <a:pt x="1246" y="1410"/>
                  </a:lnTo>
                  <a:lnTo>
                    <a:pt x="1246" y="1410"/>
                  </a:lnTo>
                  <a:lnTo>
                    <a:pt x="1244" y="1408"/>
                  </a:lnTo>
                  <a:lnTo>
                    <a:pt x="1244" y="1404"/>
                  </a:lnTo>
                  <a:lnTo>
                    <a:pt x="1242" y="1404"/>
                  </a:lnTo>
                  <a:lnTo>
                    <a:pt x="1242" y="1404"/>
                  </a:lnTo>
                  <a:lnTo>
                    <a:pt x="1242" y="1402"/>
                  </a:lnTo>
                  <a:lnTo>
                    <a:pt x="1242" y="1402"/>
                  </a:lnTo>
                  <a:lnTo>
                    <a:pt x="1242" y="1402"/>
                  </a:lnTo>
                  <a:lnTo>
                    <a:pt x="1240" y="1400"/>
                  </a:lnTo>
                  <a:lnTo>
                    <a:pt x="1238" y="1400"/>
                  </a:lnTo>
                  <a:lnTo>
                    <a:pt x="1238" y="1400"/>
                  </a:lnTo>
                  <a:lnTo>
                    <a:pt x="1238" y="1400"/>
                  </a:lnTo>
                  <a:lnTo>
                    <a:pt x="1234" y="1400"/>
                  </a:lnTo>
                  <a:lnTo>
                    <a:pt x="1234" y="1400"/>
                  </a:lnTo>
                  <a:lnTo>
                    <a:pt x="1234" y="1400"/>
                  </a:lnTo>
                  <a:lnTo>
                    <a:pt x="1230" y="1402"/>
                  </a:lnTo>
                  <a:lnTo>
                    <a:pt x="1226" y="1404"/>
                  </a:lnTo>
                  <a:lnTo>
                    <a:pt x="1222" y="1408"/>
                  </a:lnTo>
                  <a:lnTo>
                    <a:pt x="1218" y="1412"/>
                  </a:lnTo>
                  <a:lnTo>
                    <a:pt x="1212" y="1414"/>
                  </a:lnTo>
                  <a:lnTo>
                    <a:pt x="1208" y="1418"/>
                  </a:lnTo>
                  <a:lnTo>
                    <a:pt x="1204" y="1420"/>
                  </a:lnTo>
                  <a:lnTo>
                    <a:pt x="1202" y="1422"/>
                  </a:lnTo>
                  <a:lnTo>
                    <a:pt x="1200" y="1422"/>
                  </a:lnTo>
                  <a:lnTo>
                    <a:pt x="1200" y="1422"/>
                  </a:lnTo>
                  <a:lnTo>
                    <a:pt x="1198" y="1422"/>
                  </a:lnTo>
                  <a:lnTo>
                    <a:pt x="1196" y="1422"/>
                  </a:lnTo>
                  <a:lnTo>
                    <a:pt x="1194" y="1422"/>
                  </a:lnTo>
                  <a:lnTo>
                    <a:pt x="1194" y="1420"/>
                  </a:lnTo>
                  <a:lnTo>
                    <a:pt x="1192" y="1420"/>
                  </a:lnTo>
                  <a:lnTo>
                    <a:pt x="1192" y="1420"/>
                  </a:lnTo>
                  <a:lnTo>
                    <a:pt x="1192" y="1420"/>
                  </a:lnTo>
                  <a:lnTo>
                    <a:pt x="1194" y="1418"/>
                  </a:lnTo>
                  <a:lnTo>
                    <a:pt x="1196" y="1414"/>
                  </a:lnTo>
                  <a:lnTo>
                    <a:pt x="1198" y="1412"/>
                  </a:lnTo>
                  <a:lnTo>
                    <a:pt x="1202" y="1408"/>
                  </a:lnTo>
                  <a:lnTo>
                    <a:pt x="1206" y="1406"/>
                  </a:lnTo>
                  <a:lnTo>
                    <a:pt x="1210" y="1402"/>
                  </a:lnTo>
                  <a:lnTo>
                    <a:pt x="1212" y="1400"/>
                  </a:lnTo>
                  <a:lnTo>
                    <a:pt x="1216" y="1398"/>
                  </a:lnTo>
                  <a:lnTo>
                    <a:pt x="1218" y="1396"/>
                  </a:lnTo>
                  <a:lnTo>
                    <a:pt x="1220" y="1396"/>
                  </a:lnTo>
                  <a:lnTo>
                    <a:pt x="1228" y="1396"/>
                  </a:lnTo>
                  <a:lnTo>
                    <a:pt x="1230" y="1396"/>
                  </a:lnTo>
                  <a:lnTo>
                    <a:pt x="1234" y="1396"/>
                  </a:lnTo>
                  <a:lnTo>
                    <a:pt x="1234" y="1396"/>
                  </a:lnTo>
                  <a:lnTo>
                    <a:pt x="1234" y="1396"/>
                  </a:lnTo>
                  <a:lnTo>
                    <a:pt x="1236" y="1394"/>
                  </a:lnTo>
                  <a:lnTo>
                    <a:pt x="1236" y="1394"/>
                  </a:lnTo>
                  <a:lnTo>
                    <a:pt x="1238" y="1394"/>
                  </a:lnTo>
                  <a:lnTo>
                    <a:pt x="1238" y="1392"/>
                  </a:lnTo>
                  <a:lnTo>
                    <a:pt x="1238" y="1392"/>
                  </a:lnTo>
                  <a:lnTo>
                    <a:pt x="1238" y="1390"/>
                  </a:lnTo>
                  <a:lnTo>
                    <a:pt x="1238" y="1390"/>
                  </a:lnTo>
                  <a:lnTo>
                    <a:pt x="1238" y="1390"/>
                  </a:lnTo>
                  <a:lnTo>
                    <a:pt x="1238" y="1388"/>
                  </a:lnTo>
                  <a:lnTo>
                    <a:pt x="1236" y="1388"/>
                  </a:lnTo>
                  <a:lnTo>
                    <a:pt x="1236" y="1388"/>
                  </a:lnTo>
                  <a:lnTo>
                    <a:pt x="1236" y="1388"/>
                  </a:lnTo>
                  <a:lnTo>
                    <a:pt x="1234" y="1386"/>
                  </a:lnTo>
                  <a:lnTo>
                    <a:pt x="1230" y="1384"/>
                  </a:lnTo>
                  <a:lnTo>
                    <a:pt x="1228" y="1382"/>
                  </a:lnTo>
                  <a:lnTo>
                    <a:pt x="1218" y="1380"/>
                  </a:lnTo>
                  <a:lnTo>
                    <a:pt x="1216" y="1378"/>
                  </a:lnTo>
                  <a:lnTo>
                    <a:pt x="1212" y="1378"/>
                  </a:lnTo>
                  <a:lnTo>
                    <a:pt x="1210" y="1376"/>
                  </a:lnTo>
                  <a:lnTo>
                    <a:pt x="1206" y="1376"/>
                  </a:lnTo>
                  <a:lnTo>
                    <a:pt x="1202" y="1376"/>
                  </a:lnTo>
                  <a:lnTo>
                    <a:pt x="1198" y="1376"/>
                  </a:lnTo>
                  <a:lnTo>
                    <a:pt x="1196" y="1376"/>
                  </a:lnTo>
                  <a:lnTo>
                    <a:pt x="1196" y="1376"/>
                  </a:lnTo>
                  <a:lnTo>
                    <a:pt x="1196" y="1374"/>
                  </a:lnTo>
                  <a:lnTo>
                    <a:pt x="1196" y="1374"/>
                  </a:lnTo>
                  <a:lnTo>
                    <a:pt x="1196" y="1372"/>
                  </a:lnTo>
                  <a:lnTo>
                    <a:pt x="1196" y="1370"/>
                  </a:lnTo>
                  <a:lnTo>
                    <a:pt x="1196" y="1368"/>
                  </a:lnTo>
                  <a:lnTo>
                    <a:pt x="1198" y="1366"/>
                  </a:lnTo>
                  <a:lnTo>
                    <a:pt x="1198" y="1366"/>
                  </a:lnTo>
                  <a:lnTo>
                    <a:pt x="1198" y="1366"/>
                  </a:lnTo>
                  <a:lnTo>
                    <a:pt x="1196" y="1364"/>
                  </a:lnTo>
                  <a:lnTo>
                    <a:pt x="1196" y="1364"/>
                  </a:lnTo>
                  <a:lnTo>
                    <a:pt x="1196" y="1362"/>
                  </a:lnTo>
                  <a:lnTo>
                    <a:pt x="1196" y="1362"/>
                  </a:lnTo>
                  <a:lnTo>
                    <a:pt x="1196" y="1362"/>
                  </a:lnTo>
                  <a:lnTo>
                    <a:pt x="1196" y="1360"/>
                  </a:lnTo>
                  <a:lnTo>
                    <a:pt x="1194" y="1358"/>
                  </a:lnTo>
                  <a:lnTo>
                    <a:pt x="1194" y="1358"/>
                  </a:lnTo>
                  <a:lnTo>
                    <a:pt x="1194" y="1358"/>
                  </a:lnTo>
                  <a:lnTo>
                    <a:pt x="1192" y="1358"/>
                  </a:lnTo>
                  <a:lnTo>
                    <a:pt x="1192" y="1358"/>
                  </a:lnTo>
                  <a:lnTo>
                    <a:pt x="1192" y="1358"/>
                  </a:lnTo>
                  <a:lnTo>
                    <a:pt x="1188" y="1356"/>
                  </a:lnTo>
                  <a:lnTo>
                    <a:pt x="1186" y="1356"/>
                  </a:lnTo>
                  <a:lnTo>
                    <a:pt x="1184" y="1354"/>
                  </a:lnTo>
                  <a:lnTo>
                    <a:pt x="1182" y="1352"/>
                  </a:lnTo>
                  <a:lnTo>
                    <a:pt x="1180" y="1352"/>
                  </a:lnTo>
                  <a:lnTo>
                    <a:pt x="1178" y="1348"/>
                  </a:lnTo>
                  <a:lnTo>
                    <a:pt x="1176" y="1346"/>
                  </a:lnTo>
                  <a:lnTo>
                    <a:pt x="1174" y="1342"/>
                  </a:lnTo>
                  <a:lnTo>
                    <a:pt x="1172" y="1338"/>
                  </a:lnTo>
                  <a:lnTo>
                    <a:pt x="1170" y="1334"/>
                  </a:lnTo>
                  <a:lnTo>
                    <a:pt x="1168" y="1330"/>
                  </a:lnTo>
                  <a:lnTo>
                    <a:pt x="1166" y="1328"/>
                  </a:lnTo>
                  <a:lnTo>
                    <a:pt x="1168" y="1328"/>
                  </a:lnTo>
                  <a:lnTo>
                    <a:pt x="1170" y="1328"/>
                  </a:lnTo>
                  <a:lnTo>
                    <a:pt x="1172" y="1328"/>
                  </a:lnTo>
                  <a:lnTo>
                    <a:pt x="1172" y="1328"/>
                  </a:lnTo>
                  <a:lnTo>
                    <a:pt x="1172" y="1328"/>
                  </a:lnTo>
                  <a:lnTo>
                    <a:pt x="1172" y="1328"/>
                  </a:lnTo>
                  <a:lnTo>
                    <a:pt x="1172" y="1328"/>
                  </a:lnTo>
                  <a:lnTo>
                    <a:pt x="1174" y="1328"/>
                  </a:lnTo>
                  <a:lnTo>
                    <a:pt x="1176" y="1326"/>
                  </a:lnTo>
                  <a:lnTo>
                    <a:pt x="1176" y="1326"/>
                  </a:lnTo>
                  <a:lnTo>
                    <a:pt x="1176" y="1326"/>
                  </a:lnTo>
                  <a:lnTo>
                    <a:pt x="1176" y="1324"/>
                  </a:lnTo>
                  <a:lnTo>
                    <a:pt x="1176" y="1322"/>
                  </a:lnTo>
                  <a:lnTo>
                    <a:pt x="1174" y="1320"/>
                  </a:lnTo>
                  <a:lnTo>
                    <a:pt x="1172" y="1316"/>
                  </a:lnTo>
                  <a:lnTo>
                    <a:pt x="1170" y="1312"/>
                  </a:lnTo>
                  <a:lnTo>
                    <a:pt x="1164" y="1306"/>
                  </a:lnTo>
                  <a:lnTo>
                    <a:pt x="1162" y="1302"/>
                  </a:lnTo>
                  <a:lnTo>
                    <a:pt x="1160" y="1298"/>
                  </a:lnTo>
                  <a:lnTo>
                    <a:pt x="1156" y="1294"/>
                  </a:lnTo>
                  <a:lnTo>
                    <a:pt x="1152" y="1290"/>
                  </a:lnTo>
                  <a:lnTo>
                    <a:pt x="1150" y="1288"/>
                  </a:lnTo>
                  <a:lnTo>
                    <a:pt x="1148" y="1286"/>
                  </a:lnTo>
                  <a:lnTo>
                    <a:pt x="1148" y="1286"/>
                  </a:lnTo>
                  <a:lnTo>
                    <a:pt x="1148" y="1286"/>
                  </a:lnTo>
                  <a:lnTo>
                    <a:pt x="1148" y="1286"/>
                  </a:lnTo>
                  <a:lnTo>
                    <a:pt x="1150" y="1284"/>
                  </a:lnTo>
                  <a:lnTo>
                    <a:pt x="1150" y="1284"/>
                  </a:lnTo>
                  <a:lnTo>
                    <a:pt x="1152" y="1284"/>
                  </a:lnTo>
                  <a:lnTo>
                    <a:pt x="1152" y="1284"/>
                  </a:lnTo>
                  <a:lnTo>
                    <a:pt x="1154" y="1284"/>
                  </a:lnTo>
                  <a:lnTo>
                    <a:pt x="1154" y="1282"/>
                  </a:lnTo>
                  <a:lnTo>
                    <a:pt x="1154" y="1282"/>
                  </a:lnTo>
                  <a:lnTo>
                    <a:pt x="1156" y="1282"/>
                  </a:lnTo>
                  <a:lnTo>
                    <a:pt x="1156" y="1280"/>
                  </a:lnTo>
                  <a:lnTo>
                    <a:pt x="1156" y="1280"/>
                  </a:lnTo>
                  <a:lnTo>
                    <a:pt x="1156" y="1280"/>
                  </a:lnTo>
                  <a:lnTo>
                    <a:pt x="1158" y="1278"/>
                  </a:lnTo>
                  <a:lnTo>
                    <a:pt x="1158" y="1278"/>
                  </a:lnTo>
                  <a:lnTo>
                    <a:pt x="1156" y="1276"/>
                  </a:lnTo>
                  <a:lnTo>
                    <a:pt x="1156" y="1274"/>
                  </a:lnTo>
                  <a:lnTo>
                    <a:pt x="1154" y="1272"/>
                  </a:lnTo>
                  <a:lnTo>
                    <a:pt x="1152" y="1268"/>
                  </a:lnTo>
                  <a:lnTo>
                    <a:pt x="1150" y="1264"/>
                  </a:lnTo>
                  <a:lnTo>
                    <a:pt x="1148" y="1260"/>
                  </a:lnTo>
                  <a:lnTo>
                    <a:pt x="1146" y="1258"/>
                  </a:lnTo>
                  <a:lnTo>
                    <a:pt x="1144" y="1254"/>
                  </a:lnTo>
                  <a:lnTo>
                    <a:pt x="1142" y="1252"/>
                  </a:lnTo>
                  <a:lnTo>
                    <a:pt x="1140" y="1250"/>
                  </a:lnTo>
                  <a:lnTo>
                    <a:pt x="1140" y="1250"/>
                  </a:lnTo>
                  <a:lnTo>
                    <a:pt x="1140" y="1250"/>
                  </a:lnTo>
                  <a:lnTo>
                    <a:pt x="1138" y="1250"/>
                  </a:lnTo>
                  <a:lnTo>
                    <a:pt x="1138" y="1250"/>
                  </a:lnTo>
                  <a:lnTo>
                    <a:pt x="1138" y="1250"/>
                  </a:lnTo>
                  <a:lnTo>
                    <a:pt x="1136" y="1248"/>
                  </a:lnTo>
                  <a:lnTo>
                    <a:pt x="1136" y="1248"/>
                  </a:lnTo>
                  <a:lnTo>
                    <a:pt x="1134" y="1248"/>
                  </a:lnTo>
                  <a:lnTo>
                    <a:pt x="1132" y="1248"/>
                  </a:lnTo>
                  <a:lnTo>
                    <a:pt x="1132" y="1248"/>
                  </a:lnTo>
                  <a:lnTo>
                    <a:pt x="1130" y="1250"/>
                  </a:lnTo>
                  <a:lnTo>
                    <a:pt x="1128" y="1252"/>
                  </a:lnTo>
                  <a:lnTo>
                    <a:pt x="1128" y="1252"/>
                  </a:lnTo>
                  <a:lnTo>
                    <a:pt x="1128" y="1252"/>
                  </a:lnTo>
                  <a:lnTo>
                    <a:pt x="1126" y="1254"/>
                  </a:lnTo>
                  <a:lnTo>
                    <a:pt x="1126" y="1254"/>
                  </a:lnTo>
                  <a:lnTo>
                    <a:pt x="1126" y="1254"/>
                  </a:lnTo>
                  <a:lnTo>
                    <a:pt x="1126" y="1258"/>
                  </a:lnTo>
                  <a:lnTo>
                    <a:pt x="1126" y="1260"/>
                  </a:lnTo>
                  <a:lnTo>
                    <a:pt x="1126" y="1264"/>
                  </a:lnTo>
                  <a:lnTo>
                    <a:pt x="1126" y="1266"/>
                  </a:lnTo>
                  <a:lnTo>
                    <a:pt x="1126" y="1270"/>
                  </a:lnTo>
                  <a:lnTo>
                    <a:pt x="1126" y="1270"/>
                  </a:lnTo>
                  <a:lnTo>
                    <a:pt x="1126" y="1272"/>
                  </a:lnTo>
                  <a:lnTo>
                    <a:pt x="1126" y="1272"/>
                  </a:lnTo>
                  <a:lnTo>
                    <a:pt x="1124" y="1274"/>
                  </a:lnTo>
                  <a:lnTo>
                    <a:pt x="1122" y="1274"/>
                  </a:lnTo>
                  <a:lnTo>
                    <a:pt x="1118" y="1274"/>
                  </a:lnTo>
                  <a:lnTo>
                    <a:pt x="1118" y="1274"/>
                  </a:lnTo>
                  <a:lnTo>
                    <a:pt x="1118" y="1276"/>
                  </a:lnTo>
                  <a:lnTo>
                    <a:pt x="1116" y="1276"/>
                  </a:lnTo>
                  <a:lnTo>
                    <a:pt x="1116" y="1276"/>
                  </a:lnTo>
                  <a:lnTo>
                    <a:pt x="1116" y="1276"/>
                  </a:lnTo>
                  <a:lnTo>
                    <a:pt x="1114" y="1278"/>
                  </a:lnTo>
                  <a:lnTo>
                    <a:pt x="1114" y="1278"/>
                  </a:lnTo>
                  <a:lnTo>
                    <a:pt x="1114" y="1278"/>
                  </a:lnTo>
                  <a:lnTo>
                    <a:pt x="1112" y="1280"/>
                  </a:lnTo>
                  <a:lnTo>
                    <a:pt x="1112" y="1280"/>
                  </a:lnTo>
                  <a:lnTo>
                    <a:pt x="1112" y="1280"/>
                  </a:lnTo>
                  <a:lnTo>
                    <a:pt x="1112" y="1280"/>
                  </a:lnTo>
                  <a:lnTo>
                    <a:pt x="1112" y="1280"/>
                  </a:lnTo>
                  <a:lnTo>
                    <a:pt x="1112" y="1280"/>
                  </a:lnTo>
                  <a:lnTo>
                    <a:pt x="1112" y="1280"/>
                  </a:lnTo>
                  <a:lnTo>
                    <a:pt x="1110" y="1280"/>
                  </a:lnTo>
                  <a:lnTo>
                    <a:pt x="1108" y="1280"/>
                  </a:lnTo>
                  <a:lnTo>
                    <a:pt x="1108" y="1280"/>
                  </a:lnTo>
                  <a:lnTo>
                    <a:pt x="1108" y="1280"/>
                  </a:lnTo>
                  <a:lnTo>
                    <a:pt x="1106" y="1280"/>
                  </a:lnTo>
                  <a:lnTo>
                    <a:pt x="1106" y="1280"/>
                  </a:lnTo>
                  <a:lnTo>
                    <a:pt x="1106" y="1280"/>
                  </a:lnTo>
                  <a:lnTo>
                    <a:pt x="1102" y="1284"/>
                  </a:lnTo>
                  <a:lnTo>
                    <a:pt x="1098" y="1286"/>
                  </a:lnTo>
                  <a:lnTo>
                    <a:pt x="1096" y="1290"/>
                  </a:lnTo>
                  <a:lnTo>
                    <a:pt x="1094" y="1290"/>
                  </a:lnTo>
                  <a:lnTo>
                    <a:pt x="1094" y="1290"/>
                  </a:lnTo>
                  <a:lnTo>
                    <a:pt x="1094" y="1290"/>
                  </a:lnTo>
                  <a:lnTo>
                    <a:pt x="1092" y="1292"/>
                  </a:lnTo>
                  <a:lnTo>
                    <a:pt x="1092" y="1294"/>
                  </a:lnTo>
                  <a:lnTo>
                    <a:pt x="1090" y="1296"/>
                  </a:lnTo>
                  <a:lnTo>
                    <a:pt x="1090" y="1296"/>
                  </a:lnTo>
                  <a:lnTo>
                    <a:pt x="1088" y="1296"/>
                  </a:lnTo>
                  <a:lnTo>
                    <a:pt x="1086" y="1298"/>
                  </a:lnTo>
                  <a:lnTo>
                    <a:pt x="1084" y="1298"/>
                  </a:lnTo>
                  <a:lnTo>
                    <a:pt x="1080" y="1300"/>
                  </a:lnTo>
                  <a:lnTo>
                    <a:pt x="1076" y="1302"/>
                  </a:lnTo>
                  <a:lnTo>
                    <a:pt x="1072" y="1302"/>
                  </a:lnTo>
                  <a:lnTo>
                    <a:pt x="1072" y="1302"/>
                  </a:lnTo>
                  <a:lnTo>
                    <a:pt x="1072" y="1302"/>
                  </a:lnTo>
                  <a:lnTo>
                    <a:pt x="1074" y="1300"/>
                  </a:lnTo>
                  <a:lnTo>
                    <a:pt x="1074" y="1300"/>
                  </a:lnTo>
                  <a:lnTo>
                    <a:pt x="1074" y="1300"/>
                  </a:lnTo>
                  <a:lnTo>
                    <a:pt x="1074" y="1296"/>
                  </a:lnTo>
                  <a:lnTo>
                    <a:pt x="1076" y="1294"/>
                  </a:lnTo>
                  <a:lnTo>
                    <a:pt x="1076" y="1290"/>
                  </a:lnTo>
                  <a:lnTo>
                    <a:pt x="1076" y="1286"/>
                  </a:lnTo>
                  <a:lnTo>
                    <a:pt x="1076" y="1284"/>
                  </a:lnTo>
                  <a:lnTo>
                    <a:pt x="1076" y="1280"/>
                  </a:lnTo>
                  <a:lnTo>
                    <a:pt x="1076" y="1278"/>
                  </a:lnTo>
                  <a:lnTo>
                    <a:pt x="1076" y="1278"/>
                  </a:lnTo>
                  <a:lnTo>
                    <a:pt x="1076" y="1278"/>
                  </a:lnTo>
                  <a:lnTo>
                    <a:pt x="1076" y="1276"/>
                  </a:lnTo>
                  <a:lnTo>
                    <a:pt x="1076" y="1276"/>
                  </a:lnTo>
                  <a:lnTo>
                    <a:pt x="1074" y="1274"/>
                  </a:lnTo>
                  <a:lnTo>
                    <a:pt x="1074" y="1274"/>
                  </a:lnTo>
                  <a:lnTo>
                    <a:pt x="1074" y="1274"/>
                  </a:lnTo>
                  <a:lnTo>
                    <a:pt x="1072" y="1272"/>
                  </a:lnTo>
                  <a:lnTo>
                    <a:pt x="1070" y="1274"/>
                  </a:lnTo>
                  <a:lnTo>
                    <a:pt x="1070" y="1274"/>
                  </a:lnTo>
                  <a:lnTo>
                    <a:pt x="1070" y="1274"/>
                  </a:lnTo>
                  <a:lnTo>
                    <a:pt x="1068" y="1274"/>
                  </a:lnTo>
                  <a:lnTo>
                    <a:pt x="1068" y="1274"/>
                  </a:lnTo>
                  <a:lnTo>
                    <a:pt x="1068" y="1274"/>
                  </a:lnTo>
                  <a:lnTo>
                    <a:pt x="1066" y="1276"/>
                  </a:lnTo>
                  <a:lnTo>
                    <a:pt x="1064" y="1278"/>
                  </a:lnTo>
                  <a:lnTo>
                    <a:pt x="1062" y="1280"/>
                  </a:lnTo>
                  <a:lnTo>
                    <a:pt x="1062" y="1280"/>
                  </a:lnTo>
                  <a:lnTo>
                    <a:pt x="1060" y="1280"/>
                  </a:lnTo>
                  <a:lnTo>
                    <a:pt x="1058" y="1280"/>
                  </a:lnTo>
                  <a:lnTo>
                    <a:pt x="1054" y="1280"/>
                  </a:lnTo>
                  <a:lnTo>
                    <a:pt x="1054" y="1280"/>
                  </a:lnTo>
                  <a:lnTo>
                    <a:pt x="1054" y="1280"/>
                  </a:lnTo>
                  <a:lnTo>
                    <a:pt x="1054" y="1280"/>
                  </a:lnTo>
                  <a:lnTo>
                    <a:pt x="1054" y="1278"/>
                  </a:lnTo>
                  <a:lnTo>
                    <a:pt x="1056" y="1274"/>
                  </a:lnTo>
                  <a:lnTo>
                    <a:pt x="1058" y="1272"/>
                  </a:lnTo>
                  <a:lnTo>
                    <a:pt x="1062" y="1264"/>
                  </a:lnTo>
                  <a:lnTo>
                    <a:pt x="1062" y="1262"/>
                  </a:lnTo>
                  <a:lnTo>
                    <a:pt x="1064" y="1258"/>
                  </a:lnTo>
                  <a:lnTo>
                    <a:pt x="1066" y="1252"/>
                  </a:lnTo>
                  <a:lnTo>
                    <a:pt x="1066" y="1248"/>
                  </a:lnTo>
                  <a:lnTo>
                    <a:pt x="1066" y="1248"/>
                  </a:lnTo>
                  <a:lnTo>
                    <a:pt x="1066" y="1248"/>
                  </a:lnTo>
                  <a:lnTo>
                    <a:pt x="1066" y="1242"/>
                  </a:lnTo>
                  <a:lnTo>
                    <a:pt x="1066" y="1242"/>
                  </a:lnTo>
                  <a:lnTo>
                    <a:pt x="1066" y="1242"/>
                  </a:lnTo>
                  <a:lnTo>
                    <a:pt x="1064" y="1240"/>
                  </a:lnTo>
                  <a:lnTo>
                    <a:pt x="1064" y="1240"/>
                  </a:lnTo>
                  <a:lnTo>
                    <a:pt x="1064" y="1240"/>
                  </a:lnTo>
                  <a:lnTo>
                    <a:pt x="1064" y="1238"/>
                  </a:lnTo>
                  <a:lnTo>
                    <a:pt x="1064" y="1238"/>
                  </a:lnTo>
                  <a:lnTo>
                    <a:pt x="1062" y="1238"/>
                  </a:lnTo>
                  <a:lnTo>
                    <a:pt x="1062" y="1236"/>
                  </a:lnTo>
                  <a:lnTo>
                    <a:pt x="1062" y="1236"/>
                  </a:lnTo>
                  <a:lnTo>
                    <a:pt x="1060" y="1236"/>
                  </a:lnTo>
                  <a:lnTo>
                    <a:pt x="1058" y="1234"/>
                  </a:lnTo>
                  <a:lnTo>
                    <a:pt x="1058" y="1234"/>
                  </a:lnTo>
                  <a:lnTo>
                    <a:pt x="1058" y="1234"/>
                  </a:lnTo>
                  <a:lnTo>
                    <a:pt x="1054" y="1234"/>
                  </a:lnTo>
                  <a:lnTo>
                    <a:pt x="1050" y="1234"/>
                  </a:lnTo>
                  <a:lnTo>
                    <a:pt x="1052" y="1234"/>
                  </a:lnTo>
                  <a:lnTo>
                    <a:pt x="1054" y="1232"/>
                  </a:lnTo>
                  <a:lnTo>
                    <a:pt x="1058" y="1232"/>
                  </a:lnTo>
                  <a:lnTo>
                    <a:pt x="1058" y="1232"/>
                  </a:lnTo>
                  <a:lnTo>
                    <a:pt x="1058" y="1232"/>
                  </a:lnTo>
                  <a:lnTo>
                    <a:pt x="1060" y="1230"/>
                  </a:lnTo>
                  <a:lnTo>
                    <a:pt x="1060" y="1230"/>
                  </a:lnTo>
                  <a:lnTo>
                    <a:pt x="1060" y="1230"/>
                  </a:lnTo>
                  <a:lnTo>
                    <a:pt x="1062" y="1226"/>
                  </a:lnTo>
                  <a:lnTo>
                    <a:pt x="1062" y="1226"/>
                  </a:lnTo>
                  <a:lnTo>
                    <a:pt x="1062" y="1226"/>
                  </a:lnTo>
                  <a:lnTo>
                    <a:pt x="1064" y="1222"/>
                  </a:lnTo>
                  <a:lnTo>
                    <a:pt x="1064" y="1222"/>
                  </a:lnTo>
                  <a:lnTo>
                    <a:pt x="1064" y="1222"/>
                  </a:lnTo>
                  <a:lnTo>
                    <a:pt x="1064" y="1220"/>
                  </a:lnTo>
                  <a:lnTo>
                    <a:pt x="1064" y="1220"/>
                  </a:lnTo>
                  <a:lnTo>
                    <a:pt x="1062" y="1218"/>
                  </a:lnTo>
                  <a:lnTo>
                    <a:pt x="1062" y="1216"/>
                  </a:lnTo>
                  <a:lnTo>
                    <a:pt x="1062" y="1216"/>
                  </a:lnTo>
                  <a:lnTo>
                    <a:pt x="1060" y="1214"/>
                  </a:lnTo>
                  <a:lnTo>
                    <a:pt x="1060" y="1214"/>
                  </a:lnTo>
                  <a:lnTo>
                    <a:pt x="1060" y="1214"/>
                  </a:lnTo>
                  <a:lnTo>
                    <a:pt x="1058" y="1214"/>
                  </a:lnTo>
                  <a:lnTo>
                    <a:pt x="1058" y="1214"/>
                  </a:lnTo>
                  <a:lnTo>
                    <a:pt x="1054" y="1214"/>
                  </a:lnTo>
                  <a:lnTo>
                    <a:pt x="1048" y="1214"/>
                  </a:lnTo>
                  <a:lnTo>
                    <a:pt x="1044" y="1212"/>
                  </a:lnTo>
                  <a:lnTo>
                    <a:pt x="1040" y="1212"/>
                  </a:lnTo>
                  <a:lnTo>
                    <a:pt x="1038" y="1212"/>
                  </a:lnTo>
                  <a:lnTo>
                    <a:pt x="1034" y="1210"/>
                  </a:lnTo>
                  <a:lnTo>
                    <a:pt x="1032" y="1208"/>
                  </a:lnTo>
                  <a:lnTo>
                    <a:pt x="1030" y="1208"/>
                  </a:lnTo>
                  <a:lnTo>
                    <a:pt x="1028" y="1206"/>
                  </a:lnTo>
                  <a:lnTo>
                    <a:pt x="1026" y="1202"/>
                  </a:lnTo>
                  <a:lnTo>
                    <a:pt x="1022" y="1198"/>
                  </a:lnTo>
                  <a:lnTo>
                    <a:pt x="1020" y="1194"/>
                  </a:lnTo>
                  <a:lnTo>
                    <a:pt x="1018" y="1190"/>
                  </a:lnTo>
                  <a:lnTo>
                    <a:pt x="1014" y="1188"/>
                  </a:lnTo>
                  <a:lnTo>
                    <a:pt x="1012" y="1184"/>
                  </a:lnTo>
                  <a:lnTo>
                    <a:pt x="1010" y="1180"/>
                  </a:lnTo>
                  <a:lnTo>
                    <a:pt x="1008" y="1178"/>
                  </a:lnTo>
                  <a:lnTo>
                    <a:pt x="1008" y="1178"/>
                  </a:lnTo>
                  <a:lnTo>
                    <a:pt x="1004" y="1174"/>
                  </a:lnTo>
                  <a:lnTo>
                    <a:pt x="1004" y="1174"/>
                  </a:lnTo>
                  <a:lnTo>
                    <a:pt x="1004" y="1174"/>
                  </a:lnTo>
                  <a:lnTo>
                    <a:pt x="1002" y="1172"/>
                  </a:lnTo>
                  <a:lnTo>
                    <a:pt x="1002" y="1172"/>
                  </a:lnTo>
                  <a:lnTo>
                    <a:pt x="1002" y="1172"/>
                  </a:lnTo>
                  <a:lnTo>
                    <a:pt x="1000" y="1172"/>
                  </a:lnTo>
                  <a:lnTo>
                    <a:pt x="1000" y="1172"/>
                  </a:lnTo>
                  <a:lnTo>
                    <a:pt x="998" y="1172"/>
                  </a:lnTo>
                  <a:lnTo>
                    <a:pt x="998" y="1172"/>
                  </a:lnTo>
                  <a:lnTo>
                    <a:pt x="998" y="1172"/>
                  </a:lnTo>
                  <a:lnTo>
                    <a:pt x="996" y="1172"/>
                  </a:lnTo>
                  <a:lnTo>
                    <a:pt x="996" y="1172"/>
                  </a:lnTo>
                  <a:lnTo>
                    <a:pt x="996" y="1172"/>
                  </a:lnTo>
                  <a:lnTo>
                    <a:pt x="994" y="1172"/>
                  </a:lnTo>
                  <a:lnTo>
                    <a:pt x="992" y="1174"/>
                  </a:lnTo>
                  <a:lnTo>
                    <a:pt x="988" y="1174"/>
                  </a:lnTo>
                  <a:lnTo>
                    <a:pt x="988" y="1174"/>
                  </a:lnTo>
                  <a:lnTo>
                    <a:pt x="986" y="1174"/>
                  </a:lnTo>
                  <a:lnTo>
                    <a:pt x="982" y="1174"/>
                  </a:lnTo>
                  <a:lnTo>
                    <a:pt x="978" y="1176"/>
                  </a:lnTo>
                  <a:lnTo>
                    <a:pt x="974" y="1176"/>
                  </a:lnTo>
                  <a:lnTo>
                    <a:pt x="968" y="1174"/>
                  </a:lnTo>
                  <a:lnTo>
                    <a:pt x="966" y="1174"/>
                  </a:lnTo>
                  <a:lnTo>
                    <a:pt x="964" y="1172"/>
                  </a:lnTo>
                  <a:lnTo>
                    <a:pt x="960" y="1170"/>
                  </a:lnTo>
                  <a:lnTo>
                    <a:pt x="958" y="1170"/>
                  </a:lnTo>
                  <a:lnTo>
                    <a:pt x="954" y="1168"/>
                  </a:lnTo>
                  <a:lnTo>
                    <a:pt x="952" y="1166"/>
                  </a:lnTo>
                  <a:lnTo>
                    <a:pt x="952" y="1166"/>
                  </a:lnTo>
                  <a:lnTo>
                    <a:pt x="950" y="1166"/>
                  </a:lnTo>
                  <a:lnTo>
                    <a:pt x="948" y="1166"/>
                  </a:lnTo>
                  <a:lnTo>
                    <a:pt x="948" y="1166"/>
                  </a:lnTo>
                  <a:lnTo>
                    <a:pt x="946" y="1166"/>
                  </a:lnTo>
                  <a:lnTo>
                    <a:pt x="944" y="1166"/>
                  </a:lnTo>
                  <a:lnTo>
                    <a:pt x="944" y="1166"/>
                  </a:lnTo>
                  <a:lnTo>
                    <a:pt x="944" y="1166"/>
                  </a:lnTo>
                  <a:lnTo>
                    <a:pt x="942" y="1168"/>
                  </a:lnTo>
                  <a:lnTo>
                    <a:pt x="942" y="1168"/>
                  </a:lnTo>
                  <a:lnTo>
                    <a:pt x="942" y="1168"/>
                  </a:lnTo>
                  <a:lnTo>
                    <a:pt x="940" y="1172"/>
                  </a:lnTo>
                  <a:lnTo>
                    <a:pt x="940" y="1172"/>
                  </a:lnTo>
                  <a:lnTo>
                    <a:pt x="940" y="1172"/>
                  </a:lnTo>
                  <a:lnTo>
                    <a:pt x="938" y="1174"/>
                  </a:lnTo>
                  <a:lnTo>
                    <a:pt x="936" y="1178"/>
                  </a:lnTo>
                  <a:lnTo>
                    <a:pt x="934" y="1186"/>
                  </a:lnTo>
                  <a:lnTo>
                    <a:pt x="934" y="1190"/>
                  </a:lnTo>
                  <a:lnTo>
                    <a:pt x="934" y="1194"/>
                  </a:lnTo>
                  <a:lnTo>
                    <a:pt x="934" y="1198"/>
                  </a:lnTo>
                  <a:lnTo>
                    <a:pt x="934" y="1198"/>
                  </a:lnTo>
                  <a:lnTo>
                    <a:pt x="934" y="1198"/>
                  </a:lnTo>
                  <a:lnTo>
                    <a:pt x="934" y="1200"/>
                  </a:lnTo>
                  <a:lnTo>
                    <a:pt x="934" y="1200"/>
                  </a:lnTo>
                  <a:lnTo>
                    <a:pt x="934" y="1202"/>
                  </a:lnTo>
                  <a:lnTo>
                    <a:pt x="936" y="1206"/>
                  </a:lnTo>
                  <a:lnTo>
                    <a:pt x="940" y="1212"/>
                  </a:lnTo>
                  <a:lnTo>
                    <a:pt x="940" y="1214"/>
                  </a:lnTo>
                  <a:lnTo>
                    <a:pt x="942" y="1218"/>
                  </a:lnTo>
                  <a:lnTo>
                    <a:pt x="942" y="1222"/>
                  </a:lnTo>
                  <a:lnTo>
                    <a:pt x="944" y="1228"/>
                  </a:lnTo>
                  <a:lnTo>
                    <a:pt x="944" y="1236"/>
                  </a:lnTo>
                  <a:lnTo>
                    <a:pt x="944" y="1242"/>
                  </a:lnTo>
                  <a:lnTo>
                    <a:pt x="944" y="1248"/>
                  </a:lnTo>
                  <a:lnTo>
                    <a:pt x="942" y="1254"/>
                  </a:lnTo>
                  <a:lnTo>
                    <a:pt x="942" y="1260"/>
                  </a:lnTo>
                  <a:lnTo>
                    <a:pt x="940" y="1264"/>
                  </a:lnTo>
                  <a:lnTo>
                    <a:pt x="938" y="1266"/>
                  </a:lnTo>
                  <a:lnTo>
                    <a:pt x="938" y="1268"/>
                  </a:lnTo>
                  <a:lnTo>
                    <a:pt x="934" y="1274"/>
                  </a:lnTo>
                  <a:lnTo>
                    <a:pt x="932" y="1276"/>
                  </a:lnTo>
                  <a:lnTo>
                    <a:pt x="932" y="1276"/>
                  </a:lnTo>
                  <a:lnTo>
                    <a:pt x="932" y="1276"/>
                  </a:lnTo>
                  <a:lnTo>
                    <a:pt x="932" y="1278"/>
                  </a:lnTo>
                  <a:lnTo>
                    <a:pt x="932" y="1278"/>
                  </a:lnTo>
                  <a:lnTo>
                    <a:pt x="932" y="1280"/>
                  </a:lnTo>
                  <a:lnTo>
                    <a:pt x="932" y="1282"/>
                  </a:lnTo>
                  <a:lnTo>
                    <a:pt x="932" y="1282"/>
                  </a:lnTo>
                  <a:lnTo>
                    <a:pt x="932" y="1284"/>
                  </a:lnTo>
                  <a:lnTo>
                    <a:pt x="932" y="1286"/>
                  </a:lnTo>
                  <a:lnTo>
                    <a:pt x="932" y="1286"/>
                  </a:lnTo>
                  <a:lnTo>
                    <a:pt x="932" y="1286"/>
                  </a:lnTo>
                  <a:lnTo>
                    <a:pt x="934" y="1288"/>
                  </a:lnTo>
                  <a:lnTo>
                    <a:pt x="934" y="1288"/>
                  </a:lnTo>
                  <a:lnTo>
                    <a:pt x="934" y="1288"/>
                  </a:lnTo>
                  <a:lnTo>
                    <a:pt x="936" y="1290"/>
                  </a:lnTo>
                  <a:lnTo>
                    <a:pt x="936" y="1290"/>
                  </a:lnTo>
                  <a:lnTo>
                    <a:pt x="936" y="1290"/>
                  </a:lnTo>
                  <a:lnTo>
                    <a:pt x="940" y="1294"/>
                  </a:lnTo>
                  <a:lnTo>
                    <a:pt x="944" y="1296"/>
                  </a:lnTo>
                  <a:lnTo>
                    <a:pt x="950" y="1300"/>
                  </a:lnTo>
                  <a:lnTo>
                    <a:pt x="954" y="1302"/>
                  </a:lnTo>
                  <a:lnTo>
                    <a:pt x="958" y="1306"/>
                  </a:lnTo>
                  <a:lnTo>
                    <a:pt x="960" y="1310"/>
                  </a:lnTo>
                  <a:lnTo>
                    <a:pt x="962" y="1312"/>
                  </a:lnTo>
                  <a:lnTo>
                    <a:pt x="962" y="1314"/>
                  </a:lnTo>
                  <a:lnTo>
                    <a:pt x="962" y="1316"/>
                  </a:lnTo>
                  <a:lnTo>
                    <a:pt x="964" y="1318"/>
                  </a:lnTo>
                  <a:lnTo>
                    <a:pt x="962" y="1324"/>
                  </a:lnTo>
                  <a:lnTo>
                    <a:pt x="962" y="1332"/>
                  </a:lnTo>
                  <a:lnTo>
                    <a:pt x="960" y="1340"/>
                  </a:lnTo>
                  <a:lnTo>
                    <a:pt x="960" y="1346"/>
                  </a:lnTo>
                  <a:lnTo>
                    <a:pt x="958" y="1354"/>
                  </a:lnTo>
                  <a:lnTo>
                    <a:pt x="956" y="1360"/>
                  </a:lnTo>
                  <a:lnTo>
                    <a:pt x="954" y="1362"/>
                  </a:lnTo>
                  <a:lnTo>
                    <a:pt x="954" y="1364"/>
                  </a:lnTo>
                  <a:lnTo>
                    <a:pt x="952" y="1368"/>
                  </a:lnTo>
                  <a:lnTo>
                    <a:pt x="950" y="1370"/>
                  </a:lnTo>
                  <a:lnTo>
                    <a:pt x="948" y="1370"/>
                  </a:lnTo>
                  <a:lnTo>
                    <a:pt x="944" y="1372"/>
                  </a:lnTo>
                  <a:lnTo>
                    <a:pt x="942" y="1372"/>
                  </a:lnTo>
                  <a:lnTo>
                    <a:pt x="940" y="1374"/>
                  </a:lnTo>
                  <a:lnTo>
                    <a:pt x="938" y="1374"/>
                  </a:lnTo>
                  <a:lnTo>
                    <a:pt x="934" y="1374"/>
                  </a:lnTo>
                  <a:lnTo>
                    <a:pt x="932" y="1374"/>
                  </a:lnTo>
                  <a:lnTo>
                    <a:pt x="930" y="1374"/>
                  </a:lnTo>
                  <a:lnTo>
                    <a:pt x="932" y="1374"/>
                  </a:lnTo>
                  <a:lnTo>
                    <a:pt x="926" y="1374"/>
                  </a:lnTo>
                  <a:lnTo>
                    <a:pt x="924" y="1374"/>
                  </a:lnTo>
                  <a:lnTo>
                    <a:pt x="924" y="1374"/>
                  </a:lnTo>
                  <a:lnTo>
                    <a:pt x="924" y="1374"/>
                  </a:lnTo>
                  <a:lnTo>
                    <a:pt x="922" y="1374"/>
                  </a:lnTo>
                  <a:lnTo>
                    <a:pt x="922" y="1374"/>
                  </a:lnTo>
                  <a:lnTo>
                    <a:pt x="922" y="1374"/>
                  </a:lnTo>
                  <a:lnTo>
                    <a:pt x="920" y="1374"/>
                  </a:lnTo>
                  <a:lnTo>
                    <a:pt x="920" y="1374"/>
                  </a:lnTo>
                  <a:lnTo>
                    <a:pt x="918" y="1376"/>
                  </a:lnTo>
                  <a:lnTo>
                    <a:pt x="918" y="1376"/>
                  </a:lnTo>
                  <a:lnTo>
                    <a:pt x="918" y="1376"/>
                  </a:lnTo>
                  <a:lnTo>
                    <a:pt x="918" y="1378"/>
                  </a:lnTo>
                  <a:lnTo>
                    <a:pt x="916" y="1380"/>
                  </a:lnTo>
                  <a:lnTo>
                    <a:pt x="916" y="1380"/>
                  </a:lnTo>
                  <a:lnTo>
                    <a:pt x="916" y="1380"/>
                  </a:lnTo>
                  <a:lnTo>
                    <a:pt x="916" y="1382"/>
                  </a:lnTo>
                  <a:lnTo>
                    <a:pt x="916" y="1386"/>
                  </a:lnTo>
                  <a:lnTo>
                    <a:pt x="918" y="1390"/>
                  </a:lnTo>
                  <a:lnTo>
                    <a:pt x="918" y="1398"/>
                  </a:lnTo>
                  <a:lnTo>
                    <a:pt x="920" y="1402"/>
                  </a:lnTo>
                  <a:lnTo>
                    <a:pt x="920" y="1406"/>
                  </a:lnTo>
                  <a:lnTo>
                    <a:pt x="922" y="1410"/>
                  </a:lnTo>
                  <a:lnTo>
                    <a:pt x="922" y="1414"/>
                  </a:lnTo>
                  <a:lnTo>
                    <a:pt x="926" y="1422"/>
                  </a:lnTo>
                  <a:lnTo>
                    <a:pt x="928" y="1430"/>
                  </a:lnTo>
                  <a:lnTo>
                    <a:pt x="930" y="1434"/>
                  </a:lnTo>
                  <a:lnTo>
                    <a:pt x="930" y="1436"/>
                  </a:lnTo>
                  <a:lnTo>
                    <a:pt x="930" y="1436"/>
                  </a:lnTo>
                  <a:lnTo>
                    <a:pt x="930" y="1440"/>
                  </a:lnTo>
                  <a:lnTo>
                    <a:pt x="930" y="1442"/>
                  </a:lnTo>
                  <a:lnTo>
                    <a:pt x="930" y="1448"/>
                  </a:lnTo>
                  <a:lnTo>
                    <a:pt x="928" y="1452"/>
                  </a:lnTo>
                  <a:lnTo>
                    <a:pt x="926" y="1456"/>
                  </a:lnTo>
                  <a:lnTo>
                    <a:pt x="926" y="1460"/>
                  </a:lnTo>
                  <a:lnTo>
                    <a:pt x="924" y="1464"/>
                  </a:lnTo>
                  <a:lnTo>
                    <a:pt x="924" y="1464"/>
                  </a:lnTo>
                  <a:lnTo>
                    <a:pt x="924" y="1468"/>
                  </a:lnTo>
                  <a:lnTo>
                    <a:pt x="922" y="1468"/>
                  </a:lnTo>
                  <a:lnTo>
                    <a:pt x="922" y="1468"/>
                  </a:lnTo>
                  <a:lnTo>
                    <a:pt x="920" y="1470"/>
                  </a:lnTo>
                  <a:lnTo>
                    <a:pt x="918" y="1470"/>
                  </a:lnTo>
                  <a:lnTo>
                    <a:pt x="920" y="1470"/>
                  </a:lnTo>
                  <a:lnTo>
                    <a:pt x="914" y="1470"/>
                  </a:lnTo>
                  <a:lnTo>
                    <a:pt x="912" y="1470"/>
                  </a:lnTo>
                  <a:lnTo>
                    <a:pt x="910" y="1470"/>
                  </a:lnTo>
                  <a:lnTo>
                    <a:pt x="908" y="1468"/>
                  </a:lnTo>
                  <a:lnTo>
                    <a:pt x="904" y="1466"/>
                  </a:lnTo>
                  <a:lnTo>
                    <a:pt x="902" y="1462"/>
                  </a:lnTo>
                  <a:lnTo>
                    <a:pt x="898" y="1458"/>
                  </a:lnTo>
                  <a:lnTo>
                    <a:pt x="896" y="1454"/>
                  </a:lnTo>
                  <a:lnTo>
                    <a:pt x="894" y="1452"/>
                  </a:lnTo>
                  <a:lnTo>
                    <a:pt x="890" y="1450"/>
                  </a:lnTo>
                  <a:lnTo>
                    <a:pt x="886" y="1444"/>
                  </a:lnTo>
                  <a:lnTo>
                    <a:pt x="884" y="1442"/>
                  </a:lnTo>
                  <a:lnTo>
                    <a:pt x="882" y="1440"/>
                  </a:lnTo>
                  <a:lnTo>
                    <a:pt x="880" y="1436"/>
                  </a:lnTo>
                  <a:lnTo>
                    <a:pt x="880" y="1436"/>
                  </a:lnTo>
                  <a:lnTo>
                    <a:pt x="878" y="1434"/>
                  </a:lnTo>
                  <a:lnTo>
                    <a:pt x="878" y="1428"/>
                  </a:lnTo>
                  <a:lnTo>
                    <a:pt x="878" y="1422"/>
                  </a:lnTo>
                  <a:lnTo>
                    <a:pt x="878" y="1416"/>
                  </a:lnTo>
                  <a:lnTo>
                    <a:pt x="876" y="1410"/>
                  </a:lnTo>
                  <a:lnTo>
                    <a:pt x="876" y="1402"/>
                  </a:lnTo>
                  <a:lnTo>
                    <a:pt x="876" y="1396"/>
                  </a:lnTo>
                  <a:lnTo>
                    <a:pt x="876" y="1390"/>
                  </a:lnTo>
                  <a:lnTo>
                    <a:pt x="876" y="1384"/>
                  </a:lnTo>
                  <a:lnTo>
                    <a:pt x="874" y="1382"/>
                  </a:lnTo>
                  <a:lnTo>
                    <a:pt x="874" y="1380"/>
                  </a:lnTo>
                  <a:lnTo>
                    <a:pt x="874" y="1378"/>
                  </a:lnTo>
                  <a:lnTo>
                    <a:pt x="874" y="1376"/>
                  </a:lnTo>
                  <a:lnTo>
                    <a:pt x="874" y="1376"/>
                  </a:lnTo>
                  <a:lnTo>
                    <a:pt x="874" y="1376"/>
                  </a:lnTo>
                  <a:lnTo>
                    <a:pt x="874" y="1374"/>
                  </a:lnTo>
                  <a:lnTo>
                    <a:pt x="874" y="1374"/>
                  </a:lnTo>
                  <a:lnTo>
                    <a:pt x="874" y="1374"/>
                  </a:lnTo>
                  <a:lnTo>
                    <a:pt x="872" y="1372"/>
                  </a:lnTo>
                  <a:lnTo>
                    <a:pt x="872" y="1372"/>
                  </a:lnTo>
                  <a:lnTo>
                    <a:pt x="872" y="1372"/>
                  </a:lnTo>
                  <a:lnTo>
                    <a:pt x="870" y="1370"/>
                  </a:lnTo>
                  <a:lnTo>
                    <a:pt x="868" y="1368"/>
                  </a:lnTo>
                  <a:lnTo>
                    <a:pt x="868" y="1368"/>
                  </a:lnTo>
                  <a:lnTo>
                    <a:pt x="868" y="1368"/>
                  </a:lnTo>
                  <a:lnTo>
                    <a:pt x="864" y="1368"/>
                  </a:lnTo>
                  <a:lnTo>
                    <a:pt x="864" y="1368"/>
                  </a:lnTo>
                  <a:lnTo>
                    <a:pt x="864" y="1368"/>
                  </a:lnTo>
                  <a:lnTo>
                    <a:pt x="858" y="1366"/>
                  </a:lnTo>
                  <a:lnTo>
                    <a:pt x="852" y="1366"/>
                  </a:lnTo>
                  <a:lnTo>
                    <a:pt x="846" y="1366"/>
                  </a:lnTo>
                  <a:lnTo>
                    <a:pt x="840" y="1364"/>
                  </a:lnTo>
                  <a:lnTo>
                    <a:pt x="834" y="1364"/>
                  </a:lnTo>
                  <a:lnTo>
                    <a:pt x="828" y="1362"/>
                  </a:lnTo>
                  <a:lnTo>
                    <a:pt x="824" y="1360"/>
                  </a:lnTo>
                  <a:lnTo>
                    <a:pt x="818" y="1358"/>
                  </a:lnTo>
                  <a:lnTo>
                    <a:pt x="814" y="1354"/>
                  </a:lnTo>
                  <a:lnTo>
                    <a:pt x="808" y="1350"/>
                  </a:lnTo>
                  <a:lnTo>
                    <a:pt x="802" y="1346"/>
                  </a:lnTo>
                  <a:lnTo>
                    <a:pt x="798" y="1342"/>
                  </a:lnTo>
                  <a:lnTo>
                    <a:pt x="792" y="1338"/>
                  </a:lnTo>
                  <a:lnTo>
                    <a:pt x="788" y="1334"/>
                  </a:lnTo>
                  <a:lnTo>
                    <a:pt x="784" y="1330"/>
                  </a:lnTo>
                  <a:lnTo>
                    <a:pt x="780" y="1328"/>
                  </a:lnTo>
                  <a:lnTo>
                    <a:pt x="776" y="1328"/>
                  </a:lnTo>
                  <a:lnTo>
                    <a:pt x="772" y="1326"/>
                  </a:lnTo>
                  <a:lnTo>
                    <a:pt x="770" y="1326"/>
                  </a:lnTo>
                  <a:lnTo>
                    <a:pt x="764" y="1324"/>
                  </a:lnTo>
                  <a:lnTo>
                    <a:pt x="762" y="1324"/>
                  </a:lnTo>
                  <a:lnTo>
                    <a:pt x="760" y="1324"/>
                  </a:lnTo>
                  <a:lnTo>
                    <a:pt x="758" y="1322"/>
                  </a:lnTo>
                  <a:lnTo>
                    <a:pt x="758" y="1322"/>
                  </a:lnTo>
                  <a:lnTo>
                    <a:pt x="754" y="1320"/>
                  </a:lnTo>
                  <a:lnTo>
                    <a:pt x="752" y="1318"/>
                  </a:lnTo>
                  <a:lnTo>
                    <a:pt x="752" y="1318"/>
                  </a:lnTo>
                  <a:lnTo>
                    <a:pt x="752" y="1318"/>
                  </a:lnTo>
                  <a:lnTo>
                    <a:pt x="750" y="1316"/>
                  </a:lnTo>
                  <a:lnTo>
                    <a:pt x="750" y="1316"/>
                  </a:lnTo>
                  <a:lnTo>
                    <a:pt x="750" y="1316"/>
                  </a:lnTo>
                  <a:lnTo>
                    <a:pt x="748" y="1316"/>
                  </a:lnTo>
                  <a:lnTo>
                    <a:pt x="748" y="1316"/>
                  </a:lnTo>
                  <a:lnTo>
                    <a:pt x="748" y="1316"/>
                  </a:lnTo>
                  <a:lnTo>
                    <a:pt x="746" y="1316"/>
                  </a:lnTo>
                  <a:lnTo>
                    <a:pt x="746" y="1316"/>
                  </a:lnTo>
                  <a:lnTo>
                    <a:pt x="744" y="1316"/>
                  </a:lnTo>
                  <a:lnTo>
                    <a:pt x="742" y="1316"/>
                  </a:lnTo>
                  <a:lnTo>
                    <a:pt x="742" y="1316"/>
                  </a:lnTo>
                  <a:lnTo>
                    <a:pt x="742" y="1316"/>
                  </a:lnTo>
                  <a:lnTo>
                    <a:pt x="740" y="1318"/>
                  </a:lnTo>
                  <a:lnTo>
                    <a:pt x="738" y="1320"/>
                  </a:lnTo>
                  <a:lnTo>
                    <a:pt x="736" y="1320"/>
                  </a:lnTo>
                  <a:lnTo>
                    <a:pt x="734" y="1322"/>
                  </a:lnTo>
                  <a:lnTo>
                    <a:pt x="732" y="1322"/>
                  </a:lnTo>
                  <a:lnTo>
                    <a:pt x="732" y="1322"/>
                  </a:lnTo>
                  <a:lnTo>
                    <a:pt x="732" y="1320"/>
                  </a:lnTo>
                  <a:lnTo>
                    <a:pt x="730" y="1318"/>
                  </a:lnTo>
                  <a:lnTo>
                    <a:pt x="730" y="1316"/>
                  </a:lnTo>
                  <a:lnTo>
                    <a:pt x="728" y="1314"/>
                  </a:lnTo>
                  <a:lnTo>
                    <a:pt x="726" y="1306"/>
                  </a:lnTo>
                  <a:lnTo>
                    <a:pt x="724" y="1302"/>
                  </a:lnTo>
                  <a:lnTo>
                    <a:pt x="722" y="1300"/>
                  </a:lnTo>
                  <a:lnTo>
                    <a:pt x="722" y="1296"/>
                  </a:lnTo>
                  <a:lnTo>
                    <a:pt x="722" y="1294"/>
                  </a:lnTo>
                  <a:lnTo>
                    <a:pt x="720" y="1286"/>
                  </a:lnTo>
                  <a:lnTo>
                    <a:pt x="720" y="1284"/>
                  </a:lnTo>
                  <a:lnTo>
                    <a:pt x="718" y="1280"/>
                  </a:lnTo>
                  <a:lnTo>
                    <a:pt x="718" y="1280"/>
                  </a:lnTo>
                  <a:lnTo>
                    <a:pt x="718" y="1280"/>
                  </a:lnTo>
                  <a:lnTo>
                    <a:pt x="718" y="1278"/>
                  </a:lnTo>
                  <a:lnTo>
                    <a:pt x="718" y="1278"/>
                  </a:lnTo>
                  <a:lnTo>
                    <a:pt x="716" y="1278"/>
                  </a:lnTo>
                  <a:lnTo>
                    <a:pt x="716" y="1276"/>
                  </a:lnTo>
                  <a:lnTo>
                    <a:pt x="716" y="1276"/>
                  </a:lnTo>
                  <a:lnTo>
                    <a:pt x="714" y="1274"/>
                  </a:lnTo>
                  <a:lnTo>
                    <a:pt x="712" y="1274"/>
                  </a:lnTo>
                  <a:lnTo>
                    <a:pt x="712" y="1274"/>
                  </a:lnTo>
                  <a:lnTo>
                    <a:pt x="712" y="1274"/>
                  </a:lnTo>
                  <a:lnTo>
                    <a:pt x="708" y="1274"/>
                  </a:lnTo>
                  <a:lnTo>
                    <a:pt x="708" y="1274"/>
                  </a:lnTo>
                  <a:lnTo>
                    <a:pt x="708" y="1274"/>
                  </a:lnTo>
                  <a:lnTo>
                    <a:pt x="704" y="1274"/>
                  </a:lnTo>
                  <a:lnTo>
                    <a:pt x="702" y="1274"/>
                  </a:lnTo>
                  <a:lnTo>
                    <a:pt x="698" y="1274"/>
                  </a:lnTo>
                  <a:lnTo>
                    <a:pt x="696" y="1274"/>
                  </a:lnTo>
                  <a:lnTo>
                    <a:pt x="696" y="1274"/>
                  </a:lnTo>
                  <a:lnTo>
                    <a:pt x="696" y="1274"/>
                  </a:lnTo>
                  <a:lnTo>
                    <a:pt x="696" y="1272"/>
                  </a:lnTo>
                  <a:lnTo>
                    <a:pt x="694" y="1270"/>
                  </a:lnTo>
                  <a:lnTo>
                    <a:pt x="694" y="1266"/>
                  </a:lnTo>
                  <a:lnTo>
                    <a:pt x="692" y="1260"/>
                  </a:lnTo>
                  <a:lnTo>
                    <a:pt x="692" y="1254"/>
                  </a:lnTo>
                  <a:lnTo>
                    <a:pt x="692" y="1248"/>
                  </a:lnTo>
                  <a:lnTo>
                    <a:pt x="694" y="1242"/>
                  </a:lnTo>
                  <a:lnTo>
                    <a:pt x="694" y="1236"/>
                  </a:lnTo>
                  <a:lnTo>
                    <a:pt x="696" y="1230"/>
                  </a:lnTo>
                  <a:lnTo>
                    <a:pt x="696" y="1224"/>
                  </a:lnTo>
                  <a:lnTo>
                    <a:pt x="698" y="1220"/>
                  </a:lnTo>
                  <a:lnTo>
                    <a:pt x="700" y="1212"/>
                  </a:lnTo>
                  <a:lnTo>
                    <a:pt x="704" y="1206"/>
                  </a:lnTo>
                  <a:lnTo>
                    <a:pt x="710" y="1194"/>
                  </a:lnTo>
                  <a:lnTo>
                    <a:pt x="712" y="1190"/>
                  </a:lnTo>
                  <a:lnTo>
                    <a:pt x="716" y="1184"/>
                  </a:lnTo>
                  <a:lnTo>
                    <a:pt x="718" y="1180"/>
                  </a:lnTo>
                  <a:lnTo>
                    <a:pt x="722" y="1176"/>
                  </a:lnTo>
                  <a:lnTo>
                    <a:pt x="730" y="1168"/>
                  </a:lnTo>
                  <a:lnTo>
                    <a:pt x="736" y="1160"/>
                  </a:lnTo>
                  <a:lnTo>
                    <a:pt x="740" y="1158"/>
                  </a:lnTo>
                  <a:lnTo>
                    <a:pt x="744" y="1156"/>
                  </a:lnTo>
                  <a:lnTo>
                    <a:pt x="746" y="1154"/>
                  </a:lnTo>
                  <a:lnTo>
                    <a:pt x="748" y="1152"/>
                  </a:lnTo>
                  <a:lnTo>
                    <a:pt x="750" y="1152"/>
                  </a:lnTo>
                  <a:lnTo>
                    <a:pt x="752" y="1152"/>
                  </a:lnTo>
                  <a:lnTo>
                    <a:pt x="754" y="1150"/>
                  </a:lnTo>
                  <a:lnTo>
                    <a:pt x="754" y="1150"/>
                  </a:lnTo>
                  <a:lnTo>
                    <a:pt x="754" y="1150"/>
                  </a:lnTo>
                  <a:lnTo>
                    <a:pt x="756" y="1148"/>
                  </a:lnTo>
                  <a:lnTo>
                    <a:pt x="756" y="1148"/>
                  </a:lnTo>
                  <a:lnTo>
                    <a:pt x="756" y="1148"/>
                  </a:lnTo>
                  <a:lnTo>
                    <a:pt x="758" y="1148"/>
                  </a:lnTo>
                  <a:lnTo>
                    <a:pt x="758" y="1146"/>
                  </a:lnTo>
                  <a:lnTo>
                    <a:pt x="758" y="1146"/>
                  </a:lnTo>
                  <a:lnTo>
                    <a:pt x="758" y="1144"/>
                  </a:lnTo>
                  <a:lnTo>
                    <a:pt x="758" y="1142"/>
                  </a:lnTo>
                  <a:lnTo>
                    <a:pt x="758" y="1142"/>
                  </a:lnTo>
                  <a:lnTo>
                    <a:pt x="758" y="1140"/>
                  </a:lnTo>
                  <a:lnTo>
                    <a:pt x="758" y="1138"/>
                  </a:lnTo>
                  <a:lnTo>
                    <a:pt x="758" y="1138"/>
                  </a:lnTo>
                  <a:lnTo>
                    <a:pt x="758" y="1138"/>
                  </a:lnTo>
                  <a:lnTo>
                    <a:pt x="758" y="1136"/>
                  </a:lnTo>
                  <a:lnTo>
                    <a:pt x="758" y="1136"/>
                  </a:lnTo>
                  <a:lnTo>
                    <a:pt x="758" y="1136"/>
                  </a:lnTo>
                  <a:lnTo>
                    <a:pt x="756" y="1134"/>
                  </a:lnTo>
                  <a:lnTo>
                    <a:pt x="756" y="1134"/>
                  </a:lnTo>
                  <a:lnTo>
                    <a:pt x="756" y="1134"/>
                  </a:lnTo>
                  <a:lnTo>
                    <a:pt x="756" y="1132"/>
                  </a:lnTo>
                  <a:lnTo>
                    <a:pt x="756" y="1132"/>
                  </a:lnTo>
                  <a:lnTo>
                    <a:pt x="756" y="1132"/>
                  </a:lnTo>
                  <a:lnTo>
                    <a:pt x="756" y="1132"/>
                  </a:lnTo>
                  <a:lnTo>
                    <a:pt x="756" y="1132"/>
                  </a:lnTo>
                  <a:lnTo>
                    <a:pt x="758" y="1132"/>
                  </a:lnTo>
                  <a:lnTo>
                    <a:pt x="760" y="1130"/>
                  </a:lnTo>
                  <a:lnTo>
                    <a:pt x="760" y="1130"/>
                  </a:lnTo>
                  <a:lnTo>
                    <a:pt x="760" y="1128"/>
                  </a:lnTo>
                  <a:lnTo>
                    <a:pt x="760" y="1126"/>
                  </a:lnTo>
                  <a:lnTo>
                    <a:pt x="762" y="1122"/>
                  </a:lnTo>
                  <a:lnTo>
                    <a:pt x="764" y="1118"/>
                  </a:lnTo>
                  <a:lnTo>
                    <a:pt x="764" y="1114"/>
                  </a:lnTo>
                  <a:lnTo>
                    <a:pt x="766" y="1112"/>
                  </a:lnTo>
                  <a:lnTo>
                    <a:pt x="766" y="1112"/>
                  </a:lnTo>
                  <a:lnTo>
                    <a:pt x="766" y="1114"/>
                  </a:lnTo>
                  <a:lnTo>
                    <a:pt x="768" y="1116"/>
                  </a:lnTo>
                  <a:lnTo>
                    <a:pt x="770" y="1116"/>
                  </a:lnTo>
                  <a:lnTo>
                    <a:pt x="770" y="1116"/>
                  </a:lnTo>
                  <a:lnTo>
                    <a:pt x="770" y="1118"/>
                  </a:lnTo>
                  <a:lnTo>
                    <a:pt x="772" y="1118"/>
                  </a:lnTo>
                  <a:lnTo>
                    <a:pt x="772" y="1118"/>
                  </a:lnTo>
                  <a:lnTo>
                    <a:pt x="774" y="1118"/>
                  </a:lnTo>
                  <a:lnTo>
                    <a:pt x="776" y="1118"/>
                  </a:lnTo>
                  <a:lnTo>
                    <a:pt x="776" y="1118"/>
                  </a:lnTo>
                  <a:lnTo>
                    <a:pt x="776" y="1118"/>
                  </a:lnTo>
                  <a:lnTo>
                    <a:pt x="778" y="1118"/>
                  </a:lnTo>
                  <a:lnTo>
                    <a:pt x="778" y="1118"/>
                  </a:lnTo>
                  <a:lnTo>
                    <a:pt x="778" y="1118"/>
                  </a:lnTo>
                  <a:lnTo>
                    <a:pt x="778" y="1116"/>
                  </a:lnTo>
                  <a:lnTo>
                    <a:pt x="782" y="1114"/>
                  </a:lnTo>
                  <a:lnTo>
                    <a:pt x="786" y="1110"/>
                  </a:lnTo>
                  <a:lnTo>
                    <a:pt x="790" y="1106"/>
                  </a:lnTo>
                  <a:lnTo>
                    <a:pt x="794" y="1102"/>
                  </a:lnTo>
                  <a:lnTo>
                    <a:pt x="798" y="1096"/>
                  </a:lnTo>
                  <a:lnTo>
                    <a:pt x="802" y="1092"/>
                  </a:lnTo>
                  <a:lnTo>
                    <a:pt x="804" y="1090"/>
                  </a:lnTo>
                  <a:lnTo>
                    <a:pt x="804" y="1088"/>
                  </a:lnTo>
                  <a:lnTo>
                    <a:pt x="806" y="1086"/>
                  </a:lnTo>
                  <a:lnTo>
                    <a:pt x="806" y="1086"/>
                  </a:lnTo>
                  <a:lnTo>
                    <a:pt x="806" y="1084"/>
                  </a:lnTo>
                  <a:lnTo>
                    <a:pt x="806" y="1084"/>
                  </a:lnTo>
                  <a:lnTo>
                    <a:pt x="806" y="1084"/>
                  </a:lnTo>
                  <a:lnTo>
                    <a:pt x="806" y="1082"/>
                  </a:lnTo>
                  <a:lnTo>
                    <a:pt x="806" y="1080"/>
                  </a:lnTo>
                  <a:lnTo>
                    <a:pt x="806" y="1080"/>
                  </a:lnTo>
                  <a:lnTo>
                    <a:pt x="806" y="1080"/>
                  </a:lnTo>
                  <a:lnTo>
                    <a:pt x="806" y="1078"/>
                  </a:lnTo>
                  <a:lnTo>
                    <a:pt x="806" y="1078"/>
                  </a:lnTo>
                  <a:lnTo>
                    <a:pt x="804" y="1078"/>
                  </a:lnTo>
                  <a:lnTo>
                    <a:pt x="802" y="1076"/>
                  </a:lnTo>
                  <a:lnTo>
                    <a:pt x="802" y="1076"/>
                  </a:lnTo>
                  <a:lnTo>
                    <a:pt x="802" y="1076"/>
                  </a:lnTo>
                  <a:lnTo>
                    <a:pt x="802" y="1074"/>
                  </a:lnTo>
                  <a:lnTo>
                    <a:pt x="802" y="1074"/>
                  </a:lnTo>
                  <a:lnTo>
                    <a:pt x="802" y="1074"/>
                  </a:lnTo>
                  <a:lnTo>
                    <a:pt x="804" y="1072"/>
                  </a:lnTo>
                  <a:lnTo>
                    <a:pt x="804" y="1072"/>
                  </a:lnTo>
                  <a:lnTo>
                    <a:pt x="804" y="1072"/>
                  </a:lnTo>
                  <a:lnTo>
                    <a:pt x="806" y="1070"/>
                  </a:lnTo>
                  <a:lnTo>
                    <a:pt x="808" y="1066"/>
                  </a:lnTo>
                  <a:lnTo>
                    <a:pt x="810" y="1064"/>
                  </a:lnTo>
                  <a:lnTo>
                    <a:pt x="810" y="1060"/>
                  </a:lnTo>
                  <a:lnTo>
                    <a:pt x="812" y="1058"/>
                  </a:lnTo>
                  <a:lnTo>
                    <a:pt x="812" y="1062"/>
                  </a:lnTo>
                  <a:lnTo>
                    <a:pt x="812" y="1064"/>
                  </a:lnTo>
                  <a:lnTo>
                    <a:pt x="812" y="1066"/>
                  </a:lnTo>
                  <a:lnTo>
                    <a:pt x="812" y="1066"/>
                  </a:lnTo>
                  <a:lnTo>
                    <a:pt x="812" y="1066"/>
                  </a:lnTo>
                  <a:lnTo>
                    <a:pt x="814" y="1074"/>
                  </a:lnTo>
                  <a:lnTo>
                    <a:pt x="814" y="1080"/>
                  </a:lnTo>
                  <a:lnTo>
                    <a:pt x="816" y="1088"/>
                  </a:lnTo>
                  <a:lnTo>
                    <a:pt x="816" y="1096"/>
                  </a:lnTo>
                  <a:lnTo>
                    <a:pt x="814" y="1104"/>
                  </a:lnTo>
                  <a:lnTo>
                    <a:pt x="814" y="1106"/>
                  </a:lnTo>
                  <a:lnTo>
                    <a:pt x="812" y="1110"/>
                  </a:lnTo>
                  <a:lnTo>
                    <a:pt x="812" y="1112"/>
                  </a:lnTo>
                  <a:lnTo>
                    <a:pt x="810" y="1116"/>
                  </a:lnTo>
                  <a:lnTo>
                    <a:pt x="808" y="1118"/>
                  </a:lnTo>
                  <a:lnTo>
                    <a:pt x="804" y="1120"/>
                  </a:lnTo>
                  <a:lnTo>
                    <a:pt x="804" y="1120"/>
                  </a:lnTo>
                  <a:lnTo>
                    <a:pt x="804" y="1120"/>
                  </a:lnTo>
                  <a:lnTo>
                    <a:pt x="802" y="1124"/>
                  </a:lnTo>
                  <a:lnTo>
                    <a:pt x="802" y="1124"/>
                  </a:lnTo>
                  <a:lnTo>
                    <a:pt x="800" y="1126"/>
                  </a:lnTo>
                  <a:lnTo>
                    <a:pt x="800" y="1128"/>
                  </a:lnTo>
                  <a:lnTo>
                    <a:pt x="800" y="1128"/>
                  </a:lnTo>
                  <a:lnTo>
                    <a:pt x="800" y="1128"/>
                  </a:lnTo>
                  <a:lnTo>
                    <a:pt x="800" y="1130"/>
                  </a:lnTo>
                  <a:lnTo>
                    <a:pt x="800" y="1130"/>
                  </a:lnTo>
                  <a:lnTo>
                    <a:pt x="800" y="1132"/>
                  </a:lnTo>
                  <a:lnTo>
                    <a:pt x="800" y="1132"/>
                  </a:lnTo>
                  <a:lnTo>
                    <a:pt x="800" y="1132"/>
                  </a:lnTo>
                  <a:lnTo>
                    <a:pt x="800" y="1134"/>
                  </a:lnTo>
                  <a:lnTo>
                    <a:pt x="802" y="1134"/>
                  </a:lnTo>
                  <a:lnTo>
                    <a:pt x="802" y="1134"/>
                  </a:lnTo>
                  <a:lnTo>
                    <a:pt x="802" y="1134"/>
                  </a:lnTo>
                  <a:lnTo>
                    <a:pt x="806" y="1136"/>
                  </a:lnTo>
                  <a:lnTo>
                    <a:pt x="806" y="1136"/>
                  </a:lnTo>
                  <a:lnTo>
                    <a:pt x="806" y="1136"/>
                  </a:lnTo>
                  <a:lnTo>
                    <a:pt x="810" y="1136"/>
                  </a:lnTo>
                  <a:lnTo>
                    <a:pt x="814" y="1134"/>
                  </a:lnTo>
                  <a:lnTo>
                    <a:pt x="816" y="1134"/>
                  </a:lnTo>
                  <a:lnTo>
                    <a:pt x="818" y="1134"/>
                  </a:lnTo>
                  <a:lnTo>
                    <a:pt x="820" y="1134"/>
                  </a:lnTo>
                  <a:lnTo>
                    <a:pt x="822" y="1134"/>
                  </a:lnTo>
                  <a:lnTo>
                    <a:pt x="822" y="1134"/>
                  </a:lnTo>
                  <a:lnTo>
                    <a:pt x="822" y="1136"/>
                  </a:lnTo>
                  <a:lnTo>
                    <a:pt x="824" y="1138"/>
                  </a:lnTo>
                  <a:lnTo>
                    <a:pt x="824" y="1140"/>
                  </a:lnTo>
                  <a:lnTo>
                    <a:pt x="824" y="1142"/>
                  </a:lnTo>
                  <a:lnTo>
                    <a:pt x="824" y="1146"/>
                  </a:lnTo>
                  <a:lnTo>
                    <a:pt x="824" y="1146"/>
                  </a:lnTo>
                  <a:lnTo>
                    <a:pt x="826" y="1148"/>
                  </a:lnTo>
                  <a:lnTo>
                    <a:pt x="828" y="1148"/>
                  </a:lnTo>
                  <a:lnTo>
                    <a:pt x="832" y="1148"/>
                  </a:lnTo>
                  <a:lnTo>
                    <a:pt x="834" y="1148"/>
                  </a:lnTo>
                  <a:lnTo>
                    <a:pt x="840" y="1146"/>
                  </a:lnTo>
                  <a:lnTo>
                    <a:pt x="844" y="1144"/>
                  </a:lnTo>
                  <a:lnTo>
                    <a:pt x="846" y="1144"/>
                  </a:lnTo>
                  <a:lnTo>
                    <a:pt x="850" y="1142"/>
                  </a:lnTo>
                  <a:lnTo>
                    <a:pt x="850" y="1142"/>
                  </a:lnTo>
                  <a:lnTo>
                    <a:pt x="850" y="1142"/>
                  </a:lnTo>
                  <a:lnTo>
                    <a:pt x="854" y="1138"/>
                  </a:lnTo>
                  <a:lnTo>
                    <a:pt x="856" y="1134"/>
                  </a:lnTo>
                  <a:lnTo>
                    <a:pt x="858" y="1132"/>
                  </a:lnTo>
                  <a:lnTo>
                    <a:pt x="860" y="1128"/>
                  </a:lnTo>
                  <a:lnTo>
                    <a:pt x="860" y="1128"/>
                  </a:lnTo>
                  <a:lnTo>
                    <a:pt x="860" y="1126"/>
                  </a:lnTo>
                  <a:lnTo>
                    <a:pt x="860" y="1124"/>
                  </a:lnTo>
                  <a:lnTo>
                    <a:pt x="860" y="1122"/>
                  </a:lnTo>
                  <a:lnTo>
                    <a:pt x="860" y="1122"/>
                  </a:lnTo>
                  <a:lnTo>
                    <a:pt x="860" y="1122"/>
                  </a:lnTo>
                  <a:lnTo>
                    <a:pt x="862" y="1124"/>
                  </a:lnTo>
                  <a:lnTo>
                    <a:pt x="866" y="1126"/>
                  </a:lnTo>
                  <a:lnTo>
                    <a:pt x="868" y="1126"/>
                  </a:lnTo>
                  <a:lnTo>
                    <a:pt x="872" y="1130"/>
                  </a:lnTo>
                  <a:lnTo>
                    <a:pt x="874" y="1132"/>
                  </a:lnTo>
                  <a:lnTo>
                    <a:pt x="876" y="1134"/>
                  </a:lnTo>
                  <a:lnTo>
                    <a:pt x="880" y="1136"/>
                  </a:lnTo>
                  <a:lnTo>
                    <a:pt x="880" y="1136"/>
                  </a:lnTo>
                  <a:lnTo>
                    <a:pt x="880" y="1136"/>
                  </a:lnTo>
                  <a:lnTo>
                    <a:pt x="884" y="1136"/>
                  </a:lnTo>
                  <a:lnTo>
                    <a:pt x="884" y="1136"/>
                  </a:lnTo>
                  <a:lnTo>
                    <a:pt x="884" y="1136"/>
                  </a:lnTo>
                  <a:lnTo>
                    <a:pt x="888" y="1136"/>
                  </a:lnTo>
                  <a:lnTo>
                    <a:pt x="892" y="1136"/>
                  </a:lnTo>
                  <a:lnTo>
                    <a:pt x="896" y="1136"/>
                  </a:lnTo>
                  <a:lnTo>
                    <a:pt x="896" y="1136"/>
                  </a:lnTo>
                  <a:lnTo>
                    <a:pt x="898" y="1136"/>
                  </a:lnTo>
                  <a:lnTo>
                    <a:pt x="902" y="1136"/>
                  </a:lnTo>
                  <a:lnTo>
                    <a:pt x="902" y="1136"/>
                  </a:lnTo>
                  <a:lnTo>
                    <a:pt x="902" y="1136"/>
                  </a:lnTo>
                  <a:lnTo>
                    <a:pt x="904" y="1134"/>
                  </a:lnTo>
                  <a:lnTo>
                    <a:pt x="904" y="1134"/>
                  </a:lnTo>
                  <a:lnTo>
                    <a:pt x="904" y="1134"/>
                  </a:lnTo>
                  <a:lnTo>
                    <a:pt x="906" y="1132"/>
                  </a:lnTo>
                  <a:lnTo>
                    <a:pt x="906" y="1132"/>
                  </a:lnTo>
                  <a:lnTo>
                    <a:pt x="906" y="1132"/>
                  </a:lnTo>
                  <a:lnTo>
                    <a:pt x="906" y="1130"/>
                  </a:lnTo>
                  <a:lnTo>
                    <a:pt x="906" y="1130"/>
                  </a:lnTo>
                  <a:lnTo>
                    <a:pt x="906" y="1128"/>
                  </a:lnTo>
                  <a:lnTo>
                    <a:pt x="906" y="1128"/>
                  </a:lnTo>
                  <a:lnTo>
                    <a:pt x="906" y="1128"/>
                  </a:lnTo>
                  <a:lnTo>
                    <a:pt x="906" y="1126"/>
                  </a:lnTo>
                  <a:lnTo>
                    <a:pt x="904" y="1126"/>
                  </a:lnTo>
                  <a:lnTo>
                    <a:pt x="904" y="1126"/>
                  </a:lnTo>
                  <a:lnTo>
                    <a:pt x="904" y="1124"/>
                  </a:lnTo>
                  <a:lnTo>
                    <a:pt x="902" y="1124"/>
                  </a:lnTo>
                  <a:lnTo>
                    <a:pt x="900" y="1122"/>
                  </a:lnTo>
                  <a:lnTo>
                    <a:pt x="898" y="1120"/>
                  </a:lnTo>
                  <a:lnTo>
                    <a:pt x="894" y="1116"/>
                  </a:lnTo>
                  <a:lnTo>
                    <a:pt x="888" y="1114"/>
                  </a:lnTo>
                  <a:lnTo>
                    <a:pt x="886" y="1112"/>
                  </a:lnTo>
                  <a:lnTo>
                    <a:pt x="884" y="1112"/>
                  </a:lnTo>
                  <a:lnTo>
                    <a:pt x="884" y="1110"/>
                  </a:lnTo>
                  <a:lnTo>
                    <a:pt x="882" y="1110"/>
                  </a:lnTo>
                  <a:lnTo>
                    <a:pt x="882" y="1108"/>
                  </a:lnTo>
                  <a:lnTo>
                    <a:pt x="882" y="1106"/>
                  </a:lnTo>
                  <a:lnTo>
                    <a:pt x="880" y="1104"/>
                  </a:lnTo>
                  <a:lnTo>
                    <a:pt x="880" y="1100"/>
                  </a:lnTo>
                  <a:lnTo>
                    <a:pt x="880" y="1098"/>
                  </a:lnTo>
                  <a:lnTo>
                    <a:pt x="878" y="1094"/>
                  </a:lnTo>
                  <a:lnTo>
                    <a:pt x="878" y="1094"/>
                  </a:lnTo>
                  <a:lnTo>
                    <a:pt x="878" y="1094"/>
                  </a:lnTo>
                  <a:lnTo>
                    <a:pt x="876" y="1092"/>
                  </a:lnTo>
                  <a:lnTo>
                    <a:pt x="876" y="1092"/>
                  </a:lnTo>
                  <a:lnTo>
                    <a:pt x="876" y="1092"/>
                  </a:lnTo>
                  <a:lnTo>
                    <a:pt x="872" y="1090"/>
                  </a:lnTo>
                  <a:lnTo>
                    <a:pt x="870" y="1088"/>
                  </a:lnTo>
                  <a:lnTo>
                    <a:pt x="868" y="1088"/>
                  </a:lnTo>
                  <a:lnTo>
                    <a:pt x="866" y="1084"/>
                  </a:lnTo>
                  <a:lnTo>
                    <a:pt x="864" y="1082"/>
                  </a:lnTo>
                  <a:lnTo>
                    <a:pt x="862" y="1078"/>
                  </a:lnTo>
                  <a:lnTo>
                    <a:pt x="862" y="1078"/>
                  </a:lnTo>
                  <a:lnTo>
                    <a:pt x="862" y="1078"/>
                  </a:lnTo>
                  <a:lnTo>
                    <a:pt x="860" y="1074"/>
                  </a:lnTo>
                  <a:lnTo>
                    <a:pt x="860" y="1074"/>
                  </a:lnTo>
                  <a:lnTo>
                    <a:pt x="860" y="1074"/>
                  </a:lnTo>
                  <a:lnTo>
                    <a:pt x="856" y="1072"/>
                  </a:lnTo>
                  <a:lnTo>
                    <a:pt x="850" y="1068"/>
                  </a:lnTo>
                  <a:lnTo>
                    <a:pt x="850" y="1068"/>
                  </a:lnTo>
                  <a:lnTo>
                    <a:pt x="850" y="1068"/>
                  </a:lnTo>
                  <a:lnTo>
                    <a:pt x="852" y="1068"/>
                  </a:lnTo>
                  <a:lnTo>
                    <a:pt x="852" y="1068"/>
                  </a:lnTo>
                  <a:lnTo>
                    <a:pt x="854" y="1068"/>
                  </a:lnTo>
                  <a:lnTo>
                    <a:pt x="856" y="1068"/>
                  </a:lnTo>
                  <a:lnTo>
                    <a:pt x="856" y="1068"/>
                  </a:lnTo>
                  <a:lnTo>
                    <a:pt x="856" y="1068"/>
                  </a:lnTo>
                  <a:lnTo>
                    <a:pt x="858" y="1066"/>
                  </a:lnTo>
                  <a:lnTo>
                    <a:pt x="858" y="1066"/>
                  </a:lnTo>
                  <a:lnTo>
                    <a:pt x="860" y="1066"/>
                  </a:lnTo>
                  <a:lnTo>
                    <a:pt x="862" y="1064"/>
                  </a:lnTo>
                  <a:lnTo>
                    <a:pt x="862" y="1064"/>
                  </a:lnTo>
                  <a:lnTo>
                    <a:pt x="862" y="1064"/>
                  </a:lnTo>
                  <a:lnTo>
                    <a:pt x="864" y="1060"/>
                  </a:lnTo>
                  <a:lnTo>
                    <a:pt x="864" y="1060"/>
                  </a:lnTo>
                  <a:lnTo>
                    <a:pt x="864" y="1060"/>
                  </a:lnTo>
                  <a:lnTo>
                    <a:pt x="864" y="1050"/>
                  </a:lnTo>
                  <a:lnTo>
                    <a:pt x="864" y="1042"/>
                  </a:lnTo>
                  <a:lnTo>
                    <a:pt x="864" y="1036"/>
                  </a:lnTo>
                  <a:lnTo>
                    <a:pt x="864" y="1036"/>
                  </a:lnTo>
                  <a:lnTo>
                    <a:pt x="864" y="1034"/>
                  </a:lnTo>
                  <a:lnTo>
                    <a:pt x="864" y="1030"/>
                  </a:lnTo>
                  <a:lnTo>
                    <a:pt x="864" y="1030"/>
                  </a:lnTo>
                  <a:lnTo>
                    <a:pt x="864" y="1030"/>
                  </a:lnTo>
                  <a:lnTo>
                    <a:pt x="864" y="1030"/>
                  </a:lnTo>
                  <a:lnTo>
                    <a:pt x="868" y="1028"/>
                  </a:lnTo>
                  <a:lnTo>
                    <a:pt x="872" y="1024"/>
                  </a:lnTo>
                  <a:lnTo>
                    <a:pt x="876" y="1022"/>
                  </a:lnTo>
                  <a:lnTo>
                    <a:pt x="880" y="1018"/>
                  </a:lnTo>
                  <a:lnTo>
                    <a:pt x="884" y="1014"/>
                  </a:lnTo>
                  <a:lnTo>
                    <a:pt x="888" y="1010"/>
                  </a:lnTo>
                  <a:lnTo>
                    <a:pt x="892" y="1006"/>
                  </a:lnTo>
                  <a:lnTo>
                    <a:pt x="892" y="1004"/>
                  </a:lnTo>
                  <a:lnTo>
                    <a:pt x="892" y="1004"/>
                  </a:lnTo>
                  <a:lnTo>
                    <a:pt x="892" y="1004"/>
                  </a:lnTo>
                  <a:lnTo>
                    <a:pt x="892" y="1002"/>
                  </a:lnTo>
                  <a:lnTo>
                    <a:pt x="892" y="1002"/>
                  </a:lnTo>
                  <a:lnTo>
                    <a:pt x="894" y="1002"/>
                  </a:lnTo>
                  <a:lnTo>
                    <a:pt x="894" y="1000"/>
                  </a:lnTo>
                  <a:lnTo>
                    <a:pt x="894" y="1000"/>
                  </a:lnTo>
                  <a:lnTo>
                    <a:pt x="894" y="1000"/>
                  </a:lnTo>
                  <a:lnTo>
                    <a:pt x="894" y="998"/>
                  </a:lnTo>
                  <a:lnTo>
                    <a:pt x="894" y="998"/>
                  </a:lnTo>
                  <a:lnTo>
                    <a:pt x="892" y="998"/>
                  </a:lnTo>
                  <a:lnTo>
                    <a:pt x="892" y="994"/>
                  </a:lnTo>
                  <a:lnTo>
                    <a:pt x="892" y="994"/>
                  </a:lnTo>
                  <a:lnTo>
                    <a:pt x="892" y="994"/>
                  </a:lnTo>
                  <a:lnTo>
                    <a:pt x="890" y="990"/>
                  </a:lnTo>
                  <a:lnTo>
                    <a:pt x="888" y="988"/>
                  </a:lnTo>
                  <a:lnTo>
                    <a:pt x="884" y="984"/>
                  </a:lnTo>
                  <a:lnTo>
                    <a:pt x="882" y="982"/>
                  </a:lnTo>
                  <a:lnTo>
                    <a:pt x="882" y="980"/>
                  </a:lnTo>
                  <a:lnTo>
                    <a:pt x="882" y="976"/>
                  </a:lnTo>
                  <a:lnTo>
                    <a:pt x="882" y="974"/>
                  </a:lnTo>
                  <a:lnTo>
                    <a:pt x="882" y="974"/>
                  </a:lnTo>
                  <a:lnTo>
                    <a:pt x="882" y="972"/>
                  </a:lnTo>
                  <a:lnTo>
                    <a:pt x="884" y="968"/>
                  </a:lnTo>
                  <a:lnTo>
                    <a:pt x="886" y="966"/>
                  </a:lnTo>
                  <a:lnTo>
                    <a:pt x="888" y="958"/>
                  </a:lnTo>
                  <a:lnTo>
                    <a:pt x="890" y="956"/>
                  </a:lnTo>
                  <a:lnTo>
                    <a:pt x="890" y="952"/>
                  </a:lnTo>
                  <a:lnTo>
                    <a:pt x="890" y="948"/>
                  </a:lnTo>
                  <a:lnTo>
                    <a:pt x="890" y="944"/>
                  </a:lnTo>
                  <a:lnTo>
                    <a:pt x="890" y="938"/>
                  </a:lnTo>
                  <a:lnTo>
                    <a:pt x="890" y="930"/>
                  </a:lnTo>
                  <a:lnTo>
                    <a:pt x="888" y="926"/>
                  </a:lnTo>
                  <a:lnTo>
                    <a:pt x="888" y="924"/>
                  </a:lnTo>
                  <a:lnTo>
                    <a:pt x="886" y="918"/>
                  </a:lnTo>
                  <a:lnTo>
                    <a:pt x="886" y="918"/>
                  </a:lnTo>
                  <a:lnTo>
                    <a:pt x="886" y="918"/>
                  </a:lnTo>
                  <a:lnTo>
                    <a:pt x="882" y="914"/>
                  </a:lnTo>
                  <a:lnTo>
                    <a:pt x="882" y="914"/>
                  </a:lnTo>
                  <a:lnTo>
                    <a:pt x="882" y="914"/>
                  </a:lnTo>
                  <a:lnTo>
                    <a:pt x="880" y="912"/>
                  </a:lnTo>
                  <a:lnTo>
                    <a:pt x="878" y="910"/>
                  </a:lnTo>
                  <a:lnTo>
                    <a:pt x="874" y="908"/>
                  </a:lnTo>
                  <a:lnTo>
                    <a:pt x="872" y="906"/>
                  </a:lnTo>
                  <a:lnTo>
                    <a:pt x="868" y="904"/>
                  </a:lnTo>
                  <a:lnTo>
                    <a:pt x="862" y="902"/>
                  </a:lnTo>
                  <a:lnTo>
                    <a:pt x="858" y="900"/>
                  </a:lnTo>
                  <a:lnTo>
                    <a:pt x="852" y="898"/>
                  </a:lnTo>
                  <a:lnTo>
                    <a:pt x="848" y="896"/>
                  </a:lnTo>
                  <a:lnTo>
                    <a:pt x="850" y="896"/>
                  </a:lnTo>
                  <a:lnTo>
                    <a:pt x="858" y="898"/>
                  </a:lnTo>
                  <a:lnTo>
                    <a:pt x="866" y="896"/>
                  </a:lnTo>
                  <a:lnTo>
                    <a:pt x="866" y="896"/>
                  </a:lnTo>
                  <a:lnTo>
                    <a:pt x="870" y="894"/>
                  </a:lnTo>
                  <a:lnTo>
                    <a:pt x="870" y="894"/>
                  </a:lnTo>
                  <a:lnTo>
                    <a:pt x="868" y="892"/>
                  </a:lnTo>
                  <a:lnTo>
                    <a:pt x="866" y="890"/>
                  </a:lnTo>
                  <a:lnTo>
                    <a:pt x="862" y="888"/>
                  </a:lnTo>
                  <a:lnTo>
                    <a:pt x="862" y="886"/>
                  </a:lnTo>
                  <a:lnTo>
                    <a:pt x="860" y="886"/>
                  </a:lnTo>
                  <a:lnTo>
                    <a:pt x="860" y="886"/>
                  </a:lnTo>
                  <a:lnTo>
                    <a:pt x="860" y="884"/>
                  </a:lnTo>
                  <a:lnTo>
                    <a:pt x="862" y="884"/>
                  </a:lnTo>
                  <a:lnTo>
                    <a:pt x="864" y="882"/>
                  </a:lnTo>
                  <a:lnTo>
                    <a:pt x="868" y="882"/>
                  </a:lnTo>
                  <a:lnTo>
                    <a:pt x="874" y="884"/>
                  </a:lnTo>
                  <a:lnTo>
                    <a:pt x="878" y="886"/>
                  </a:lnTo>
                  <a:lnTo>
                    <a:pt x="884" y="886"/>
                  </a:lnTo>
                  <a:lnTo>
                    <a:pt x="886" y="888"/>
                  </a:lnTo>
                  <a:lnTo>
                    <a:pt x="886" y="888"/>
                  </a:lnTo>
                  <a:lnTo>
                    <a:pt x="886" y="888"/>
                  </a:lnTo>
                  <a:lnTo>
                    <a:pt x="890" y="888"/>
                  </a:lnTo>
                  <a:lnTo>
                    <a:pt x="890" y="888"/>
                  </a:lnTo>
                  <a:lnTo>
                    <a:pt x="890" y="888"/>
                  </a:lnTo>
                  <a:lnTo>
                    <a:pt x="894" y="888"/>
                  </a:lnTo>
                  <a:lnTo>
                    <a:pt x="898" y="888"/>
                  </a:lnTo>
                  <a:lnTo>
                    <a:pt x="904" y="888"/>
                  </a:lnTo>
                  <a:lnTo>
                    <a:pt x="908" y="888"/>
                  </a:lnTo>
                  <a:lnTo>
                    <a:pt x="910" y="888"/>
                  </a:lnTo>
                  <a:lnTo>
                    <a:pt x="910" y="890"/>
                  </a:lnTo>
                  <a:lnTo>
                    <a:pt x="910" y="892"/>
                  </a:lnTo>
                  <a:lnTo>
                    <a:pt x="910" y="892"/>
                  </a:lnTo>
                  <a:lnTo>
                    <a:pt x="910" y="894"/>
                  </a:lnTo>
                  <a:lnTo>
                    <a:pt x="912" y="898"/>
                  </a:lnTo>
                  <a:lnTo>
                    <a:pt x="912" y="898"/>
                  </a:lnTo>
                  <a:lnTo>
                    <a:pt x="912" y="898"/>
                  </a:lnTo>
                  <a:lnTo>
                    <a:pt x="914" y="900"/>
                  </a:lnTo>
                  <a:lnTo>
                    <a:pt x="914" y="900"/>
                  </a:lnTo>
                  <a:lnTo>
                    <a:pt x="914" y="900"/>
                  </a:lnTo>
                  <a:lnTo>
                    <a:pt x="916" y="902"/>
                  </a:lnTo>
                  <a:lnTo>
                    <a:pt x="916" y="902"/>
                  </a:lnTo>
                  <a:lnTo>
                    <a:pt x="916" y="902"/>
                  </a:lnTo>
                  <a:lnTo>
                    <a:pt x="918" y="904"/>
                  </a:lnTo>
                  <a:lnTo>
                    <a:pt x="918" y="904"/>
                  </a:lnTo>
                  <a:lnTo>
                    <a:pt x="920" y="904"/>
                  </a:lnTo>
                  <a:lnTo>
                    <a:pt x="922" y="906"/>
                  </a:lnTo>
                  <a:lnTo>
                    <a:pt x="922" y="906"/>
                  </a:lnTo>
                  <a:lnTo>
                    <a:pt x="924" y="906"/>
                  </a:lnTo>
                  <a:lnTo>
                    <a:pt x="926" y="906"/>
                  </a:lnTo>
                  <a:lnTo>
                    <a:pt x="928" y="906"/>
                  </a:lnTo>
                  <a:lnTo>
                    <a:pt x="930" y="904"/>
                  </a:lnTo>
                  <a:lnTo>
                    <a:pt x="930" y="904"/>
                  </a:lnTo>
                  <a:lnTo>
                    <a:pt x="930" y="904"/>
                  </a:lnTo>
                  <a:lnTo>
                    <a:pt x="932" y="904"/>
                  </a:lnTo>
                  <a:lnTo>
                    <a:pt x="932" y="904"/>
                  </a:lnTo>
                  <a:lnTo>
                    <a:pt x="932" y="902"/>
                  </a:lnTo>
                  <a:lnTo>
                    <a:pt x="934" y="900"/>
                  </a:lnTo>
                  <a:lnTo>
                    <a:pt x="934" y="900"/>
                  </a:lnTo>
                  <a:lnTo>
                    <a:pt x="934" y="900"/>
                  </a:lnTo>
                  <a:lnTo>
                    <a:pt x="934" y="898"/>
                  </a:lnTo>
                  <a:lnTo>
                    <a:pt x="934" y="898"/>
                  </a:lnTo>
                  <a:lnTo>
                    <a:pt x="934" y="898"/>
                  </a:lnTo>
                  <a:lnTo>
                    <a:pt x="934" y="896"/>
                  </a:lnTo>
                  <a:lnTo>
                    <a:pt x="934" y="896"/>
                  </a:lnTo>
                  <a:lnTo>
                    <a:pt x="934" y="896"/>
                  </a:lnTo>
                  <a:lnTo>
                    <a:pt x="934" y="894"/>
                  </a:lnTo>
                  <a:lnTo>
                    <a:pt x="934" y="894"/>
                  </a:lnTo>
                  <a:lnTo>
                    <a:pt x="932" y="894"/>
                  </a:lnTo>
                  <a:lnTo>
                    <a:pt x="930" y="892"/>
                  </a:lnTo>
                  <a:lnTo>
                    <a:pt x="930" y="892"/>
                  </a:lnTo>
                  <a:lnTo>
                    <a:pt x="930" y="892"/>
                  </a:lnTo>
                  <a:lnTo>
                    <a:pt x="926" y="890"/>
                  </a:lnTo>
                  <a:lnTo>
                    <a:pt x="926" y="890"/>
                  </a:lnTo>
                  <a:lnTo>
                    <a:pt x="926" y="890"/>
                  </a:lnTo>
                  <a:lnTo>
                    <a:pt x="922" y="890"/>
                  </a:lnTo>
                  <a:lnTo>
                    <a:pt x="920" y="890"/>
                  </a:lnTo>
                  <a:lnTo>
                    <a:pt x="918" y="890"/>
                  </a:lnTo>
                  <a:lnTo>
                    <a:pt x="916" y="884"/>
                  </a:lnTo>
                  <a:lnTo>
                    <a:pt x="916" y="880"/>
                  </a:lnTo>
                  <a:lnTo>
                    <a:pt x="916" y="878"/>
                  </a:lnTo>
                  <a:lnTo>
                    <a:pt x="916" y="874"/>
                  </a:lnTo>
                  <a:lnTo>
                    <a:pt x="918" y="872"/>
                  </a:lnTo>
                  <a:lnTo>
                    <a:pt x="920" y="870"/>
                  </a:lnTo>
                  <a:lnTo>
                    <a:pt x="922" y="868"/>
                  </a:lnTo>
                  <a:lnTo>
                    <a:pt x="922" y="868"/>
                  </a:lnTo>
                  <a:lnTo>
                    <a:pt x="924" y="870"/>
                  </a:lnTo>
                  <a:lnTo>
                    <a:pt x="926" y="870"/>
                  </a:lnTo>
                  <a:lnTo>
                    <a:pt x="928" y="870"/>
                  </a:lnTo>
                  <a:lnTo>
                    <a:pt x="928" y="872"/>
                  </a:lnTo>
                  <a:lnTo>
                    <a:pt x="928" y="872"/>
                  </a:lnTo>
                  <a:lnTo>
                    <a:pt x="930" y="874"/>
                  </a:lnTo>
                  <a:lnTo>
                    <a:pt x="932" y="878"/>
                  </a:lnTo>
                  <a:lnTo>
                    <a:pt x="932" y="880"/>
                  </a:lnTo>
                  <a:lnTo>
                    <a:pt x="934" y="882"/>
                  </a:lnTo>
                  <a:lnTo>
                    <a:pt x="934" y="882"/>
                  </a:lnTo>
                  <a:lnTo>
                    <a:pt x="934" y="884"/>
                  </a:lnTo>
                  <a:lnTo>
                    <a:pt x="936" y="886"/>
                  </a:lnTo>
                  <a:lnTo>
                    <a:pt x="936" y="886"/>
                  </a:lnTo>
                  <a:lnTo>
                    <a:pt x="938" y="886"/>
                  </a:lnTo>
                  <a:lnTo>
                    <a:pt x="940" y="888"/>
                  </a:lnTo>
                  <a:lnTo>
                    <a:pt x="942" y="890"/>
                  </a:lnTo>
                  <a:lnTo>
                    <a:pt x="944" y="892"/>
                  </a:lnTo>
                  <a:lnTo>
                    <a:pt x="944" y="894"/>
                  </a:lnTo>
                  <a:lnTo>
                    <a:pt x="944" y="894"/>
                  </a:lnTo>
                  <a:lnTo>
                    <a:pt x="946" y="896"/>
                  </a:lnTo>
                  <a:lnTo>
                    <a:pt x="946" y="896"/>
                  </a:lnTo>
                  <a:lnTo>
                    <a:pt x="946" y="896"/>
                  </a:lnTo>
                  <a:lnTo>
                    <a:pt x="948" y="896"/>
                  </a:lnTo>
                  <a:lnTo>
                    <a:pt x="950" y="896"/>
                  </a:lnTo>
                  <a:lnTo>
                    <a:pt x="950" y="896"/>
                  </a:lnTo>
                  <a:lnTo>
                    <a:pt x="950" y="898"/>
                  </a:lnTo>
                  <a:lnTo>
                    <a:pt x="952" y="898"/>
                  </a:lnTo>
                  <a:lnTo>
                    <a:pt x="954" y="898"/>
                  </a:lnTo>
                  <a:lnTo>
                    <a:pt x="956" y="898"/>
                  </a:lnTo>
                  <a:lnTo>
                    <a:pt x="960" y="898"/>
                  </a:lnTo>
                  <a:lnTo>
                    <a:pt x="960" y="898"/>
                  </a:lnTo>
                  <a:lnTo>
                    <a:pt x="962" y="906"/>
                  </a:lnTo>
                  <a:lnTo>
                    <a:pt x="964" y="916"/>
                  </a:lnTo>
                  <a:lnTo>
                    <a:pt x="966" y="920"/>
                  </a:lnTo>
                  <a:lnTo>
                    <a:pt x="970" y="926"/>
                  </a:lnTo>
                  <a:lnTo>
                    <a:pt x="972" y="930"/>
                  </a:lnTo>
                  <a:lnTo>
                    <a:pt x="974" y="934"/>
                  </a:lnTo>
                  <a:lnTo>
                    <a:pt x="976" y="936"/>
                  </a:lnTo>
                  <a:lnTo>
                    <a:pt x="976" y="936"/>
                  </a:lnTo>
                  <a:lnTo>
                    <a:pt x="976" y="936"/>
                  </a:lnTo>
                  <a:lnTo>
                    <a:pt x="976" y="938"/>
                  </a:lnTo>
                  <a:lnTo>
                    <a:pt x="976" y="938"/>
                  </a:lnTo>
                  <a:lnTo>
                    <a:pt x="976" y="940"/>
                  </a:lnTo>
                  <a:lnTo>
                    <a:pt x="978" y="940"/>
                  </a:lnTo>
                  <a:lnTo>
                    <a:pt x="978" y="940"/>
                  </a:lnTo>
                  <a:lnTo>
                    <a:pt x="978" y="942"/>
                  </a:lnTo>
                  <a:lnTo>
                    <a:pt x="980" y="942"/>
                  </a:lnTo>
                  <a:lnTo>
                    <a:pt x="980" y="942"/>
                  </a:lnTo>
                  <a:lnTo>
                    <a:pt x="980" y="942"/>
                  </a:lnTo>
                  <a:lnTo>
                    <a:pt x="984" y="944"/>
                  </a:lnTo>
                  <a:lnTo>
                    <a:pt x="984" y="944"/>
                  </a:lnTo>
                  <a:lnTo>
                    <a:pt x="984" y="944"/>
                  </a:lnTo>
                  <a:lnTo>
                    <a:pt x="986" y="944"/>
                  </a:lnTo>
                  <a:lnTo>
                    <a:pt x="990" y="944"/>
                  </a:lnTo>
                  <a:lnTo>
                    <a:pt x="992" y="946"/>
                  </a:lnTo>
                  <a:lnTo>
                    <a:pt x="994" y="946"/>
                  </a:lnTo>
                  <a:lnTo>
                    <a:pt x="998" y="946"/>
                  </a:lnTo>
                  <a:lnTo>
                    <a:pt x="1000" y="948"/>
                  </a:lnTo>
                  <a:lnTo>
                    <a:pt x="1002" y="948"/>
                  </a:lnTo>
                  <a:lnTo>
                    <a:pt x="1002" y="948"/>
                  </a:lnTo>
                  <a:lnTo>
                    <a:pt x="1004" y="952"/>
                  </a:lnTo>
                  <a:lnTo>
                    <a:pt x="1006" y="958"/>
                  </a:lnTo>
                  <a:lnTo>
                    <a:pt x="1008" y="962"/>
                  </a:lnTo>
                  <a:lnTo>
                    <a:pt x="1010" y="968"/>
                  </a:lnTo>
                  <a:lnTo>
                    <a:pt x="1012" y="970"/>
                  </a:lnTo>
                  <a:lnTo>
                    <a:pt x="1012" y="970"/>
                  </a:lnTo>
                  <a:lnTo>
                    <a:pt x="1012" y="972"/>
                  </a:lnTo>
                  <a:lnTo>
                    <a:pt x="1012" y="974"/>
                  </a:lnTo>
                  <a:lnTo>
                    <a:pt x="1012" y="974"/>
                  </a:lnTo>
                  <a:lnTo>
                    <a:pt x="1014" y="974"/>
                  </a:lnTo>
                  <a:lnTo>
                    <a:pt x="1014" y="976"/>
                  </a:lnTo>
                  <a:lnTo>
                    <a:pt x="1016" y="978"/>
                  </a:lnTo>
                  <a:lnTo>
                    <a:pt x="1018" y="980"/>
                  </a:lnTo>
                  <a:lnTo>
                    <a:pt x="1020" y="980"/>
                  </a:lnTo>
                  <a:lnTo>
                    <a:pt x="1022" y="982"/>
                  </a:lnTo>
                  <a:lnTo>
                    <a:pt x="1022" y="984"/>
                  </a:lnTo>
                  <a:lnTo>
                    <a:pt x="1022" y="994"/>
                  </a:lnTo>
                  <a:lnTo>
                    <a:pt x="1022" y="1000"/>
                  </a:lnTo>
                  <a:lnTo>
                    <a:pt x="1020" y="1004"/>
                  </a:lnTo>
                  <a:lnTo>
                    <a:pt x="1020" y="1008"/>
                  </a:lnTo>
                  <a:lnTo>
                    <a:pt x="1018" y="1012"/>
                  </a:lnTo>
                  <a:lnTo>
                    <a:pt x="1014" y="1016"/>
                  </a:lnTo>
                  <a:lnTo>
                    <a:pt x="1010" y="1020"/>
                  </a:lnTo>
                  <a:lnTo>
                    <a:pt x="1010" y="1020"/>
                  </a:lnTo>
                  <a:lnTo>
                    <a:pt x="1010" y="1020"/>
                  </a:lnTo>
                  <a:lnTo>
                    <a:pt x="1008" y="1022"/>
                  </a:lnTo>
                  <a:lnTo>
                    <a:pt x="1006" y="1022"/>
                  </a:lnTo>
                  <a:lnTo>
                    <a:pt x="1004" y="1026"/>
                  </a:lnTo>
                  <a:lnTo>
                    <a:pt x="1004" y="1026"/>
                  </a:lnTo>
                  <a:lnTo>
                    <a:pt x="1004" y="1028"/>
                  </a:lnTo>
                  <a:lnTo>
                    <a:pt x="1002" y="1028"/>
                  </a:lnTo>
                  <a:lnTo>
                    <a:pt x="1002" y="1030"/>
                  </a:lnTo>
                  <a:lnTo>
                    <a:pt x="1000" y="1032"/>
                  </a:lnTo>
                  <a:lnTo>
                    <a:pt x="1000" y="1034"/>
                  </a:lnTo>
                  <a:lnTo>
                    <a:pt x="1000" y="1034"/>
                  </a:lnTo>
                  <a:lnTo>
                    <a:pt x="998" y="1034"/>
                  </a:lnTo>
                  <a:lnTo>
                    <a:pt x="998" y="1038"/>
                  </a:lnTo>
                  <a:lnTo>
                    <a:pt x="998" y="1040"/>
                  </a:lnTo>
                  <a:lnTo>
                    <a:pt x="998" y="1044"/>
                  </a:lnTo>
                  <a:lnTo>
                    <a:pt x="996" y="1044"/>
                  </a:lnTo>
                  <a:lnTo>
                    <a:pt x="996" y="1046"/>
                  </a:lnTo>
                  <a:lnTo>
                    <a:pt x="996" y="1048"/>
                  </a:lnTo>
                  <a:lnTo>
                    <a:pt x="996" y="1050"/>
                  </a:lnTo>
                  <a:lnTo>
                    <a:pt x="996" y="1050"/>
                  </a:lnTo>
                  <a:lnTo>
                    <a:pt x="996" y="1050"/>
                  </a:lnTo>
                  <a:lnTo>
                    <a:pt x="996" y="1050"/>
                  </a:lnTo>
                  <a:lnTo>
                    <a:pt x="996" y="1052"/>
                  </a:lnTo>
                  <a:lnTo>
                    <a:pt x="996" y="1056"/>
                  </a:lnTo>
                  <a:lnTo>
                    <a:pt x="996" y="1058"/>
                  </a:lnTo>
                  <a:lnTo>
                    <a:pt x="996" y="1060"/>
                  </a:lnTo>
                  <a:lnTo>
                    <a:pt x="996" y="1062"/>
                  </a:lnTo>
                  <a:lnTo>
                    <a:pt x="996" y="1064"/>
                  </a:lnTo>
                  <a:lnTo>
                    <a:pt x="996" y="1066"/>
                  </a:lnTo>
                  <a:lnTo>
                    <a:pt x="996" y="1068"/>
                  </a:lnTo>
                  <a:lnTo>
                    <a:pt x="996" y="1070"/>
                  </a:lnTo>
                  <a:lnTo>
                    <a:pt x="996" y="1070"/>
                  </a:lnTo>
                  <a:lnTo>
                    <a:pt x="996" y="1070"/>
                  </a:lnTo>
                  <a:lnTo>
                    <a:pt x="994" y="1072"/>
                  </a:lnTo>
                  <a:lnTo>
                    <a:pt x="992" y="1072"/>
                  </a:lnTo>
                  <a:lnTo>
                    <a:pt x="988" y="1072"/>
                  </a:lnTo>
                  <a:lnTo>
                    <a:pt x="986" y="1072"/>
                  </a:lnTo>
                  <a:lnTo>
                    <a:pt x="984" y="1074"/>
                  </a:lnTo>
                  <a:lnTo>
                    <a:pt x="976" y="1074"/>
                  </a:lnTo>
                  <a:lnTo>
                    <a:pt x="968" y="1072"/>
                  </a:lnTo>
                  <a:lnTo>
                    <a:pt x="964" y="1072"/>
                  </a:lnTo>
                  <a:lnTo>
                    <a:pt x="962" y="1072"/>
                  </a:lnTo>
                  <a:lnTo>
                    <a:pt x="958" y="1070"/>
                  </a:lnTo>
                  <a:lnTo>
                    <a:pt x="954" y="1068"/>
                  </a:lnTo>
                  <a:lnTo>
                    <a:pt x="954" y="1068"/>
                  </a:lnTo>
                  <a:lnTo>
                    <a:pt x="952" y="1068"/>
                  </a:lnTo>
                  <a:lnTo>
                    <a:pt x="948" y="1070"/>
                  </a:lnTo>
                  <a:lnTo>
                    <a:pt x="946" y="1072"/>
                  </a:lnTo>
                  <a:lnTo>
                    <a:pt x="942" y="1074"/>
                  </a:lnTo>
                  <a:lnTo>
                    <a:pt x="938" y="1074"/>
                  </a:lnTo>
                  <a:lnTo>
                    <a:pt x="938" y="1074"/>
                  </a:lnTo>
                  <a:lnTo>
                    <a:pt x="938" y="1074"/>
                  </a:lnTo>
                  <a:lnTo>
                    <a:pt x="936" y="1076"/>
                  </a:lnTo>
                  <a:lnTo>
                    <a:pt x="934" y="1076"/>
                  </a:lnTo>
                  <a:lnTo>
                    <a:pt x="932" y="1078"/>
                  </a:lnTo>
                  <a:lnTo>
                    <a:pt x="932" y="1078"/>
                  </a:lnTo>
                  <a:lnTo>
                    <a:pt x="930" y="1078"/>
                  </a:lnTo>
                  <a:lnTo>
                    <a:pt x="930" y="1078"/>
                  </a:lnTo>
                  <a:lnTo>
                    <a:pt x="930" y="1078"/>
                  </a:lnTo>
                  <a:lnTo>
                    <a:pt x="930" y="1078"/>
                  </a:lnTo>
                  <a:lnTo>
                    <a:pt x="928" y="1080"/>
                  </a:lnTo>
                  <a:lnTo>
                    <a:pt x="928" y="1080"/>
                  </a:lnTo>
                  <a:lnTo>
                    <a:pt x="928" y="1080"/>
                  </a:lnTo>
                  <a:lnTo>
                    <a:pt x="928" y="1082"/>
                  </a:lnTo>
                  <a:lnTo>
                    <a:pt x="928" y="1082"/>
                  </a:lnTo>
                  <a:lnTo>
                    <a:pt x="928" y="1082"/>
                  </a:lnTo>
                  <a:lnTo>
                    <a:pt x="926" y="1084"/>
                  </a:lnTo>
                  <a:lnTo>
                    <a:pt x="926" y="1084"/>
                  </a:lnTo>
                  <a:lnTo>
                    <a:pt x="926" y="1086"/>
                  </a:lnTo>
                  <a:lnTo>
                    <a:pt x="926" y="1088"/>
                  </a:lnTo>
                  <a:lnTo>
                    <a:pt x="926" y="1090"/>
                  </a:lnTo>
                  <a:lnTo>
                    <a:pt x="928" y="1092"/>
                  </a:lnTo>
                  <a:lnTo>
                    <a:pt x="928" y="1092"/>
                  </a:lnTo>
                  <a:lnTo>
                    <a:pt x="928" y="1092"/>
                  </a:lnTo>
                  <a:lnTo>
                    <a:pt x="928" y="1094"/>
                  </a:lnTo>
                  <a:lnTo>
                    <a:pt x="928" y="1094"/>
                  </a:lnTo>
                  <a:lnTo>
                    <a:pt x="928" y="1094"/>
                  </a:lnTo>
                  <a:lnTo>
                    <a:pt x="930" y="1096"/>
                  </a:lnTo>
                  <a:lnTo>
                    <a:pt x="930" y="1096"/>
                  </a:lnTo>
                  <a:lnTo>
                    <a:pt x="930" y="1096"/>
                  </a:lnTo>
                  <a:lnTo>
                    <a:pt x="932" y="1098"/>
                  </a:lnTo>
                  <a:lnTo>
                    <a:pt x="932" y="1098"/>
                  </a:lnTo>
                  <a:lnTo>
                    <a:pt x="932" y="1098"/>
                  </a:lnTo>
                  <a:lnTo>
                    <a:pt x="934" y="1098"/>
                  </a:lnTo>
                  <a:lnTo>
                    <a:pt x="936" y="1098"/>
                  </a:lnTo>
                  <a:lnTo>
                    <a:pt x="938" y="1098"/>
                  </a:lnTo>
                  <a:lnTo>
                    <a:pt x="940" y="1098"/>
                  </a:lnTo>
                  <a:lnTo>
                    <a:pt x="940" y="1098"/>
                  </a:lnTo>
                  <a:lnTo>
                    <a:pt x="940" y="1102"/>
                  </a:lnTo>
                  <a:lnTo>
                    <a:pt x="940" y="1102"/>
                  </a:lnTo>
                  <a:lnTo>
                    <a:pt x="940" y="1102"/>
                  </a:lnTo>
                  <a:lnTo>
                    <a:pt x="940" y="1104"/>
                  </a:lnTo>
                  <a:lnTo>
                    <a:pt x="940" y="1104"/>
                  </a:lnTo>
                  <a:lnTo>
                    <a:pt x="942" y="1104"/>
                  </a:lnTo>
                  <a:lnTo>
                    <a:pt x="942" y="1106"/>
                  </a:lnTo>
                  <a:lnTo>
                    <a:pt x="942" y="1106"/>
                  </a:lnTo>
                  <a:lnTo>
                    <a:pt x="944" y="1106"/>
                  </a:lnTo>
                  <a:lnTo>
                    <a:pt x="944" y="1106"/>
                  </a:lnTo>
                  <a:lnTo>
                    <a:pt x="944" y="1106"/>
                  </a:lnTo>
                  <a:lnTo>
                    <a:pt x="946" y="1106"/>
                  </a:lnTo>
                  <a:lnTo>
                    <a:pt x="948" y="1108"/>
                  </a:lnTo>
                  <a:lnTo>
                    <a:pt x="950" y="1108"/>
                  </a:lnTo>
                  <a:lnTo>
                    <a:pt x="954" y="1108"/>
                  </a:lnTo>
                  <a:lnTo>
                    <a:pt x="954" y="1108"/>
                  </a:lnTo>
                  <a:lnTo>
                    <a:pt x="954" y="1108"/>
                  </a:lnTo>
                  <a:lnTo>
                    <a:pt x="960" y="1108"/>
                  </a:lnTo>
                  <a:lnTo>
                    <a:pt x="964" y="1108"/>
                  </a:lnTo>
                  <a:lnTo>
                    <a:pt x="968" y="1108"/>
                  </a:lnTo>
                  <a:lnTo>
                    <a:pt x="968" y="1108"/>
                  </a:lnTo>
                  <a:lnTo>
                    <a:pt x="968" y="1108"/>
                  </a:lnTo>
                  <a:lnTo>
                    <a:pt x="972" y="1106"/>
                  </a:lnTo>
                  <a:lnTo>
                    <a:pt x="974" y="1106"/>
                  </a:lnTo>
                  <a:lnTo>
                    <a:pt x="974" y="1106"/>
                  </a:lnTo>
                  <a:lnTo>
                    <a:pt x="976" y="1106"/>
                  </a:lnTo>
                  <a:lnTo>
                    <a:pt x="978" y="1104"/>
                  </a:lnTo>
                  <a:lnTo>
                    <a:pt x="978" y="1104"/>
                  </a:lnTo>
                  <a:lnTo>
                    <a:pt x="978" y="1104"/>
                  </a:lnTo>
                  <a:lnTo>
                    <a:pt x="978" y="1102"/>
                  </a:lnTo>
                  <a:lnTo>
                    <a:pt x="978" y="1102"/>
                  </a:lnTo>
                  <a:lnTo>
                    <a:pt x="978" y="1102"/>
                  </a:lnTo>
                  <a:lnTo>
                    <a:pt x="980" y="1100"/>
                  </a:lnTo>
                  <a:lnTo>
                    <a:pt x="980" y="1098"/>
                  </a:lnTo>
                  <a:lnTo>
                    <a:pt x="980" y="1098"/>
                  </a:lnTo>
                  <a:lnTo>
                    <a:pt x="982" y="1098"/>
                  </a:lnTo>
                  <a:lnTo>
                    <a:pt x="982" y="1098"/>
                  </a:lnTo>
                  <a:lnTo>
                    <a:pt x="984" y="1096"/>
                  </a:lnTo>
                  <a:lnTo>
                    <a:pt x="988" y="1096"/>
                  </a:lnTo>
                  <a:lnTo>
                    <a:pt x="992" y="1096"/>
                  </a:lnTo>
                  <a:lnTo>
                    <a:pt x="994" y="1096"/>
                  </a:lnTo>
                  <a:lnTo>
                    <a:pt x="998" y="1096"/>
                  </a:lnTo>
                  <a:lnTo>
                    <a:pt x="998" y="1096"/>
                  </a:lnTo>
                  <a:lnTo>
                    <a:pt x="1000" y="1098"/>
                  </a:lnTo>
                  <a:lnTo>
                    <a:pt x="1002" y="1098"/>
                  </a:lnTo>
                  <a:lnTo>
                    <a:pt x="1004" y="1100"/>
                  </a:lnTo>
                  <a:lnTo>
                    <a:pt x="1004" y="1102"/>
                  </a:lnTo>
                  <a:lnTo>
                    <a:pt x="1006" y="1104"/>
                  </a:lnTo>
                  <a:lnTo>
                    <a:pt x="1006" y="1104"/>
                  </a:lnTo>
                  <a:lnTo>
                    <a:pt x="1006" y="1106"/>
                  </a:lnTo>
                  <a:lnTo>
                    <a:pt x="1006" y="1108"/>
                  </a:lnTo>
                  <a:lnTo>
                    <a:pt x="1006" y="1108"/>
                  </a:lnTo>
                  <a:lnTo>
                    <a:pt x="1006" y="1108"/>
                  </a:lnTo>
                  <a:lnTo>
                    <a:pt x="1008" y="1110"/>
                  </a:lnTo>
                  <a:lnTo>
                    <a:pt x="1008" y="1110"/>
                  </a:lnTo>
                  <a:lnTo>
                    <a:pt x="1008" y="1112"/>
                  </a:lnTo>
                  <a:lnTo>
                    <a:pt x="1010" y="1114"/>
                  </a:lnTo>
                  <a:lnTo>
                    <a:pt x="1010" y="1114"/>
                  </a:lnTo>
                  <a:lnTo>
                    <a:pt x="1010" y="1114"/>
                  </a:lnTo>
                  <a:lnTo>
                    <a:pt x="1014" y="1116"/>
                  </a:lnTo>
                  <a:lnTo>
                    <a:pt x="1016" y="1118"/>
                  </a:lnTo>
                  <a:lnTo>
                    <a:pt x="1018" y="1120"/>
                  </a:lnTo>
                  <a:lnTo>
                    <a:pt x="1020" y="1124"/>
                  </a:lnTo>
                  <a:lnTo>
                    <a:pt x="1022" y="1126"/>
                  </a:lnTo>
                  <a:lnTo>
                    <a:pt x="1024" y="1130"/>
                  </a:lnTo>
                  <a:lnTo>
                    <a:pt x="1026" y="1132"/>
                  </a:lnTo>
                  <a:lnTo>
                    <a:pt x="1032" y="1136"/>
                  </a:lnTo>
                  <a:lnTo>
                    <a:pt x="1036" y="1140"/>
                  </a:lnTo>
                  <a:lnTo>
                    <a:pt x="1036" y="1140"/>
                  </a:lnTo>
                  <a:lnTo>
                    <a:pt x="1036" y="1142"/>
                  </a:lnTo>
                  <a:lnTo>
                    <a:pt x="1036" y="1144"/>
                  </a:lnTo>
                  <a:lnTo>
                    <a:pt x="1036" y="1144"/>
                  </a:lnTo>
                  <a:lnTo>
                    <a:pt x="1036" y="1144"/>
                  </a:lnTo>
                  <a:lnTo>
                    <a:pt x="1036" y="1144"/>
                  </a:lnTo>
                  <a:lnTo>
                    <a:pt x="1036" y="1146"/>
                  </a:lnTo>
                  <a:lnTo>
                    <a:pt x="1036" y="1146"/>
                  </a:lnTo>
                  <a:lnTo>
                    <a:pt x="1036" y="1148"/>
                  </a:lnTo>
                  <a:lnTo>
                    <a:pt x="1038" y="1148"/>
                  </a:lnTo>
                  <a:lnTo>
                    <a:pt x="1038" y="1148"/>
                  </a:lnTo>
                  <a:lnTo>
                    <a:pt x="1038" y="1150"/>
                  </a:lnTo>
                  <a:lnTo>
                    <a:pt x="1040" y="1150"/>
                  </a:lnTo>
                  <a:lnTo>
                    <a:pt x="1042" y="1150"/>
                  </a:lnTo>
                  <a:lnTo>
                    <a:pt x="1042" y="1150"/>
                  </a:lnTo>
                  <a:lnTo>
                    <a:pt x="1046" y="1152"/>
                  </a:lnTo>
                  <a:lnTo>
                    <a:pt x="1052" y="1154"/>
                  </a:lnTo>
                  <a:lnTo>
                    <a:pt x="1056" y="1156"/>
                  </a:lnTo>
                  <a:lnTo>
                    <a:pt x="1060" y="1158"/>
                  </a:lnTo>
                  <a:lnTo>
                    <a:pt x="1060" y="1160"/>
                  </a:lnTo>
                  <a:lnTo>
                    <a:pt x="1062" y="1160"/>
                  </a:lnTo>
                  <a:lnTo>
                    <a:pt x="1062" y="1160"/>
                  </a:lnTo>
                  <a:lnTo>
                    <a:pt x="1062" y="1162"/>
                  </a:lnTo>
                  <a:lnTo>
                    <a:pt x="1066" y="1162"/>
                  </a:lnTo>
                  <a:lnTo>
                    <a:pt x="1066" y="1162"/>
                  </a:lnTo>
                  <a:lnTo>
                    <a:pt x="1066" y="1164"/>
                  </a:lnTo>
                  <a:lnTo>
                    <a:pt x="1068" y="1164"/>
                  </a:lnTo>
                  <a:lnTo>
                    <a:pt x="1068" y="1164"/>
                  </a:lnTo>
                  <a:lnTo>
                    <a:pt x="1070" y="1164"/>
                  </a:lnTo>
                  <a:lnTo>
                    <a:pt x="1070" y="1166"/>
                  </a:lnTo>
                  <a:lnTo>
                    <a:pt x="1072" y="1166"/>
                  </a:lnTo>
                  <a:lnTo>
                    <a:pt x="1072" y="1166"/>
                  </a:lnTo>
                  <a:lnTo>
                    <a:pt x="1074" y="1168"/>
                  </a:lnTo>
                  <a:lnTo>
                    <a:pt x="1076" y="1170"/>
                  </a:lnTo>
                  <a:lnTo>
                    <a:pt x="1076" y="1170"/>
                  </a:lnTo>
                  <a:lnTo>
                    <a:pt x="1076" y="1170"/>
                  </a:lnTo>
                  <a:lnTo>
                    <a:pt x="1076" y="1172"/>
                  </a:lnTo>
                  <a:lnTo>
                    <a:pt x="1076" y="1172"/>
                  </a:lnTo>
                  <a:lnTo>
                    <a:pt x="1078" y="1172"/>
                  </a:lnTo>
                  <a:lnTo>
                    <a:pt x="1078" y="1172"/>
                  </a:lnTo>
                  <a:lnTo>
                    <a:pt x="1078" y="1172"/>
                  </a:lnTo>
                  <a:lnTo>
                    <a:pt x="1080" y="1172"/>
                  </a:lnTo>
                  <a:lnTo>
                    <a:pt x="1080" y="1174"/>
                  </a:lnTo>
                  <a:lnTo>
                    <a:pt x="1084" y="1174"/>
                  </a:lnTo>
                  <a:lnTo>
                    <a:pt x="1086" y="1174"/>
                  </a:lnTo>
                  <a:lnTo>
                    <a:pt x="1086" y="1174"/>
                  </a:lnTo>
                  <a:lnTo>
                    <a:pt x="1088" y="1176"/>
                  </a:lnTo>
                  <a:lnTo>
                    <a:pt x="1088" y="1176"/>
                  </a:lnTo>
                  <a:lnTo>
                    <a:pt x="1088" y="1176"/>
                  </a:lnTo>
                  <a:lnTo>
                    <a:pt x="1090" y="1176"/>
                  </a:lnTo>
                  <a:lnTo>
                    <a:pt x="1090" y="1176"/>
                  </a:lnTo>
                  <a:lnTo>
                    <a:pt x="1090" y="1176"/>
                  </a:lnTo>
                  <a:lnTo>
                    <a:pt x="1092" y="1176"/>
                  </a:lnTo>
                  <a:lnTo>
                    <a:pt x="1096" y="1176"/>
                  </a:lnTo>
                  <a:lnTo>
                    <a:pt x="1100" y="1178"/>
                  </a:lnTo>
                  <a:lnTo>
                    <a:pt x="1102" y="1178"/>
                  </a:lnTo>
                  <a:lnTo>
                    <a:pt x="1104" y="1178"/>
                  </a:lnTo>
                  <a:lnTo>
                    <a:pt x="1106" y="1178"/>
                  </a:lnTo>
                  <a:lnTo>
                    <a:pt x="1108" y="1178"/>
                  </a:lnTo>
                  <a:lnTo>
                    <a:pt x="1108" y="1178"/>
                  </a:lnTo>
                  <a:lnTo>
                    <a:pt x="1108" y="1178"/>
                  </a:lnTo>
                  <a:lnTo>
                    <a:pt x="1108" y="1178"/>
                  </a:lnTo>
                  <a:lnTo>
                    <a:pt x="1110" y="1178"/>
                  </a:lnTo>
                  <a:lnTo>
                    <a:pt x="1110" y="1178"/>
                  </a:lnTo>
                  <a:lnTo>
                    <a:pt x="1112" y="1178"/>
                  </a:lnTo>
                  <a:lnTo>
                    <a:pt x="1112" y="1178"/>
                  </a:lnTo>
                  <a:lnTo>
                    <a:pt x="1112" y="1174"/>
                  </a:lnTo>
                  <a:lnTo>
                    <a:pt x="1112" y="1174"/>
                  </a:lnTo>
                  <a:lnTo>
                    <a:pt x="1112" y="1174"/>
                  </a:lnTo>
                  <a:lnTo>
                    <a:pt x="1110" y="1174"/>
                  </a:lnTo>
                  <a:lnTo>
                    <a:pt x="1110" y="1172"/>
                  </a:lnTo>
                  <a:lnTo>
                    <a:pt x="1108" y="1170"/>
                  </a:lnTo>
                  <a:lnTo>
                    <a:pt x="1106" y="1168"/>
                  </a:lnTo>
                  <a:lnTo>
                    <a:pt x="1102" y="1164"/>
                  </a:lnTo>
                  <a:lnTo>
                    <a:pt x="1098" y="1160"/>
                  </a:lnTo>
                  <a:lnTo>
                    <a:pt x="1094" y="1158"/>
                  </a:lnTo>
                  <a:lnTo>
                    <a:pt x="1088" y="1154"/>
                  </a:lnTo>
                  <a:lnTo>
                    <a:pt x="1088" y="1154"/>
                  </a:lnTo>
                  <a:lnTo>
                    <a:pt x="1086" y="1152"/>
                  </a:lnTo>
                  <a:lnTo>
                    <a:pt x="1086" y="1148"/>
                  </a:lnTo>
                  <a:lnTo>
                    <a:pt x="1084" y="1148"/>
                  </a:lnTo>
                  <a:lnTo>
                    <a:pt x="1084" y="1146"/>
                  </a:lnTo>
                  <a:lnTo>
                    <a:pt x="1082" y="1144"/>
                  </a:lnTo>
                  <a:lnTo>
                    <a:pt x="1080" y="1142"/>
                  </a:lnTo>
                  <a:lnTo>
                    <a:pt x="1078" y="1140"/>
                  </a:lnTo>
                  <a:lnTo>
                    <a:pt x="1076" y="1136"/>
                  </a:lnTo>
                  <a:lnTo>
                    <a:pt x="1076" y="1134"/>
                  </a:lnTo>
                  <a:lnTo>
                    <a:pt x="1076" y="1134"/>
                  </a:lnTo>
                  <a:lnTo>
                    <a:pt x="1076" y="1134"/>
                  </a:lnTo>
                  <a:lnTo>
                    <a:pt x="1076" y="1134"/>
                  </a:lnTo>
                  <a:lnTo>
                    <a:pt x="1076" y="1134"/>
                  </a:lnTo>
                  <a:lnTo>
                    <a:pt x="1078" y="1134"/>
                  </a:lnTo>
                  <a:lnTo>
                    <a:pt x="1078" y="1134"/>
                  </a:lnTo>
                  <a:lnTo>
                    <a:pt x="1082" y="1134"/>
                  </a:lnTo>
                  <a:lnTo>
                    <a:pt x="1086" y="1134"/>
                  </a:lnTo>
                  <a:lnTo>
                    <a:pt x="1092" y="1136"/>
                  </a:lnTo>
                  <a:lnTo>
                    <a:pt x="1094" y="1136"/>
                  </a:lnTo>
                  <a:lnTo>
                    <a:pt x="1096" y="1138"/>
                  </a:lnTo>
                  <a:lnTo>
                    <a:pt x="1100" y="1142"/>
                  </a:lnTo>
                  <a:lnTo>
                    <a:pt x="1102" y="1144"/>
                  </a:lnTo>
                  <a:lnTo>
                    <a:pt x="1104" y="1146"/>
                  </a:lnTo>
                  <a:lnTo>
                    <a:pt x="1104" y="1146"/>
                  </a:lnTo>
                  <a:lnTo>
                    <a:pt x="1104" y="1148"/>
                  </a:lnTo>
                  <a:lnTo>
                    <a:pt x="1106" y="1148"/>
                  </a:lnTo>
                  <a:lnTo>
                    <a:pt x="1106" y="1148"/>
                  </a:lnTo>
                  <a:lnTo>
                    <a:pt x="1106" y="1150"/>
                  </a:lnTo>
                  <a:lnTo>
                    <a:pt x="1108" y="1150"/>
                  </a:lnTo>
                  <a:lnTo>
                    <a:pt x="1108" y="1150"/>
                  </a:lnTo>
                  <a:lnTo>
                    <a:pt x="1108" y="1152"/>
                  </a:lnTo>
                  <a:lnTo>
                    <a:pt x="1110" y="1152"/>
                  </a:lnTo>
                  <a:lnTo>
                    <a:pt x="1110" y="1152"/>
                  </a:lnTo>
                  <a:lnTo>
                    <a:pt x="1112" y="1152"/>
                  </a:lnTo>
                  <a:lnTo>
                    <a:pt x="1114" y="1152"/>
                  </a:lnTo>
                  <a:lnTo>
                    <a:pt x="1114" y="1152"/>
                  </a:lnTo>
                  <a:lnTo>
                    <a:pt x="1114" y="1152"/>
                  </a:lnTo>
                  <a:lnTo>
                    <a:pt x="1116" y="1152"/>
                  </a:lnTo>
                  <a:lnTo>
                    <a:pt x="1116" y="1152"/>
                  </a:lnTo>
                  <a:lnTo>
                    <a:pt x="1118" y="1152"/>
                  </a:lnTo>
                  <a:lnTo>
                    <a:pt x="1120" y="1150"/>
                  </a:lnTo>
                  <a:lnTo>
                    <a:pt x="1120" y="1150"/>
                  </a:lnTo>
                  <a:lnTo>
                    <a:pt x="1120" y="1150"/>
                  </a:lnTo>
                  <a:lnTo>
                    <a:pt x="1122" y="1148"/>
                  </a:lnTo>
                  <a:lnTo>
                    <a:pt x="1122" y="1148"/>
                  </a:lnTo>
                  <a:lnTo>
                    <a:pt x="1122" y="1148"/>
                  </a:lnTo>
                  <a:lnTo>
                    <a:pt x="1124" y="1146"/>
                  </a:lnTo>
                  <a:lnTo>
                    <a:pt x="1124" y="1146"/>
                  </a:lnTo>
                  <a:lnTo>
                    <a:pt x="1124" y="1144"/>
                  </a:lnTo>
                  <a:lnTo>
                    <a:pt x="1126" y="1142"/>
                  </a:lnTo>
                  <a:lnTo>
                    <a:pt x="1126" y="1138"/>
                  </a:lnTo>
                  <a:lnTo>
                    <a:pt x="1128" y="1136"/>
                  </a:lnTo>
                  <a:lnTo>
                    <a:pt x="1128" y="1132"/>
                  </a:lnTo>
                  <a:lnTo>
                    <a:pt x="1128" y="1128"/>
                  </a:lnTo>
                  <a:lnTo>
                    <a:pt x="1128" y="1128"/>
                  </a:lnTo>
                  <a:lnTo>
                    <a:pt x="1128" y="1128"/>
                  </a:lnTo>
                  <a:lnTo>
                    <a:pt x="1128" y="1124"/>
                  </a:lnTo>
                  <a:lnTo>
                    <a:pt x="1128" y="1124"/>
                  </a:lnTo>
                  <a:lnTo>
                    <a:pt x="1128" y="1124"/>
                  </a:lnTo>
                  <a:lnTo>
                    <a:pt x="1128" y="1120"/>
                  </a:lnTo>
                  <a:lnTo>
                    <a:pt x="1128" y="1120"/>
                  </a:lnTo>
                  <a:lnTo>
                    <a:pt x="1128" y="1120"/>
                  </a:lnTo>
                  <a:lnTo>
                    <a:pt x="1126" y="1116"/>
                  </a:lnTo>
                  <a:lnTo>
                    <a:pt x="1124" y="1114"/>
                  </a:lnTo>
                  <a:lnTo>
                    <a:pt x="1122" y="1112"/>
                  </a:lnTo>
                  <a:lnTo>
                    <a:pt x="1116" y="1108"/>
                  </a:lnTo>
                  <a:lnTo>
                    <a:pt x="1114" y="1106"/>
                  </a:lnTo>
                  <a:lnTo>
                    <a:pt x="1112" y="1104"/>
                  </a:lnTo>
                  <a:lnTo>
                    <a:pt x="1112" y="1104"/>
                  </a:lnTo>
                  <a:lnTo>
                    <a:pt x="1110" y="1100"/>
                  </a:lnTo>
                  <a:lnTo>
                    <a:pt x="1110" y="1098"/>
                  </a:lnTo>
                  <a:lnTo>
                    <a:pt x="1106" y="1094"/>
                  </a:lnTo>
                  <a:lnTo>
                    <a:pt x="1104" y="1090"/>
                  </a:lnTo>
                  <a:lnTo>
                    <a:pt x="1104" y="1088"/>
                  </a:lnTo>
                  <a:lnTo>
                    <a:pt x="1104" y="1084"/>
                  </a:lnTo>
                  <a:lnTo>
                    <a:pt x="1102" y="1080"/>
                  </a:lnTo>
                  <a:lnTo>
                    <a:pt x="1102" y="1078"/>
                  </a:lnTo>
                  <a:lnTo>
                    <a:pt x="1102" y="1078"/>
                  </a:lnTo>
                  <a:lnTo>
                    <a:pt x="1102" y="1078"/>
                  </a:lnTo>
                  <a:lnTo>
                    <a:pt x="1100" y="1074"/>
                  </a:lnTo>
                  <a:lnTo>
                    <a:pt x="1098" y="1072"/>
                  </a:lnTo>
                  <a:lnTo>
                    <a:pt x="1098" y="1072"/>
                  </a:lnTo>
                  <a:lnTo>
                    <a:pt x="1096" y="1072"/>
                  </a:lnTo>
                  <a:lnTo>
                    <a:pt x="1094" y="1070"/>
                  </a:lnTo>
                  <a:lnTo>
                    <a:pt x="1092" y="1068"/>
                  </a:lnTo>
                  <a:lnTo>
                    <a:pt x="1090" y="1066"/>
                  </a:lnTo>
                  <a:lnTo>
                    <a:pt x="1086" y="1062"/>
                  </a:lnTo>
                  <a:lnTo>
                    <a:pt x="1084" y="1060"/>
                  </a:lnTo>
                  <a:lnTo>
                    <a:pt x="1084" y="1058"/>
                  </a:lnTo>
                  <a:lnTo>
                    <a:pt x="1082" y="1054"/>
                  </a:lnTo>
                  <a:lnTo>
                    <a:pt x="1084" y="1052"/>
                  </a:lnTo>
                  <a:lnTo>
                    <a:pt x="1084" y="1048"/>
                  </a:lnTo>
                  <a:lnTo>
                    <a:pt x="1084" y="1048"/>
                  </a:lnTo>
                  <a:lnTo>
                    <a:pt x="1086" y="1046"/>
                  </a:lnTo>
                  <a:lnTo>
                    <a:pt x="1086" y="1046"/>
                  </a:lnTo>
                  <a:lnTo>
                    <a:pt x="1086" y="1044"/>
                  </a:lnTo>
                  <a:lnTo>
                    <a:pt x="1086" y="1042"/>
                  </a:lnTo>
                  <a:lnTo>
                    <a:pt x="1088" y="1038"/>
                  </a:lnTo>
                  <a:lnTo>
                    <a:pt x="1088" y="1034"/>
                  </a:lnTo>
                  <a:lnTo>
                    <a:pt x="1088" y="1032"/>
                  </a:lnTo>
                  <a:lnTo>
                    <a:pt x="1088" y="1032"/>
                  </a:lnTo>
                  <a:lnTo>
                    <a:pt x="1090" y="1032"/>
                  </a:lnTo>
                  <a:lnTo>
                    <a:pt x="1092" y="1030"/>
                  </a:lnTo>
                  <a:lnTo>
                    <a:pt x="1096" y="1032"/>
                  </a:lnTo>
                  <a:lnTo>
                    <a:pt x="1098" y="1032"/>
                  </a:lnTo>
                  <a:lnTo>
                    <a:pt x="1100" y="1032"/>
                  </a:lnTo>
                  <a:lnTo>
                    <a:pt x="1102" y="1034"/>
                  </a:lnTo>
                  <a:lnTo>
                    <a:pt x="1104" y="1036"/>
                  </a:lnTo>
                  <a:lnTo>
                    <a:pt x="1106" y="1038"/>
                  </a:lnTo>
                  <a:lnTo>
                    <a:pt x="1106" y="1038"/>
                  </a:lnTo>
                  <a:lnTo>
                    <a:pt x="1106" y="1040"/>
                  </a:lnTo>
                  <a:lnTo>
                    <a:pt x="1108" y="1040"/>
                  </a:lnTo>
                  <a:lnTo>
                    <a:pt x="1112" y="1042"/>
                  </a:lnTo>
                  <a:lnTo>
                    <a:pt x="1114" y="1042"/>
                  </a:lnTo>
                  <a:lnTo>
                    <a:pt x="1116" y="1044"/>
                  </a:lnTo>
                  <a:lnTo>
                    <a:pt x="1118" y="1046"/>
                  </a:lnTo>
                  <a:lnTo>
                    <a:pt x="1120" y="1048"/>
                  </a:lnTo>
                  <a:lnTo>
                    <a:pt x="1122" y="1052"/>
                  </a:lnTo>
                  <a:lnTo>
                    <a:pt x="1122" y="1052"/>
                  </a:lnTo>
                  <a:lnTo>
                    <a:pt x="1122" y="1052"/>
                  </a:lnTo>
                  <a:lnTo>
                    <a:pt x="1126" y="1056"/>
                  </a:lnTo>
                  <a:lnTo>
                    <a:pt x="1126" y="1056"/>
                  </a:lnTo>
                  <a:lnTo>
                    <a:pt x="1126" y="1056"/>
                  </a:lnTo>
                  <a:lnTo>
                    <a:pt x="1128" y="1058"/>
                  </a:lnTo>
                  <a:lnTo>
                    <a:pt x="1132" y="1060"/>
                  </a:lnTo>
                  <a:lnTo>
                    <a:pt x="1136" y="1064"/>
                  </a:lnTo>
                  <a:lnTo>
                    <a:pt x="1138" y="1064"/>
                  </a:lnTo>
                  <a:lnTo>
                    <a:pt x="1140" y="1066"/>
                  </a:lnTo>
                  <a:lnTo>
                    <a:pt x="1142" y="1068"/>
                  </a:lnTo>
                  <a:lnTo>
                    <a:pt x="1144" y="1072"/>
                  </a:lnTo>
                  <a:lnTo>
                    <a:pt x="1144" y="1072"/>
                  </a:lnTo>
                  <a:lnTo>
                    <a:pt x="1146" y="1074"/>
                  </a:lnTo>
                  <a:lnTo>
                    <a:pt x="1146" y="1074"/>
                  </a:lnTo>
                  <a:lnTo>
                    <a:pt x="1148" y="1072"/>
                  </a:lnTo>
                  <a:lnTo>
                    <a:pt x="1150" y="1068"/>
                  </a:lnTo>
                  <a:lnTo>
                    <a:pt x="1154" y="1066"/>
                  </a:lnTo>
                  <a:lnTo>
                    <a:pt x="1158" y="1058"/>
                  </a:lnTo>
                  <a:lnTo>
                    <a:pt x="1158" y="1058"/>
                  </a:lnTo>
                  <a:lnTo>
                    <a:pt x="1158" y="1056"/>
                  </a:lnTo>
                  <a:lnTo>
                    <a:pt x="1158" y="1050"/>
                  </a:lnTo>
                  <a:lnTo>
                    <a:pt x="1158" y="1042"/>
                  </a:lnTo>
                  <a:lnTo>
                    <a:pt x="1158" y="1034"/>
                  </a:lnTo>
                  <a:lnTo>
                    <a:pt x="1156" y="1028"/>
                  </a:lnTo>
                  <a:lnTo>
                    <a:pt x="1156" y="1028"/>
                  </a:lnTo>
                  <a:lnTo>
                    <a:pt x="1156" y="1026"/>
                  </a:lnTo>
                  <a:lnTo>
                    <a:pt x="1154" y="1020"/>
                  </a:lnTo>
                  <a:lnTo>
                    <a:pt x="1154" y="1020"/>
                  </a:lnTo>
                  <a:lnTo>
                    <a:pt x="1154" y="1020"/>
                  </a:lnTo>
                  <a:lnTo>
                    <a:pt x="1152" y="1016"/>
                  </a:lnTo>
                  <a:lnTo>
                    <a:pt x="1150" y="1014"/>
                  </a:lnTo>
                  <a:lnTo>
                    <a:pt x="1150" y="1014"/>
                  </a:lnTo>
                  <a:lnTo>
                    <a:pt x="1148" y="1014"/>
                  </a:lnTo>
                  <a:lnTo>
                    <a:pt x="1146" y="1012"/>
                  </a:lnTo>
                  <a:lnTo>
                    <a:pt x="1146" y="1012"/>
                  </a:lnTo>
                  <a:lnTo>
                    <a:pt x="1146" y="1010"/>
                  </a:lnTo>
                  <a:lnTo>
                    <a:pt x="1144" y="1008"/>
                  </a:lnTo>
                  <a:lnTo>
                    <a:pt x="1144" y="1008"/>
                  </a:lnTo>
                  <a:lnTo>
                    <a:pt x="1142" y="1008"/>
                  </a:lnTo>
                  <a:lnTo>
                    <a:pt x="1140" y="1008"/>
                  </a:lnTo>
                  <a:lnTo>
                    <a:pt x="1140" y="1008"/>
                  </a:lnTo>
                  <a:lnTo>
                    <a:pt x="1140" y="1006"/>
                  </a:lnTo>
                  <a:lnTo>
                    <a:pt x="1136" y="1006"/>
                  </a:lnTo>
                  <a:lnTo>
                    <a:pt x="1136" y="1006"/>
                  </a:lnTo>
                  <a:lnTo>
                    <a:pt x="1134" y="1002"/>
                  </a:lnTo>
                  <a:lnTo>
                    <a:pt x="1132" y="1000"/>
                  </a:lnTo>
                  <a:lnTo>
                    <a:pt x="1132" y="998"/>
                  </a:lnTo>
                  <a:lnTo>
                    <a:pt x="1130" y="998"/>
                  </a:lnTo>
                  <a:lnTo>
                    <a:pt x="1130" y="998"/>
                  </a:lnTo>
                  <a:lnTo>
                    <a:pt x="1130" y="998"/>
                  </a:lnTo>
                  <a:lnTo>
                    <a:pt x="1128" y="996"/>
                  </a:lnTo>
                  <a:lnTo>
                    <a:pt x="1128" y="996"/>
                  </a:lnTo>
                  <a:lnTo>
                    <a:pt x="1124" y="994"/>
                  </a:lnTo>
                  <a:lnTo>
                    <a:pt x="1122" y="994"/>
                  </a:lnTo>
                  <a:lnTo>
                    <a:pt x="1120" y="992"/>
                  </a:lnTo>
                  <a:lnTo>
                    <a:pt x="1120" y="992"/>
                  </a:lnTo>
                  <a:lnTo>
                    <a:pt x="1114" y="984"/>
                  </a:lnTo>
                  <a:lnTo>
                    <a:pt x="1106" y="976"/>
                  </a:lnTo>
                  <a:lnTo>
                    <a:pt x="1098" y="966"/>
                  </a:lnTo>
                  <a:lnTo>
                    <a:pt x="1094" y="964"/>
                  </a:lnTo>
                  <a:lnTo>
                    <a:pt x="1090" y="960"/>
                  </a:lnTo>
                  <a:lnTo>
                    <a:pt x="1086" y="956"/>
                  </a:lnTo>
                  <a:lnTo>
                    <a:pt x="1082" y="954"/>
                  </a:lnTo>
                  <a:lnTo>
                    <a:pt x="1074" y="948"/>
                  </a:lnTo>
                  <a:lnTo>
                    <a:pt x="1070" y="944"/>
                  </a:lnTo>
                  <a:lnTo>
                    <a:pt x="1068" y="942"/>
                  </a:lnTo>
                  <a:lnTo>
                    <a:pt x="1064" y="938"/>
                  </a:lnTo>
                  <a:lnTo>
                    <a:pt x="1062" y="934"/>
                  </a:lnTo>
                  <a:lnTo>
                    <a:pt x="1064" y="934"/>
                  </a:lnTo>
                  <a:lnTo>
                    <a:pt x="1064" y="934"/>
                  </a:lnTo>
                  <a:lnTo>
                    <a:pt x="1064" y="934"/>
                  </a:lnTo>
                  <a:lnTo>
                    <a:pt x="1064" y="932"/>
                  </a:lnTo>
                  <a:lnTo>
                    <a:pt x="1064" y="932"/>
                  </a:lnTo>
                  <a:lnTo>
                    <a:pt x="1064" y="930"/>
                  </a:lnTo>
                  <a:lnTo>
                    <a:pt x="1064" y="928"/>
                  </a:lnTo>
                  <a:lnTo>
                    <a:pt x="1064" y="928"/>
                  </a:lnTo>
                  <a:lnTo>
                    <a:pt x="1064" y="928"/>
                  </a:lnTo>
                  <a:lnTo>
                    <a:pt x="1064" y="926"/>
                  </a:lnTo>
                  <a:lnTo>
                    <a:pt x="1064" y="926"/>
                  </a:lnTo>
                  <a:lnTo>
                    <a:pt x="1062" y="926"/>
                  </a:lnTo>
                  <a:lnTo>
                    <a:pt x="1062" y="924"/>
                  </a:lnTo>
                  <a:lnTo>
                    <a:pt x="1062" y="924"/>
                  </a:lnTo>
                  <a:lnTo>
                    <a:pt x="1062" y="924"/>
                  </a:lnTo>
                  <a:lnTo>
                    <a:pt x="1060" y="922"/>
                  </a:lnTo>
                  <a:lnTo>
                    <a:pt x="1060" y="922"/>
                  </a:lnTo>
                  <a:lnTo>
                    <a:pt x="1060" y="922"/>
                  </a:lnTo>
                  <a:lnTo>
                    <a:pt x="1058" y="920"/>
                  </a:lnTo>
                  <a:lnTo>
                    <a:pt x="1056" y="920"/>
                  </a:lnTo>
                  <a:lnTo>
                    <a:pt x="1054" y="916"/>
                  </a:lnTo>
                  <a:lnTo>
                    <a:pt x="1052" y="914"/>
                  </a:lnTo>
                  <a:lnTo>
                    <a:pt x="1052" y="910"/>
                  </a:lnTo>
                  <a:lnTo>
                    <a:pt x="1052" y="908"/>
                  </a:lnTo>
                  <a:lnTo>
                    <a:pt x="1052" y="906"/>
                  </a:lnTo>
                  <a:lnTo>
                    <a:pt x="1052" y="902"/>
                  </a:lnTo>
                  <a:lnTo>
                    <a:pt x="1054" y="900"/>
                  </a:lnTo>
                  <a:lnTo>
                    <a:pt x="1054" y="898"/>
                  </a:lnTo>
                  <a:lnTo>
                    <a:pt x="1058" y="892"/>
                  </a:lnTo>
                  <a:lnTo>
                    <a:pt x="1062" y="886"/>
                  </a:lnTo>
                  <a:lnTo>
                    <a:pt x="1066" y="880"/>
                  </a:lnTo>
                  <a:lnTo>
                    <a:pt x="1070" y="874"/>
                  </a:lnTo>
                  <a:lnTo>
                    <a:pt x="1070" y="874"/>
                  </a:lnTo>
                  <a:lnTo>
                    <a:pt x="1070" y="872"/>
                  </a:lnTo>
                  <a:lnTo>
                    <a:pt x="1068" y="870"/>
                  </a:lnTo>
                  <a:lnTo>
                    <a:pt x="1068" y="870"/>
                  </a:lnTo>
                  <a:lnTo>
                    <a:pt x="1068" y="868"/>
                  </a:lnTo>
                  <a:lnTo>
                    <a:pt x="1066" y="866"/>
                  </a:lnTo>
                  <a:lnTo>
                    <a:pt x="1066" y="866"/>
                  </a:lnTo>
                  <a:lnTo>
                    <a:pt x="1064" y="866"/>
                  </a:lnTo>
                  <a:lnTo>
                    <a:pt x="1062" y="866"/>
                  </a:lnTo>
                  <a:lnTo>
                    <a:pt x="1062" y="866"/>
                  </a:lnTo>
                  <a:lnTo>
                    <a:pt x="1062" y="866"/>
                  </a:lnTo>
                  <a:lnTo>
                    <a:pt x="1060" y="866"/>
                  </a:lnTo>
                  <a:lnTo>
                    <a:pt x="1060" y="866"/>
                  </a:lnTo>
                  <a:lnTo>
                    <a:pt x="1058" y="866"/>
                  </a:lnTo>
                  <a:lnTo>
                    <a:pt x="1056" y="866"/>
                  </a:lnTo>
                  <a:lnTo>
                    <a:pt x="1054" y="866"/>
                  </a:lnTo>
                  <a:lnTo>
                    <a:pt x="1046" y="868"/>
                  </a:lnTo>
                  <a:lnTo>
                    <a:pt x="1046" y="868"/>
                  </a:lnTo>
                  <a:lnTo>
                    <a:pt x="1046" y="870"/>
                  </a:lnTo>
                  <a:lnTo>
                    <a:pt x="1044" y="872"/>
                  </a:lnTo>
                  <a:lnTo>
                    <a:pt x="1044" y="872"/>
                  </a:lnTo>
                  <a:lnTo>
                    <a:pt x="1044" y="872"/>
                  </a:lnTo>
                  <a:lnTo>
                    <a:pt x="1042" y="874"/>
                  </a:lnTo>
                  <a:lnTo>
                    <a:pt x="1040" y="876"/>
                  </a:lnTo>
                  <a:lnTo>
                    <a:pt x="1038" y="878"/>
                  </a:lnTo>
                  <a:lnTo>
                    <a:pt x="1036" y="884"/>
                  </a:lnTo>
                  <a:lnTo>
                    <a:pt x="1034" y="886"/>
                  </a:lnTo>
                  <a:lnTo>
                    <a:pt x="1034" y="888"/>
                  </a:lnTo>
                  <a:lnTo>
                    <a:pt x="1034" y="888"/>
                  </a:lnTo>
                  <a:lnTo>
                    <a:pt x="1032" y="888"/>
                  </a:lnTo>
                  <a:lnTo>
                    <a:pt x="1032" y="888"/>
                  </a:lnTo>
                  <a:lnTo>
                    <a:pt x="1032" y="886"/>
                  </a:lnTo>
                  <a:lnTo>
                    <a:pt x="1030" y="884"/>
                  </a:lnTo>
                  <a:lnTo>
                    <a:pt x="1030" y="880"/>
                  </a:lnTo>
                  <a:lnTo>
                    <a:pt x="1028" y="876"/>
                  </a:lnTo>
                  <a:lnTo>
                    <a:pt x="1026" y="874"/>
                  </a:lnTo>
                  <a:lnTo>
                    <a:pt x="1026" y="872"/>
                  </a:lnTo>
                  <a:lnTo>
                    <a:pt x="1026" y="870"/>
                  </a:lnTo>
                  <a:lnTo>
                    <a:pt x="1026" y="866"/>
                  </a:lnTo>
                  <a:lnTo>
                    <a:pt x="1026" y="864"/>
                  </a:lnTo>
                  <a:lnTo>
                    <a:pt x="1026" y="862"/>
                  </a:lnTo>
                  <a:lnTo>
                    <a:pt x="1026" y="860"/>
                  </a:lnTo>
                  <a:lnTo>
                    <a:pt x="1028" y="858"/>
                  </a:lnTo>
                  <a:lnTo>
                    <a:pt x="1028" y="858"/>
                  </a:lnTo>
                  <a:lnTo>
                    <a:pt x="1030" y="856"/>
                  </a:lnTo>
                  <a:lnTo>
                    <a:pt x="1030" y="856"/>
                  </a:lnTo>
                  <a:lnTo>
                    <a:pt x="1032" y="856"/>
                  </a:lnTo>
                  <a:lnTo>
                    <a:pt x="1034" y="852"/>
                  </a:lnTo>
                  <a:lnTo>
                    <a:pt x="1034" y="852"/>
                  </a:lnTo>
                  <a:lnTo>
                    <a:pt x="1034" y="852"/>
                  </a:lnTo>
                  <a:lnTo>
                    <a:pt x="1036" y="848"/>
                  </a:lnTo>
                  <a:lnTo>
                    <a:pt x="1036" y="848"/>
                  </a:lnTo>
                  <a:lnTo>
                    <a:pt x="1036" y="848"/>
                  </a:lnTo>
                  <a:lnTo>
                    <a:pt x="1038" y="844"/>
                  </a:lnTo>
                  <a:lnTo>
                    <a:pt x="1038" y="840"/>
                  </a:lnTo>
                  <a:lnTo>
                    <a:pt x="1038" y="840"/>
                  </a:lnTo>
                  <a:lnTo>
                    <a:pt x="1038" y="838"/>
                  </a:lnTo>
                  <a:lnTo>
                    <a:pt x="1036" y="836"/>
                  </a:lnTo>
                  <a:lnTo>
                    <a:pt x="1036" y="834"/>
                  </a:lnTo>
                  <a:lnTo>
                    <a:pt x="1034" y="832"/>
                  </a:lnTo>
                  <a:lnTo>
                    <a:pt x="1034" y="830"/>
                  </a:lnTo>
                  <a:lnTo>
                    <a:pt x="1034" y="830"/>
                  </a:lnTo>
                  <a:lnTo>
                    <a:pt x="1032" y="830"/>
                  </a:lnTo>
                  <a:lnTo>
                    <a:pt x="1032" y="830"/>
                  </a:lnTo>
                  <a:lnTo>
                    <a:pt x="1032" y="830"/>
                  </a:lnTo>
                  <a:lnTo>
                    <a:pt x="1030" y="828"/>
                  </a:lnTo>
                  <a:lnTo>
                    <a:pt x="1030" y="828"/>
                  </a:lnTo>
                  <a:lnTo>
                    <a:pt x="1030" y="828"/>
                  </a:lnTo>
                  <a:lnTo>
                    <a:pt x="1028" y="828"/>
                  </a:lnTo>
                  <a:lnTo>
                    <a:pt x="1026" y="828"/>
                  </a:lnTo>
                  <a:lnTo>
                    <a:pt x="1026" y="828"/>
                  </a:lnTo>
                  <a:lnTo>
                    <a:pt x="1026" y="828"/>
                  </a:lnTo>
                  <a:lnTo>
                    <a:pt x="1022" y="830"/>
                  </a:lnTo>
                  <a:lnTo>
                    <a:pt x="1022" y="830"/>
                  </a:lnTo>
                  <a:lnTo>
                    <a:pt x="1022" y="830"/>
                  </a:lnTo>
                  <a:lnTo>
                    <a:pt x="1020" y="832"/>
                  </a:lnTo>
                  <a:lnTo>
                    <a:pt x="1016" y="834"/>
                  </a:lnTo>
                  <a:lnTo>
                    <a:pt x="1012" y="840"/>
                  </a:lnTo>
                  <a:lnTo>
                    <a:pt x="1008" y="844"/>
                  </a:lnTo>
                  <a:lnTo>
                    <a:pt x="1006" y="846"/>
                  </a:lnTo>
                  <a:lnTo>
                    <a:pt x="1004" y="848"/>
                  </a:lnTo>
                  <a:lnTo>
                    <a:pt x="1004" y="848"/>
                  </a:lnTo>
                  <a:lnTo>
                    <a:pt x="1002" y="850"/>
                  </a:lnTo>
                  <a:lnTo>
                    <a:pt x="1002" y="852"/>
                  </a:lnTo>
                  <a:lnTo>
                    <a:pt x="1002" y="852"/>
                  </a:lnTo>
                  <a:lnTo>
                    <a:pt x="1002" y="852"/>
                  </a:lnTo>
                  <a:lnTo>
                    <a:pt x="1000" y="852"/>
                  </a:lnTo>
                  <a:lnTo>
                    <a:pt x="998" y="852"/>
                  </a:lnTo>
                  <a:lnTo>
                    <a:pt x="996" y="852"/>
                  </a:lnTo>
                  <a:lnTo>
                    <a:pt x="994" y="850"/>
                  </a:lnTo>
                  <a:lnTo>
                    <a:pt x="992" y="848"/>
                  </a:lnTo>
                  <a:lnTo>
                    <a:pt x="992" y="846"/>
                  </a:lnTo>
                  <a:lnTo>
                    <a:pt x="990" y="846"/>
                  </a:lnTo>
                  <a:lnTo>
                    <a:pt x="990" y="844"/>
                  </a:lnTo>
                  <a:lnTo>
                    <a:pt x="988" y="842"/>
                  </a:lnTo>
                  <a:lnTo>
                    <a:pt x="984" y="840"/>
                  </a:lnTo>
                  <a:lnTo>
                    <a:pt x="982" y="836"/>
                  </a:lnTo>
                  <a:lnTo>
                    <a:pt x="982" y="834"/>
                  </a:lnTo>
                  <a:lnTo>
                    <a:pt x="980" y="832"/>
                  </a:lnTo>
                  <a:lnTo>
                    <a:pt x="980" y="828"/>
                  </a:lnTo>
                  <a:lnTo>
                    <a:pt x="980" y="828"/>
                  </a:lnTo>
                  <a:lnTo>
                    <a:pt x="980" y="828"/>
                  </a:lnTo>
                  <a:lnTo>
                    <a:pt x="980" y="826"/>
                  </a:lnTo>
                  <a:lnTo>
                    <a:pt x="980" y="826"/>
                  </a:lnTo>
                  <a:lnTo>
                    <a:pt x="978" y="826"/>
                  </a:lnTo>
                  <a:lnTo>
                    <a:pt x="978" y="824"/>
                  </a:lnTo>
                  <a:lnTo>
                    <a:pt x="978" y="824"/>
                  </a:lnTo>
                  <a:lnTo>
                    <a:pt x="978" y="824"/>
                  </a:lnTo>
                  <a:lnTo>
                    <a:pt x="974" y="822"/>
                  </a:lnTo>
                  <a:lnTo>
                    <a:pt x="974" y="820"/>
                  </a:lnTo>
                  <a:lnTo>
                    <a:pt x="972" y="820"/>
                  </a:lnTo>
                  <a:lnTo>
                    <a:pt x="972" y="818"/>
                  </a:lnTo>
                  <a:lnTo>
                    <a:pt x="974" y="816"/>
                  </a:lnTo>
                  <a:lnTo>
                    <a:pt x="974" y="814"/>
                  </a:lnTo>
                  <a:lnTo>
                    <a:pt x="976" y="812"/>
                  </a:lnTo>
                  <a:lnTo>
                    <a:pt x="976" y="810"/>
                  </a:lnTo>
                  <a:lnTo>
                    <a:pt x="978" y="810"/>
                  </a:lnTo>
                  <a:lnTo>
                    <a:pt x="980" y="808"/>
                  </a:lnTo>
                  <a:lnTo>
                    <a:pt x="980" y="808"/>
                  </a:lnTo>
                  <a:lnTo>
                    <a:pt x="980" y="806"/>
                  </a:lnTo>
                  <a:lnTo>
                    <a:pt x="982" y="804"/>
                  </a:lnTo>
                  <a:lnTo>
                    <a:pt x="982" y="804"/>
                  </a:lnTo>
                  <a:lnTo>
                    <a:pt x="982" y="802"/>
                  </a:lnTo>
                  <a:lnTo>
                    <a:pt x="982" y="800"/>
                  </a:lnTo>
                  <a:lnTo>
                    <a:pt x="982" y="800"/>
                  </a:lnTo>
                  <a:lnTo>
                    <a:pt x="982" y="798"/>
                  </a:lnTo>
                  <a:lnTo>
                    <a:pt x="982" y="796"/>
                  </a:lnTo>
                  <a:lnTo>
                    <a:pt x="982" y="796"/>
                  </a:lnTo>
                  <a:lnTo>
                    <a:pt x="982" y="794"/>
                  </a:lnTo>
                  <a:lnTo>
                    <a:pt x="982" y="792"/>
                  </a:lnTo>
                  <a:lnTo>
                    <a:pt x="982" y="792"/>
                  </a:lnTo>
                  <a:lnTo>
                    <a:pt x="982" y="792"/>
                  </a:lnTo>
                  <a:lnTo>
                    <a:pt x="980" y="788"/>
                  </a:lnTo>
                  <a:lnTo>
                    <a:pt x="980" y="788"/>
                  </a:lnTo>
                  <a:lnTo>
                    <a:pt x="980" y="788"/>
                  </a:lnTo>
                  <a:lnTo>
                    <a:pt x="978" y="786"/>
                  </a:lnTo>
                  <a:lnTo>
                    <a:pt x="978" y="786"/>
                  </a:lnTo>
                  <a:lnTo>
                    <a:pt x="978" y="786"/>
                  </a:lnTo>
                  <a:lnTo>
                    <a:pt x="974" y="782"/>
                  </a:lnTo>
                  <a:lnTo>
                    <a:pt x="972" y="780"/>
                  </a:lnTo>
                  <a:lnTo>
                    <a:pt x="968" y="778"/>
                  </a:lnTo>
                  <a:lnTo>
                    <a:pt x="964" y="774"/>
                  </a:lnTo>
                  <a:lnTo>
                    <a:pt x="962" y="772"/>
                  </a:lnTo>
                  <a:lnTo>
                    <a:pt x="960" y="770"/>
                  </a:lnTo>
                  <a:lnTo>
                    <a:pt x="958" y="768"/>
                  </a:lnTo>
                  <a:lnTo>
                    <a:pt x="958" y="768"/>
                  </a:lnTo>
                  <a:lnTo>
                    <a:pt x="958" y="768"/>
                  </a:lnTo>
                  <a:lnTo>
                    <a:pt x="956" y="768"/>
                  </a:lnTo>
                  <a:lnTo>
                    <a:pt x="954" y="766"/>
                  </a:lnTo>
                  <a:lnTo>
                    <a:pt x="954" y="766"/>
                  </a:lnTo>
                  <a:lnTo>
                    <a:pt x="952" y="766"/>
                  </a:lnTo>
                  <a:lnTo>
                    <a:pt x="950" y="766"/>
                  </a:lnTo>
                  <a:lnTo>
                    <a:pt x="950" y="766"/>
                  </a:lnTo>
                  <a:lnTo>
                    <a:pt x="950" y="766"/>
                  </a:lnTo>
                  <a:lnTo>
                    <a:pt x="948" y="766"/>
                  </a:lnTo>
                  <a:lnTo>
                    <a:pt x="948" y="766"/>
                  </a:lnTo>
                  <a:lnTo>
                    <a:pt x="948" y="766"/>
                  </a:lnTo>
                  <a:lnTo>
                    <a:pt x="946" y="766"/>
                  </a:lnTo>
                  <a:lnTo>
                    <a:pt x="946" y="766"/>
                  </a:lnTo>
                  <a:lnTo>
                    <a:pt x="946" y="766"/>
                  </a:lnTo>
                  <a:lnTo>
                    <a:pt x="942" y="768"/>
                  </a:lnTo>
                  <a:lnTo>
                    <a:pt x="942" y="768"/>
                  </a:lnTo>
                  <a:lnTo>
                    <a:pt x="940" y="768"/>
                  </a:lnTo>
                  <a:lnTo>
                    <a:pt x="936" y="770"/>
                  </a:lnTo>
                  <a:lnTo>
                    <a:pt x="936" y="770"/>
                  </a:lnTo>
                  <a:lnTo>
                    <a:pt x="936" y="772"/>
                  </a:lnTo>
                  <a:lnTo>
                    <a:pt x="934" y="774"/>
                  </a:lnTo>
                  <a:lnTo>
                    <a:pt x="934" y="778"/>
                  </a:lnTo>
                  <a:lnTo>
                    <a:pt x="932" y="780"/>
                  </a:lnTo>
                  <a:lnTo>
                    <a:pt x="932" y="780"/>
                  </a:lnTo>
                  <a:lnTo>
                    <a:pt x="932" y="780"/>
                  </a:lnTo>
                  <a:lnTo>
                    <a:pt x="932" y="782"/>
                  </a:lnTo>
                  <a:lnTo>
                    <a:pt x="932" y="782"/>
                  </a:lnTo>
                  <a:lnTo>
                    <a:pt x="932" y="784"/>
                  </a:lnTo>
                  <a:lnTo>
                    <a:pt x="932" y="786"/>
                  </a:lnTo>
                  <a:lnTo>
                    <a:pt x="932" y="786"/>
                  </a:lnTo>
                  <a:lnTo>
                    <a:pt x="934" y="786"/>
                  </a:lnTo>
                  <a:lnTo>
                    <a:pt x="934" y="788"/>
                  </a:lnTo>
                  <a:lnTo>
                    <a:pt x="934" y="788"/>
                  </a:lnTo>
                  <a:lnTo>
                    <a:pt x="936" y="790"/>
                  </a:lnTo>
                  <a:lnTo>
                    <a:pt x="938" y="790"/>
                  </a:lnTo>
                  <a:lnTo>
                    <a:pt x="938" y="790"/>
                  </a:lnTo>
                  <a:lnTo>
                    <a:pt x="938" y="790"/>
                  </a:lnTo>
                  <a:lnTo>
                    <a:pt x="942" y="792"/>
                  </a:lnTo>
                  <a:lnTo>
                    <a:pt x="944" y="792"/>
                  </a:lnTo>
                  <a:lnTo>
                    <a:pt x="944" y="792"/>
                  </a:lnTo>
                  <a:lnTo>
                    <a:pt x="944" y="794"/>
                  </a:lnTo>
                  <a:lnTo>
                    <a:pt x="944" y="794"/>
                  </a:lnTo>
                  <a:lnTo>
                    <a:pt x="944" y="794"/>
                  </a:lnTo>
                  <a:lnTo>
                    <a:pt x="942" y="796"/>
                  </a:lnTo>
                  <a:lnTo>
                    <a:pt x="940" y="798"/>
                  </a:lnTo>
                  <a:lnTo>
                    <a:pt x="938" y="800"/>
                  </a:lnTo>
                  <a:lnTo>
                    <a:pt x="936" y="802"/>
                  </a:lnTo>
                  <a:lnTo>
                    <a:pt x="936" y="802"/>
                  </a:lnTo>
                  <a:lnTo>
                    <a:pt x="936" y="804"/>
                  </a:lnTo>
                  <a:lnTo>
                    <a:pt x="936" y="808"/>
                  </a:lnTo>
                  <a:lnTo>
                    <a:pt x="936" y="810"/>
                  </a:lnTo>
                  <a:lnTo>
                    <a:pt x="936" y="810"/>
                  </a:lnTo>
                  <a:lnTo>
                    <a:pt x="936" y="810"/>
                  </a:lnTo>
                  <a:lnTo>
                    <a:pt x="934" y="810"/>
                  </a:lnTo>
                  <a:lnTo>
                    <a:pt x="934" y="810"/>
                  </a:lnTo>
                  <a:lnTo>
                    <a:pt x="932" y="810"/>
                  </a:lnTo>
                  <a:lnTo>
                    <a:pt x="930" y="806"/>
                  </a:lnTo>
                  <a:lnTo>
                    <a:pt x="930" y="806"/>
                  </a:lnTo>
                  <a:lnTo>
                    <a:pt x="928" y="806"/>
                  </a:lnTo>
                  <a:lnTo>
                    <a:pt x="926" y="802"/>
                  </a:lnTo>
                  <a:lnTo>
                    <a:pt x="926" y="802"/>
                  </a:lnTo>
                  <a:lnTo>
                    <a:pt x="924" y="802"/>
                  </a:lnTo>
                  <a:lnTo>
                    <a:pt x="920" y="798"/>
                  </a:lnTo>
                  <a:lnTo>
                    <a:pt x="916" y="796"/>
                  </a:lnTo>
                  <a:lnTo>
                    <a:pt x="916" y="796"/>
                  </a:lnTo>
                  <a:lnTo>
                    <a:pt x="916" y="794"/>
                  </a:lnTo>
                  <a:lnTo>
                    <a:pt x="916" y="794"/>
                  </a:lnTo>
                  <a:lnTo>
                    <a:pt x="916" y="794"/>
                  </a:lnTo>
                  <a:lnTo>
                    <a:pt x="914" y="792"/>
                  </a:lnTo>
                  <a:lnTo>
                    <a:pt x="914" y="792"/>
                  </a:lnTo>
                  <a:lnTo>
                    <a:pt x="914" y="792"/>
                  </a:lnTo>
                  <a:lnTo>
                    <a:pt x="912" y="792"/>
                  </a:lnTo>
                  <a:lnTo>
                    <a:pt x="910" y="792"/>
                  </a:lnTo>
                  <a:lnTo>
                    <a:pt x="910" y="792"/>
                  </a:lnTo>
                  <a:lnTo>
                    <a:pt x="910" y="792"/>
                  </a:lnTo>
                  <a:lnTo>
                    <a:pt x="906" y="794"/>
                  </a:lnTo>
                  <a:lnTo>
                    <a:pt x="906" y="794"/>
                  </a:lnTo>
                  <a:lnTo>
                    <a:pt x="906" y="794"/>
                  </a:lnTo>
                  <a:lnTo>
                    <a:pt x="902" y="796"/>
                  </a:lnTo>
                  <a:lnTo>
                    <a:pt x="900" y="798"/>
                  </a:lnTo>
                  <a:lnTo>
                    <a:pt x="898" y="800"/>
                  </a:lnTo>
                  <a:lnTo>
                    <a:pt x="898" y="802"/>
                  </a:lnTo>
                  <a:lnTo>
                    <a:pt x="898" y="802"/>
                  </a:lnTo>
                  <a:lnTo>
                    <a:pt x="898" y="802"/>
                  </a:lnTo>
                  <a:lnTo>
                    <a:pt x="896" y="802"/>
                  </a:lnTo>
                  <a:lnTo>
                    <a:pt x="894" y="808"/>
                  </a:lnTo>
                  <a:lnTo>
                    <a:pt x="894" y="810"/>
                  </a:lnTo>
                  <a:lnTo>
                    <a:pt x="892" y="808"/>
                  </a:lnTo>
                  <a:lnTo>
                    <a:pt x="892" y="804"/>
                  </a:lnTo>
                  <a:lnTo>
                    <a:pt x="892" y="804"/>
                  </a:lnTo>
                  <a:lnTo>
                    <a:pt x="892" y="802"/>
                  </a:lnTo>
                  <a:lnTo>
                    <a:pt x="894" y="800"/>
                  </a:lnTo>
                  <a:lnTo>
                    <a:pt x="896" y="798"/>
                  </a:lnTo>
                  <a:lnTo>
                    <a:pt x="900" y="792"/>
                  </a:lnTo>
                  <a:lnTo>
                    <a:pt x="900" y="792"/>
                  </a:lnTo>
                  <a:lnTo>
                    <a:pt x="900" y="792"/>
                  </a:lnTo>
                  <a:lnTo>
                    <a:pt x="904" y="790"/>
                  </a:lnTo>
                  <a:lnTo>
                    <a:pt x="904" y="790"/>
                  </a:lnTo>
                  <a:lnTo>
                    <a:pt x="904" y="790"/>
                  </a:lnTo>
                  <a:lnTo>
                    <a:pt x="904" y="786"/>
                  </a:lnTo>
                  <a:lnTo>
                    <a:pt x="904" y="786"/>
                  </a:lnTo>
                  <a:lnTo>
                    <a:pt x="906" y="784"/>
                  </a:lnTo>
                  <a:lnTo>
                    <a:pt x="904" y="776"/>
                  </a:lnTo>
                  <a:lnTo>
                    <a:pt x="904" y="766"/>
                  </a:lnTo>
                  <a:lnTo>
                    <a:pt x="902" y="756"/>
                  </a:lnTo>
                  <a:lnTo>
                    <a:pt x="900" y="748"/>
                  </a:lnTo>
                  <a:lnTo>
                    <a:pt x="898" y="738"/>
                  </a:lnTo>
                  <a:lnTo>
                    <a:pt x="898" y="738"/>
                  </a:lnTo>
                  <a:lnTo>
                    <a:pt x="898" y="738"/>
                  </a:lnTo>
                  <a:lnTo>
                    <a:pt x="894" y="730"/>
                  </a:lnTo>
                  <a:lnTo>
                    <a:pt x="894" y="730"/>
                  </a:lnTo>
                  <a:lnTo>
                    <a:pt x="894" y="730"/>
                  </a:lnTo>
                  <a:lnTo>
                    <a:pt x="890" y="726"/>
                  </a:lnTo>
                  <a:lnTo>
                    <a:pt x="888" y="722"/>
                  </a:lnTo>
                  <a:lnTo>
                    <a:pt x="888" y="722"/>
                  </a:lnTo>
                  <a:lnTo>
                    <a:pt x="888" y="722"/>
                  </a:lnTo>
                  <a:lnTo>
                    <a:pt x="884" y="720"/>
                  </a:lnTo>
                  <a:lnTo>
                    <a:pt x="884" y="720"/>
                  </a:lnTo>
                  <a:lnTo>
                    <a:pt x="884" y="720"/>
                  </a:lnTo>
                  <a:lnTo>
                    <a:pt x="880" y="718"/>
                  </a:lnTo>
                  <a:lnTo>
                    <a:pt x="880" y="718"/>
                  </a:lnTo>
                  <a:lnTo>
                    <a:pt x="878" y="718"/>
                  </a:lnTo>
                  <a:lnTo>
                    <a:pt x="874" y="718"/>
                  </a:lnTo>
                  <a:lnTo>
                    <a:pt x="870" y="718"/>
                  </a:lnTo>
                  <a:lnTo>
                    <a:pt x="868" y="720"/>
                  </a:lnTo>
                  <a:lnTo>
                    <a:pt x="864" y="720"/>
                  </a:lnTo>
                  <a:lnTo>
                    <a:pt x="862" y="722"/>
                  </a:lnTo>
                  <a:lnTo>
                    <a:pt x="860" y="722"/>
                  </a:lnTo>
                  <a:lnTo>
                    <a:pt x="860" y="722"/>
                  </a:lnTo>
                  <a:lnTo>
                    <a:pt x="860" y="724"/>
                  </a:lnTo>
                  <a:lnTo>
                    <a:pt x="858" y="726"/>
                  </a:lnTo>
                  <a:lnTo>
                    <a:pt x="854" y="728"/>
                  </a:lnTo>
                  <a:lnTo>
                    <a:pt x="852" y="730"/>
                  </a:lnTo>
                  <a:lnTo>
                    <a:pt x="850" y="732"/>
                  </a:lnTo>
                  <a:lnTo>
                    <a:pt x="848" y="732"/>
                  </a:lnTo>
                  <a:lnTo>
                    <a:pt x="846" y="734"/>
                  </a:lnTo>
                  <a:lnTo>
                    <a:pt x="846" y="734"/>
                  </a:lnTo>
                  <a:lnTo>
                    <a:pt x="844" y="734"/>
                  </a:lnTo>
                  <a:lnTo>
                    <a:pt x="842" y="736"/>
                  </a:lnTo>
                  <a:lnTo>
                    <a:pt x="842" y="736"/>
                  </a:lnTo>
                  <a:lnTo>
                    <a:pt x="842" y="738"/>
                  </a:lnTo>
                  <a:lnTo>
                    <a:pt x="840" y="740"/>
                  </a:lnTo>
                  <a:lnTo>
                    <a:pt x="840" y="740"/>
                  </a:lnTo>
                  <a:lnTo>
                    <a:pt x="840" y="742"/>
                  </a:lnTo>
                  <a:lnTo>
                    <a:pt x="838" y="744"/>
                  </a:lnTo>
                  <a:lnTo>
                    <a:pt x="838" y="748"/>
                  </a:lnTo>
                  <a:lnTo>
                    <a:pt x="836" y="752"/>
                  </a:lnTo>
                  <a:lnTo>
                    <a:pt x="836" y="754"/>
                  </a:lnTo>
                  <a:lnTo>
                    <a:pt x="834" y="756"/>
                  </a:lnTo>
                  <a:lnTo>
                    <a:pt x="832" y="758"/>
                  </a:lnTo>
                  <a:lnTo>
                    <a:pt x="832" y="760"/>
                  </a:lnTo>
                  <a:lnTo>
                    <a:pt x="832" y="760"/>
                  </a:lnTo>
                  <a:lnTo>
                    <a:pt x="830" y="760"/>
                  </a:lnTo>
                  <a:lnTo>
                    <a:pt x="830" y="764"/>
                  </a:lnTo>
                  <a:lnTo>
                    <a:pt x="830" y="764"/>
                  </a:lnTo>
                  <a:lnTo>
                    <a:pt x="830" y="764"/>
                  </a:lnTo>
                  <a:lnTo>
                    <a:pt x="828" y="768"/>
                  </a:lnTo>
                  <a:lnTo>
                    <a:pt x="828" y="768"/>
                  </a:lnTo>
                  <a:lnTo>
                    <a:pt x="828" y="768"/>
                  </a:lnTo>
                  <a:lnTo>
                    <a:pt x="828" y="772"/>
                  </a:lnTo>
                  <a:lnTo>
                    <a:pt x="830" y="776"/>
                  </a:lnTo>
                  <a:lnTo>
                    <a:pt x="830" y="780"/>
                  </a:lnTo>
                  <a:lnTo>
                    <a:pt x="832" y="784"/>
                  </a:lnTo>
                  <a:lnTo>
                    <a:pt x="834" y="786"/>
                  </a:lnTo>
                  <a:lnTo>
                    <a:pt x="834" y="788"/>
                  </a:lnTo>
                  <a:lnTo>
                    <a:pt x="834" y="792"/>
                  </a:lnTo>
                  <a:lnTo>
                    <a:pt x="834" y="796"/>
                  </a:lnTo>
                  <a:lnTo>
                    <a:pt x="834" y="800"/>
                  </a:lnTo>
                  <a:lnTo>
                    <a:pt x="834" y="802"/>
                  </a:lnTo>
                  <a:lnTo>
                    <a:pt x="834" y="804"/>
                  </a:lnTo>
                  <a:lnTo>
                    <a:pt x="832" y="804"/>
                  </a:lnTo>
                  <a:lnTo>
                    <a:pt x="832" y="804"/>
                  </a:lnTo>
                  <a:lnTo>
                    <a:pt x="830" y="806"/>
                  </a:lnTo>
                  <a:lnTo>
                    <a:pt x="830" y="806"/>
                  </a:lnTo>
                  <a:lnTo>
                    <a:pt x="830" y="806"/>
                  </a:lnTo>
                  <a:lnTo>
                    <a:pt x="830" y="806"/>
                  </a:lnTo>
                  <a:lnTo>
                    <a:pt x="830" y="806"/>
                  </a:lnTo>
                  <a:lnTo>
                    <a:pt x="830" y="810"/>
                  </a:lnTo>
                  <a:lnTo>
                    <a:pt x="830" y="810"/>
                  </a:lnTo>
                  <a:lnTo>
                    <a:pt x="830" y="810"/>
                  </a:lnTo>
                  <a:lnTo>
                    <a:pt x="832" y="812"/>
                  </a:lnTo>
                  <a:lnTo>
                    <a:pt x="832" y="812"/>
                  </a:lnTo>
                  <a:lnTo>
                    <a:pt x="834" y="814"/>
                  </a:lnTo>
                  <a:lnTo>
                    <a:pt x="836" y="814"/>
                  </a:lnTo>
                  <a:lnTo>
                    <a:pt x="838" y="816"/>
                  </a:lnTo>
                  <a:lnTo>
                    <a:pt x="838" y="818"/>
                  </a:lnTo>
                  <a:lnTo>
                    <a:pt x="840" y="818"/>
                  </a:lnTo>
                  <a:lnTo>
                    <a:pt x="840" y="820"/>
                  </a:lnTo>
                  <a:lnTo>
                    <a:pt x="840" y="820"/>
                  </a:lnTo>
                  <a:lnTo>
                    <a:pt x="840" y="820"/>
                  </a:lnTo>
                  <a:lnTo>
                    <a:pt x="838" y="822"/>
                  </a:lnTo>
                  <a:lnTo>
                    <a:pt x="838" y="822"/>
                  </a:lnTo>
                  <a:lnTo>
                    <a:pt x="838" y="824"/>
                  </a:lnTo>
                  <a:lnTo>
                    <a:pt x="836" y="828"/>
                  </a:lnTo>
                  <a:lnTo>
                    <a:pt x="836" y="832"/>
                  </a:lnTo>
                  <a:lnTo>
                    <a:pt x="834" y="834"/>
                  </a:lnTo>
                  <a:lnTo>
                    <a:pt x="832" y="838"/>
                  </a:lnTo>
                  <a:lnTo>
                    <a:pt x="830" y="840"/>
                  </a:lnTo>
                  <a:lnTo>
                    <a:pt x="828" y="842"/>
                  </a:lnTo>
                  <a:lnTo>
                    <a:pt x="826" y="844"/>
                  </a:lnTo>
                  <a:lnTo>
                    <a:pt x="828" y="840"/>
                  </a:lnTo>
                  <a:lnTo>
                    <a:pt x="830" y="838"/>
                  </a:lnTo>
                  <a:lnTo>
                    <a:pt x="832" y="836"/>
                  </a:lnTo>
                  <a:lnTo>
                    <a:pt x="834" y="834"/>
                  </a:lnTo>
                  <a:lnTo>
                    <a:pt x="834" y="834"/>
                  </a:lnTo>
                  <a:lnTo>
                    <a:pt x="834" y="834"/>
                  </a:lnTo>
                  <a:lnTo>
                    <a:pt x="834" y="832"/>
                  </a:lnTo>
                  <a:lnTo>
                    <a:pt x="834" y="832"/>
                  </a:lnTo>
                  <a:lnTo>
                    <a:pt x="834" y="832"/>
                  </a:lnTo>
                  <a:lnTo>
                    <a:pt x="834" y="830"/>
                  </a:lnTo>
                  <a:lnTo>
                    <a:pt x="834" y="830"/>
                  </a:lnTo>
                  <a:lnTo>
                    <a:pt x="834" y="828"/>
                  </a:lnTo>
                  <a:lnTo>
                    <a:pt x="832" y="828"/>
                  </a:lnTo>
                  <a:lnTo>
                    <a:pt x="832" y="826"/>
                  </a:lnTo>
                  <a:lnTo>
                    <a:pt x="832" y="826"/>
                  </a:lnTo>
                  <a:lnTo>
                    <a:pt x="832" y="826"/>
                  </a:lnTo>
                  <a:lnTo>
                    <a:pt x="830" y="824"/>
                  </a:lnTo>
                  <a:lnTo>
                    <a:pt x="830" y="824"/>
                  </a:lnTo>
                  <a:lnTo>
                    <a:pt x="830" y="824"/>
                  </a:lnTo>
                  <a:lnTo>
                    <a:pt x="828" y="820"/>
                  </a:lnTo>
                  <a:lnTo>
                    <a:pt x="826" y="818"/>
                  </a:lnTo>
                  <a:lnTo>
                    <a:pt x="822" y="812"/>
                  </a:lnTo>
                  <a:lnTo>
                    <a:pt x="820" y="808"/>
                  </a:lnTo>
                  <a:lnTo>
                    <a:pt x="818" y="806"/>
                  </a:lnTo>
                  <a:lnTo>
                    <a:pt x="816" y="800"/>
                  </a:lnTo>
                  <a:lnTo>
                    <a:pt x="816" y="794"/>
                  </a:lnTo>
                  <a:lnTo>
                    <a:pt x="814" y="786"/>
                  </a:lnTo>
                  <a:lnTo>
                    <a:pt x="816" y="780"/>
                  </a:lnTo>
                  <a:lnTo>
                    <a:pt x="816" y="774"/>
                  </a:lnTo>
                  <a:lnTo>
                    <a:pt x="816" y="770"/>
                  </a:lnTo>
                  <a:lnTo>
                    <a:pt x="818" y="760"/>
                  </a:lnTo>
                  <a:lnTo>
                    <a:pt x="822" y="750"/>
                  </a:lnTo>
                  <a:lnTo>
                    <a:pt x="822" y="744"/>
                  </a:lnTo>
                  <a:lnTo>
                    <a:pt x="824" y="740"/>
                  </a:lnTo>
                  <a:lnTo>
                    <a:pt x="826" y="736"/>
                  </a:lnTo>
                  <a:lnTo>
                    <a:pt x="828" y="734"/>
                  </a:lnTo>
                  <a:lnTo>
                    <a:pt x="832" y="728"/>
                  </a:lnTo>
                  <a:lnTo>
                    <a:pt x="836" y="724"/>
                  </a:lnTo>
                  <a:lnTo>
                    <a:pt x="838" y="722"/>
                  </a:lnTo>
                  <a:lnTo>
                    <a:pt x="838" y="718"/>
                  </a:lnTo>
                  <a:lnTo>
                    <a:pt x="836" y="718"/>
                  </a:lnTo>
                  <a:lnTo>
                    <a:pt x="836" y="718"/>
                  </a:lnTo>
                  <a:lnTo>
                    <a:pt x="836" y="718"/>
                  </a:lnTo>
                  <a:lnTo>
                    <a:pt x="836" y="718"/>
                  </a:lnTo>
                  <a:lnTo>
                    <a:pt x="834" y="716"/>
                  </a:lnTo>
                  <a:lnTo>
                    <a:pt x="834" y="716"/>
                  </a:lnTo>
                  <a:lnTo>
                    <a:pt x="830" y="716"/>
                  </a:lnTo>
                  <a:lnTo>
                    <a:pt x="832" y="712"/>
                  </a:lnTo>
                  <a:lnTo>
                    <a:pt x="830" y="712"/>
                  </a:lnTo>
                  <a:lnTo>
                    <a:pt x="830" y="712"/>
                  </a:lnTo>
                  <a:lnTo>
                    <a:pt x="826" y="710"/>
                  </a:lnTo>
                  <a:lnTo>
                    <a:pt x="824" y="708"/>
                  </a:lnTo>
                  <a:lnTo>
                    <a:pt x="820" y="706"/>
                  </a:lnTo>
                  <a:lnTo>
                    <a:pt x="820" y="706"/>
                  </a:lnTo>
                  <a:lnTo>
                    <a:pt x="820" y="706"/>
                  </a:lnTo>
                  <a:lnTo>
                    <a:pt x="818" y="706"/>
                  </a:lnTo>
                  <a:lnTo>
                    <a:pt x="818" y="706"/>
                  </a:lnTo>
                  <a:lnTo>
                    <a:pt x="818" y="706"/>
                  </a:lnTo>
                  <a:lnTo>
                    <a:pt x="816" y="706"/>
                  </a:lnTo>
                  <a:lnTo>
                    <a:pt x="816" y="706"/>
                  </a:lnTo>
                  <a:lnTo>
                    <a:pt x="814" y="706"/>
                  </a:lnTo>
                  <a:lnTo>
                    <a:pt x="812" y="706"/>
                  </a:lnTo>
                  <a:lnTo>
                    <a:pt x="810" y="708"/>
                  </a:lnTo>
                  <a:lnTo>
                    <a:pt x="806" y="710"/>
                  </a:lnTo>
                  <a:lnTo>
                    <a:pt x="800" y="714"/>
                  </a:lnTo>
                  <a:lnTo>
                    <a:pt x="796" y="718"/>
                  </a:lnTo>
                  <a:lnTo>
                    <a:pt x="792" y="720"/>
                  </a:lnTo>
                  <a:lnTo>
                    <a:pt x="790" y="722"/>
                  </a:lnTo>
                  <a:lnTo>
                    <a:pt x="784" y="726"/>
                  </a:lnTo>
                  <a:lnTo>
                    <a:pt x="780" y="732"/>
                  </a:lnTo>
                  <a:lnTo>
                    <a:pt x="778" y="734"/>
                  </a:lnTo>
                  <a:lnTo>
                    <a:pt x="776" y="738"/>
                  </a:lnTo>
                  <a:lnTo>
                    <a:pt x="776" y="738"/>
                  </a:lnTo>
                  <a:lnTo>
                    <a:pt x="774" y="738"/>
                  </a:lnTo>
                  <a:lnTo>
                    <a:pt x="774" y="740"/>
                  </a:lnTo>
                  <a:lnTo>
                    <a:pt x="774" y="742"/>
                  </a:lnTo>
                  <a:lnTo>
                    <a:pt x="770" y="746"/>
                  </a:lnTo>
                  <a:lnTo>
                    <a:pt x="768" y="750"/>
                  </a:lnTo>
                  <a:lnTo>
                    <a:pt x="766" y="756"/>
                  </a:lnTo>
                  <a:lnTo>
                    <a:pt x="766" y="756"/>
                  </a:lnTo>
                  <a:lnTo>
                    <a:pt x="766" y="756"/>
                  </a:lnTo>
                  <a:lnTo>
                    <a:pt x="766" y="760"/>
                  </a:lnTo>
                  <a:lnTo>
                    <a:pt x="764" y="764"/>
                  </a:lnTo>
                  <a:lnTo>
                    <a:pt x="764" y="768"/>
                  </a:lnTo>
                  <a:lnTo>
                    <a:pt x="764" y="770"/>
                  </a:lnTo>
                  <a:lnTo>
                    <a:pt x="764" y="772"/>
                  </a:lnTo>
                  <a:lnTo>
                    <a:pt x="762" y="774"/>
                  </a:lnTo>
                  <a:lnTo>
                    <a:pt x="762" y="776"/>
                  </a:lnTo>
                  <a:lnTo>
                    <a:pt x="760" y="778"/>
                  </a:lnTo>
                  <a:lnTo>
                    <a:pt x="760" y="778"/>
                  </a:lnTo>
                  <a:lnTo>
                    <a:pt x="760" y="780"/>
                  </a:lnTo>
                  <a:lnTo>
                    <a:pt x="758" y="786"/>
                  </a:lnTo>
                  <a:lnTo>
                    <a:pt x="758" y="794"/>
                  </a:lnTo>
                  <a:lnTo>
                    <a:pt x="756" y="806"/>
                  </a:lnTo>
                  <a:lnTo>
                    <a:pt x="756" y="814"/>
                  </a:lnTo>
                  <a:lnTo>
                    <a:pt x="756" y="820"/>
                  </a:lnTo>
                  <a:lnTo>
                    <a:pt x="758" y="828"/>
                  </a:lnTo>
                  <a:lnTo>
                    <a:pt x="760" y="834"/>
                  </a:lnTo>
                  <a:lnTo>
                    <a:pt x="760" y="838"/>
                  </a:lnTo>
                  <a:lnTo>
                    <a:pt x="760" y="840"/>
                  </a:lnTo>
                  <a:lnTo>
                    <a:pt x="762" y="842"/>
                  </a:lnTo>
                  <a:lnTo>
                    <a:pt x="762" y="842"/>
                  </a:lnTo>
                  <a:lnTo>
                    <a:pt x="762" y="842"/>
                  </a:lnTo>
                  <a:lnTo>
                    <a:pt x="762" y="844"/>
                  </a:lnTo>
                  <a:lnTo>
                    <a:pt x="764" y="846"/>
                  </a:lnTo>
                  <a:lnTo>
                    <a:pt x="764" y="848"/>
                  </a:lnTo>
                  <a:lnTo>
                    <a:pt x="764" y="848"/>
                  </a:lnTo>
                  <a:lnTo>
                    <a:pt x="766" y="850"/>
                  </a:lnTo>
                  <a:lnTo>
                    <a:pt x="766" y="854"/>
                  </a:lnTo>
                  <a:lnTo>
                    <a:pt x="768" y="856"/>
                  </a:lnTo>
                  <a:lnTo>
                    <a:pt x="768" y="858"/>
                  </a:lnTo>
                  <a:lnTo>
                    <a:pt x="768" y="858"/>
                  </a:lnTo>
                  <a:lnTo>
                    <a:pt x="770" y="862"/>
                  </a:lnTo>
                  <a:lnTo>
                    <a:pt x="770" y="862"/>
                  </a:lnTo>
                  <a:lnTo>
                    <a:pt x="772" y="864"/>
                  </a:lnTo>
                  <a:lnTo>
                    <a:pt x="772" y="866"/>
                  </a:lnTo>
                  <a:lnTo>
                    <a:pt x="772" y="868"/>
                  </a:lnTo>
                  <a:lnTo>
                    <a:pt x="772" y="870"/>
                  </a:lnTo>
                  <a:lnTo>
                    <a:pt x="772" y="872"/>
                  </a:lnTo>
                  <a:lnTo>
                    <a:pt x="772" y="876"/>
                  </a:lnTo>
                  <a:lnTo>
                    <a:pt x="774" y="880"/>
                  </a:lnTo>
                  <a:lnTo>
                    <a:pt x="774" y="880"/>
                  </a:lnTo>
                  <a:lnTo>
                    <a:pt x="774" y="882"/>
                  </a:lnTo>
                  <a:lnTo>
                    <a:pt x="776" y="884"/>
                  </a:lnTo>
                  <a:lnTo>
                    <a:pt x="778" y="882"/>
                  </a:lnTo>
                  <a:lnTo>
                    <a:pt x="780" y="882"/>
                  </a:lnTo>
                  <a:lnTo>
                    <a:pt x="784" y="882"/>
                  </a:lnTo>
                  <a:lnTo>
                    <a:pt x="790" y="882"/>
                  </a:lnTo>
                  <a:lnTo>
                    <a:pt x="796" y="880"/>
                  </a:lnTo>
                  <a:lnTo>
                    <a:pt x="800" y="880"/>
                  </a:lnTo>
                  <a:lnTo>
                    <a:pt x="804" y="880"/>
                  </a:lnTo>
                  <a:lnTo>
                    <a:pt x="804" y="880"/>
                  </a:lnTo>
                  <a:lnTo>
                    <a:pt x="806" y="882"/>
                  </a:lnTo>
                  <a:lnTo>
                    <a:pt x="806" y="882"/>
                  </a:lnTo>
                  <a:lnTo>
                    <a:pt x="806" y="884"/>
                  </a:lnTo>
                  <a:lnTo>
                    <a:pt x="804" y="886"/>
                  </a:lnTo>
                  <a:lnTo>
                    <a:pt x="804" y="886"/>
                  </a:lnTo>
                  <a:lnTo>
                    <a:pt x="804" y="886"/>
                  </a:lnTo>
                  <a:lnTo>
                    <a:pt x="804" y="888"/>
                  </a:lnTo>
                  <a:lnTo>
                    <a:pt x="804" y="888"/>
                  </a:lnTo>
                  <a:lnTo>
                    <a:pt x="802" y="890"/>
                  </a:lnTo>
                  <a:lnTo>
                    <a:pt x="804" y="892"/>
                  </a:lnTo>
                  <a:lnTo>
                    <a:pt x="804" y="892"/>
                  </a:lnTo>
                  <a:lnTo>
                    <a:pt x="804" y="894"/>
                  </a:lnTo>
                  <a:lnTo>
                    <a:pt x="804" y="894"/>
                  </a:lnTo>
                  <a:lnTo>
                    <a:pt x="804" y="894"/>
                  </a:lnTo>
                  <a:lnTo>
                    <a:pt x="806" y="896"/>
                  </a:lnTo>
                  <a:lnTo>
                    <a:pt x="806" y="896"/>
                  </a:lnTo>
                  <a:lnTo>
                    <a:pt x="806" y="896"/>
                  </a:lnTo>
                  <a:lnTo>
                    <a:pt x="808" y="896"/>
                  </a:lnTo>
                  <a:lnTo>
                    <a:pt x="810" y="896"/>
                  </a:lnTo>
                  <a:lnTo>
                    <a:pt x="810" y="896"/>
                  </a:lnTo>
                  <a:lnTo>
                    <a:pt x="812" y="896"/>
                  </a:lnTo>
                  <a:lnTo>
                    <a:pt x="818" y="896"/>
                  </a:lnTo>
                  <a:lnTo>
                    <a:pt x="824" y="896"/>
                  </a:lnTo>
                  <a:lnTo>
                    <a:pt x="830" y="894"/>
                  </a:lnTo>
                  <a:lnTo>
                    <a:pt x="834" y="894"/>
                  </a:lnTo>
                  <a:lnTo>
                    <a:pt x="832" y="896"/>
                  </a:lnTo>
                  <a:lnTo>
                    <a:pt x="832" y="896"/>
                  </a:lnTo>
                  <a:lnTo>
                    <a:pt x="830" y="896"/>
                  </a:lnTo>
                  <a:lnTo>
                    <a:pt x="830" y="898"/>
                  </a:lnTo>
                  <a:lnTo>
                    <a:pt x="830" y="898"/>
                  </a:lnTo>
                  <a:lnTo>
                    <a:pt x="828" y="900"/>
                  </a:lnTo>
                  <a:lnTo>
                    <a:pt x="828" y="902"/>
                  </a:lnTo>
                  <a:lnTo>
                    <a:pt x="828" y="902"/>
                  </a:lnTo>
                  <a:lnTo>
                    <a:pt x="828" y="904"/>
                  </a:lnTo>
                  <a:lnTo>
                    <a:pt x="828" y="908"/>
                  </a:lnTo>
                  <a:lnTo>
                    <a:pt x="828" y="912"/>
                  </a:lnTo>
                  <a:lnTo>
                    <a:pt x="830" y="918"/>
                  </a:lnTo>
                  <a:lnTo>
                    <a:pt x="830" y="922"/>
                  </a:lnTo>
                  <a:lnTo>
                    <a:pt x="830" y="926"/>
                  </a:lnTo>
                  <a:lnTo>
                    <a:pt x="830" y="930"/>
                  </a:lnTo>
                  <a:lnTo>
                    <a:pt x="830" y="934"/>
                  </a:lnTo>
                  <a:lnTo>
                    <a:pt x="828" y="938"/>
                  </a:lnTo>
                  <a:lnTo>
                    <a:pt x="824" y="946"/>
                  </a:lnTo>
                  <a:lnTo>
                    <a:pt x="822" y="954"/>
                  </a:lnTo>
                  <a:lnTo>
                    <a:pt x="820" y="958"/>
                  </a:lnTo>
                  <a:lnTo>
                    <a:pt x="818" y="962"/>
                  </a:lnTo>
                  <a:lnTo>
                    <a:pt x="816" y="970"/>
                  </a:lnTo>
                  <a:lnTo>
                    <a:pt x="814" y="978"/>
                  </a:lnTo>
                  <a:lnTo>
                    <a:pt x="812" y="986"/>
                  </a:lnTo>
                  <a:lnTo>
                    <a:pt x="810" y="988"/>
                  </a:lnTo>
                  <a:lnTo>
                    <a:pt x="810" y="992"/>
                  </a:lnTo>
                  <a:lnTo>
                    <a:pt x="808" y="994"/>
                  </a:lnTo>
                  <a:lnTo>
                    <a:pt x="806" y="998"/>
                  </a:lnTo>
                  <a:lnTo>
                    <a:pt x="804" y="1000"/>
                  </a:lnTo>
                  <a:lnTo>
                    <a:pt x="802" y="1004"/>
                  </a:lnTo>
                  <a:lnTo>
                    <a:pt x="800" y="1004"/>
                  </a:lnTo>
                  <a:lnTo>
                    <a:pt x="798" y="1006"/>
                  </a:lnTo>
                  <a:lnTo>
                    <a:pt x="796" y="1006"/>
                  </a:lnTo>
                  <a:lnTo>
                    <a:pt x="796" y="1006"/>
                  </a:lnTo>
                  <a:lnTo>
                    <a:pt x="796" y="1006"/>
                  </a:lnTo>
                  <a:lnTo>
                    <a:pt x="794" y="1002"/>
                  </a:lnTo>
                  <a:lnTo>
                    <a:pt x="794" y="1000"/>
                  </a:lnTo>
                  <a:lnTo>
                    <a:pt x="792" y="996"/>
                  </a:lnTo>
                  <a:lnTo>
                    <a:pt x="790" y="986"/>
                  </a:lnTo>
                  <a:lnTo>
                    <a:pt x="790" y="982"/>
                  </a:lnTo>
                  <a:lnTo>
                    <a:pt x="790" y="978"/>
                  </a:lnTo>
                  <a:lnTo>
                    <a:pt x="790" y="974"/>
                  </a:lnTo>
                  <a:lnTo>
                    <a:pt x="790" y="974"/>
                  </a:lnTo>
                  <a:lnTo>
                    <a:pt x="790" y="972"/>
                  </a:lnTo>
                  <a:lnTo>
                    <a:pt x="790" y="968"/>
                  </a:lnTo>
                  <a:lnTo>
                    <a:pt x="792" y="964"/>
                  </a:lnTo>
                  <a:lnTo>
                    <a:pt x="794" y="962"/>
                  </a:lnTo>
                  <a:lnTo>
                    <a:pt x="794" y="958"/>
                  </a:lnTo>
                  <a:lnTo>
                    <a:pt x="794" y="958"/>
                  </a:lnTo>
                  <a:lnTo>
                    <a:pt x="794" y="958"/>
                  </a:lnTo>
                  <a:lnTo>
                    <a:pt x="796" y="954"/>
                  </a:lnTo>
                  <a:lnTo>
                    <a:pt x="796" y="954"/>
                  </a:lnTo>
                  <a:lnTo>
                    <a:pt x="796" y="954"/>
                  </a:lnTo>
                  <a:lnTo>
                    <a:pt x="796" y="950"/>
                  </a:lnTo>
                  <a:lnTo>
                    <a:pt x="796" y="950"/>
                  </a:lnTo>
                  <a:lnTo>
                    <a:pt x="794" y="950"/>
                  </a:lnTo>
                  <a:lnTo>
                    <a:pt x="794" y="946"/>
                  </a:lnTo>
                  <a:lnTo>
                    <a:pt x="792" y="942"/>
                  </a:lnTo>
                  <a:lnTo>
                    <a:pt x="790" y="938"/>
                  </a:lnTo>
                  <a:lnTo>
                    <a:pt x="788" y="934"/>
                  </a:lnTo>
                  <a:lnTo>
                    <a:pt x="786" y="930"/>
                  </a:lnTo>
                  <a:lnTo>
                    <a:pt x="782" y="926"/>
                  </a:lnTo>
                  <a:lnTo>
                    <a:pt x="782" y="926"/>
                  </a:lnTo>
                  <a:lnTo>
                    <a:pt x="782" y="926"/>
                  </a:lnTo>
                  <a:lnTo>
                    <a:pt x="780" y="924"/>
                  </a:lnTo>
                  <a:lnTo>
                    <a:pt x="780" y="924"/>
                  </a:lnTo>
                  <a:lnTo>
                    <a:pt x="780" y="924"/>
                  </a:lnTo>
                  <a:lnTo>
                    <a:pt x="778" y="922"/>
                  </a:lnTo>
                  <a:lnTo>
                    <a:pt x="778" y="922"/>
                  </a:lnTo>
                  <a:lnTo>
                    <a:pt x="778" y="922"/>
                  </a:lnTo>
                  <a:lnTo>
                    <a:pt x="776" y="922"/>
                  </a:lnTo>
                  <a:lnTo>
                    <a:pt x="776" y="922"/>
                  </a:lnTo>
                  <a:lnTo>
                    <a:pt x="776" y="922"/>
                  </a:lnTo>
                  <a:lnTo>
                    <a:pt x="774" y="922"/>
                  </a:lnTo>
                  <a:lnTo>
                    <a:pt x="774" y="922"/>
                  </a:lnTo>
                  <a:lnTo>
                    <a:pt x="774" y="922"/>
                  </a:lnTo>
                  <a:lnTo>
                    <a:pt x="772" y="924"/>
                  </a:lnTo>
                  <a:lnTo>
                    <a:pt x="772" y="924"/>
                  </a:lnTo>
                  <a:lnTo>
                    <a:pt x="772" y="924"/>
                  </a:lnTo>
                  <a:lnTo>
                    <a:pt x="772" y="926"/>
                  </a:lnTo>
                  <a:lnTo>
                    <a:pt x="770" y="926"/>
                  </a:lnTo>
                  <a:lnTo>
                    <a:pt x="768" y="930"/>
                  </a:lnTo>
                  <a:lnTo>
                    <a:pt x="766" y="936"/>
                  </a:lnTo>
                  <a:lnTo>
                    <a:pt x="764" y="940"/>
                  </a:lnTo>
                  <a:lnTo>
                    <a:pt x="762" y="944"/>
                  </a:lnTo>
                  <a:lnTo>
                    <a:pt x="760" y="948"/>
                  </a:lnTo>
                  <a:lnTo>
                    <a:pt x="760" y="950"/>
                  </a:lnTo>
                  <a:lnTo>
                    <a:pt x="758" y="952"/>
                  </a:lnTo>
                  <a:lnTo>
                    <a:pt x="756" y="958"/>
                  </a:lnTo>
                  <a:lnTo>
                    <a:pt x="754" y="960"/>
                  </a:lnTo>
                  <a:lnTo>
                    <a:pt x="754" y="956"/>
                  </a:lnTo>
                  <a:lnTo>
                    <a:pt x="754" y="952"/>
                  </a:lnTo>
                  <a:lnTo>
                    <a:pt x="752" y="946"/>
                  </a:lnTo>
                  <a:lnTo>
                    <a:pt x="752" y="940"/>
                  </a:lnTo>
                  <a:lnTo>
                    <a:pt x="750" y="936"/>
                  </a:lnTo>
                  <a:lnTo>
                    <a:pt x="748" y="932"/>
                  </a:lnTo>
                  <a:lnTo>
                    <a:pt x="748" y="932"/>
                  </a:lnTo>
                  <a:lnTo>
                    <a:pt x="748" y="932"/>
                  </a:lnTo>
                  <a:lnTo>
                    <a:pt x="746" y="928"/>
                  </a:lnTo>
                  <a:lnTo>
                    <a:pt x="746" y="928"/>
                  </a:lnTo>
                  <a:lnTo>
                    <a:pt x="746" y="928"/>
                  </a:lnTo>
                  <a:lnTo>
                    <a:pt x="744" y="926"/>
                  </a:lnTo>
                  <a:lnTo>
                    <a:pt x="744" y="926"/>
                  </a:lnTo>
                  <a:lnTo>
                    <a:pt x="744" y="924"/>
                  </a:lnTo>
                  <a:lnTo>
                    <a:pt x="738" y="920"/>
                  </a:lnTo>
                  <a:lnTo>
                    <a:pt x="732" y="916"/>
                  </a:lnTo>
                  <a:lnTo>
                    <a:pt x="728" y="914"/>
                  </a:lnTo>
                  <a:lnTo>
                    <a:pt x="728" y="912"/>
                  </a:lnTo>
                  <a:lnTo>
                    <a:pt x="726" y="912"/>
                  </a:lnTo>
                  <a:lnTo>
                    <a:pt x="722" y="910"/>
                  </a:lnTo>
                  <a:lnTo>
                    <a:pt x="720" y="908"/>
                  </a:lnTo>
                  <a:lnTo>
                    <a:pt x="718" y="906"/>
                  </a:lnTo>
                  <a:lnTo>
                    <a:pt x="718" y="906"/>
                  </a:lnTo>
                  <a:lnTo>
                    <a:pt x="718" y="904"/>
                  </a:lnTo>
                  <a:lnTo>
                    <a:pt x="718" y="904"/>
                  </a:lnTo>
                  <a:lnTo>
                    <a:pt x="718" y="900"/>
                  </a:lnTo>
                  <a:lnTo>
                    <a:pt x="718" y="896"/>
                  </a:lnTo>
                  <a:lnTo>
                    <a:pt x="720" y="892"/>
                  </a:lnTo>
                  <a:lnTo>
                    <a:pt x="722" y="886"/>
                  </a:lnTo>
                  <a:lnTo>
                    <a:pt x="724" y="882"/>
                  </a:lnTo>
                  <a:lnTo>
                    <a:pt x="726" y="876"/>
                  </a:lnTo>
                  <a:lnTo>
                    <a:pt x="728" y="872"/>
                  </a:lnTo>
                  <a:lnTo>
                    <a:pt x="728" y="866"/>
                  </a:lnTo>
                  <a:lnTo>
                    <a:pt x="728" y="858"/>
                  </a:lnTo>
                  <a:lnTo>
                    <a:pt x="728" y="854"/>
                  </a:lnTo>
                  <a:lnTo>
                    <a:pt x="728" y="850"/>
                  </a:lnTo>
                  <a:lnTo>
                    <a:pt x="728" y="846"/>
                  </a:lnTo>
                  <a:lnTo>
                    <a:pt x="726" y="842"/>
                  </a:lnTo>
                  <a:lnTo>
                    <a:pt x="726" y="842"/>
                  </a:lnTo>
                  <a:lnTo>
                    <a:pt x="726" y="842"/>
                  </a:lnTo>
                  <a:lnTo>
                    <a:pt x="724" y="838"/>
                  </a:lnTo>
                  <a:lnTo>
                    <a:pt x="724" y="838"/>
                  </a:lnTo>
                  <a:lnTo>
                    <a:pt x="724" y="838"/>
                  </a:lnTo>
                  <a:lnTo>
                    <a:pt x="722" y="836"/>
                  </a:lnTo>
                  <a:lnTo>
                    <a:pt x="718" y="832"/>
                  </a:lnTo>
                  <a:lnTo>
                    <a:pt x="714" y="828"/>
                  </a:lnTo>
                  <a:lnTo>
                    <a:pt x="708" y="824"/>
                  </a:lnTo>
                  <a:lnTo>
                    <a:pt x="704" y="820"/>
                  </a:lnTo>
                  <a:lnTo>
                    <a:pt x="698" y="816"/>
                  </a:lnTo>
                  <a:lnTo>
                    <a:pt x="692" y="812"/>
                  </a:lnTo>
                  <a:lnTo>
                    <a:pt x="688" y="810"/>
                  </a:lnTo>
                  <a:lnTo>
                    <a:pt x="688" y="810"/>
                  </a:lnTo>
                  <a:lnTo>
                    <a:pt x="688" y="810"/>
                  </a:lnTo>
                  <a:lnTo>
                    <a:pt x="684" y="810"/>
                  </a:lnTo>
                  <a:lnTo>
                    <a:pt x="684" y="810"/>
                  </a:lnTo>
                  <a:lnTo>
                    <a:pt x="684" y="810"/>
                  </a:lnTo>
                  <a:lnTo>
                    <a:pt x="680" y="810"/>
                  </a:lnTo>
                  <a:lnTo>
                    <a:pt x="680" y="810"/>
                  </a:lnTo>
                  <a:lnTo>
                    <a:pt x="680" y="810"/>
                  </a:lnTo>
                  <a:lnTo>
                    <a:pt x="676" y="810"/>
                  </a:lnTo>
                  <a:lnTo>
                    <a:pt x="676" y="810"/>
                  </a:lnTo>
                  <a:lnTo>
                    <a:pt x="676" y="810"/>
                  </a:lnTo>
                  <a:lnTo>
                    <a:pt x="674" y="812"/>
                  </a:lnTo>
                  <a:lnTo>
                    <a:pt x="674" y="812"/>
                  </a:lnTo>
                  <a:lnTo>
                    <a:pt x="674" y="812"/>
                  </a:lnTo>
                  <a:lnTo>
                    <a:pt x="672" y="814"/>
                  </a:lnTo>
                  <a:lnTo>
                    <a:pt x="672" y="814"/>
                  </a:lnTo>
                  <a:lnTo>
                    <a:pt x="672" y="816"/>
                  </a:lnTo>
                  <a:lnTo>
                    <a:pt x="670" y="818"/>
                  </a:lnTo>
                  <a:lnTo>
                    <a:pt x="668" y="820"/>
                  </a:lnTo>
                  <a:lnTo>
                    <a:pt x="666" y="828"/>
                  </a:lnTo>
                  <a:lnTo>
                    <a:pt x="664" y="830"/>
                  </a:lnTo>
                  <a:lnTo>
                    <a:pt x="664" y="834"/>
                  </a:lnTo>
                  <a:lnTo>
                    <a:pt x="662" y="844"/>
                  </a:lnTo>
                  <a:lnTo>
                    <a:pt x="662" y="852"/>
                  </a:lnTo>
                  <a:lnTo>
                    <a:pt x="662" y="856"/>
                  </a:lnTo>
                  <a:lnTo>
                    <a:pt x="662" y="860"/>
                  </a:lnTo>
                  <a:lnTo>
                    <a:pt x="662" y="868"/>
                  </a:lnTo>
                  <a:lnTo>
                    <a:pt x="662" y="876"/>
                  </a:lnTo>
                  <a:lnTo>
                    <a:pt x="664" y="884"/>
                  </a:lnTo>
                  <a:lnTo>
                    <a:pt x="664" y="886"/>
                  </a:lnTo>
                  <a:lnTo>
                    <a:pt x="666" y="890"/>
                  </a:lnTo>
                  <a:lnTo>
                    <a:pt x="666" y="890"/>
                  </a:lnTo>
                  <a:lnTo>
                    <a:pt x="666" y="890"/>
                  </a:lnTo>
                  <a:lnTo>
                    <a:pt x="668" y="892"/>
                  </a:lnTo>
                  <a:lnTo>
                    <a:pt x="668" y="892"/>
                  </a:lnTo>
                  <a:lnTo>
                    <a:pt x="668" y="894"/>
                  </a:lnTo>
                  <a:lnTo>
                    <a:pt x="670" y="894"/>
                  </a:lnTo>
                  <a:lnTo>
                    <a:pt x="670" y="894"/>
                  </a:lnTo>
                  <a:lnTo>
                    <a:pt x="670" y="896"/>
                  </a:lnTo>
                  <a:lnTo>
                    <a:pt x="674" y="898"/>
                  </a:lnTo>
                  <a:lnTo>
                    <a:pt x="680" y="902"/>
                  </a:lnTo>
                  <a:lnTo>
                    <a:pt x="684" y="906"/>
                  </a:lnTo>
                  <a:lnTo>
                    <a:pt x="688" y="908"/>
                  </a:lnTo>
                  <a:lnTo>
                    <a:pt x="692" y="910"/>
                  </a:lnTo>
                  <a:lnTo>
                    <a:pt x="698" y="914"/>
                  </a:lnTo>
                  <a:lnTo>
                    <a:pt x="702" y="916"/>
                  </a:lnTo>
                  <a:lnTo>
                    <a:pt x="704" y="918"/>
                  </a:lnTo>
                  <a:lnTo>
                    <a:pt x="706" y="920"/>
                  </a:lnTo>
                  <a:lnTo>
                    <a:pt x="708" y="922"/>
                  </a:lnTo>
                  <a:lnTo>
                    <a:pt x="708" y="926"/>
                  </a:lnTo>
                  <a:lnTo>
                    <a:pt x="708" y="928"/>
                  </a:lnTo>
                  <a:lnTo>
                    <a:pt x="708" y="932"/>
                  </a:lnTo>
                  <a:lnTo>
                    <a:pt x="708" y="936"/>
                  </a:lnTo>
                  <a:lnTo>
                    <a:pt x="708" y="942"/>
                  </a:lnTo>
                  <a:lnTo>
                    <a:pt x="706" y="946"/>
                  </a:lnTo>
                  <a:lnTo>
                    <a:pt x="704" y="948"/>
                  </a:lnTo>
                  <a:lnTo>
                    <a:pt x="702" y="952"/>
                  </a:lnTo>
                  <a:lnTo>
                    <a:pt x="700" y="954"/>
                  </a:lnTo>
                  <a:lnTo>
                    <a:pt x="698" y="958"/>
                  </a:lnTo>
                  <a:lnTo>
                    <a:pt x="694" y="960"/>
                  </a:lnTo>
                  <a:lnTo>
                    <a:pt x="690" y="964"/>
                  </a:lnTo>
                  <a:lnTo>
                    <a:pt x="688" y="966"/>
                  </a:lnTo>
                  <a:lnTo>
                    <a:pt x="684" y="970"/>
                  </a:lnTo>
                  <a:lnTo>
                    <a:pt x="682" y="972"/>
                  </a:lnTo>
                  <a:lnTo>
                    <a:pt x="680" y="974"/>
                  </a:lnTo>
                  <a:lnTo>
                    <a:pt x="680" y="976"/>
                  </a:lnTo>
                  <a:lnTo>
                    <a:pt x="680" y="976"/>
                  </a:lnTo>
                  <a:lnTo>
                    <a:pt x="678" y="976"/>
                  </a:lnTo>
                  <a:lnTo>
                    <a:pt x="678" y="978"/>
                  </a:lnTo>
                  <a:lnTo>
                    <a:pt x="678" y="978"/>
                  </a:lnTo>
                  <a:lnTo>
                    <a:pt x="678" y="978"/>
                  </a:lnTo>
                  <a:lnTo>
                    <a:pt x="678" y="980"/>
                  </a:lnTo>
                  <a:lnTo>
                    <a:pt x="678" y="980"/>
                  </a:lnTo>
                  <a:lnTo>
                    <a:pt x="678" y="980"/>
                  </a:lnTo>
                  <a:lnTo>
                    <a:pt x="678" y="982"/>
                  </a:lnTo>
                  <a:lnTo>
                    <a:pt x="678" y="984"/>
                  </a:lnTo>
                  <a:lnTo>
                    <a:pt x="678" y="986"/>
                  </a:lnTo>
                  <a:lnTo>
                    <a:pt x="678" y="988"/>
                  </a:lnTo>
                  <a:lnTo>
                    <a:pt x="678" y="990"/>
                  </a:lnTo>
                  <a:lnTo>
                    <a:pt x="678" y="996"/>
                  </a:lnTo>
                  <a:lnTo>
                    <a:pt x="678" y="998"/>
                  </a:lnTo>
                  <a:lnTo>
                    <a:pt x="678" y="1000"/>
                  </a:lnTo>
                  <a:lnTo>
                    <a:pt x="678" y="1002"/>
                  </a:lnTo>
                  <a:lnTo>
                    <a:pt x="678" y="1002"/>
                  </a:lnTo>
                  <a:lnTo>
                    <a:pt x="678" y="1002"/>
                  </a:lnTo>
                  <a:lnTo>
                    <a:pt x="676" y="1002"/>
                  </a:lnTo>
                  <a:lnTo>
                    <a:pt x="674" y="1000"/>
                  </a:lnTo>
                  <a:lnTo>
                    <a:pt x="672" y="1000"/>
                  </a:lnTo>
                  <a:lnTo>
                    <a:pt x="670" y="1000"/>
                  </a:lnTo>
                  <a:lnTo>
                    <a:pt x="670" y="998"/>
                  </a:lnTo>
                  <a:lnTo>
                    <a:pt x="668" y="998"/>
                  </a:lnTo>
                  <a:lnTo>
                    <a:pt x="668" y="996"/>
                  </a:lnTo>
                  <a:lnTo>
                    <a:pt x="668" y="994"/>
                  </a:lnTo>
                  <a:lnTo>
                    <a:pt x="670" y="992"/>
                  </a:lnTo>
                  <a:lnTo>
                    <a:pt x="670" y="988"/>
                  </a:lnTo>
                  <a:lnTo>
                    <a:pt x="670" y="984"/>
                  </a:lnTo>
                  <a:lnTo>
                    <a:pt x="670" y="980"/>
                  </a:lnTo>
                  <a:lnTo>
                    <a:pt x="670" y="978"/>
                  </a:lnTo>
                  <a:lnTo>
                    <a:pt x="670" y="978"/>
                  </a:lnTo>
                  <a:lnTo>
                    <a:pt x="670" y="976"/>
                  </a:lnTo>
                  <a:lnTo>
                    <a:pt x="670" y="974"/>
                  </a:lnTo>
                  <a:lnTo>
                    <a:pt x="670" y="974"/>
                  </a:lnTo>
                  <a:lnTo>
                    <a:pt x="668" y="974"/>
                  </a:lnTo>
                  <a:lnTo>
                    <a:pt x="668" y="970"/>
                  </a:lnTo>
                  <a:lnTo>
                    <a:pt x="666" y="968"/>
                  </a:lnTo>
                  <a:lnTo>
                    <a:pt x="662" y="964"/>
                  </a:lnTo>
                  <a:lnTo>
                    <a:pt x="660" y="960"/>
                  </a:lnTo>
                  <a:lnTo>
                    <a:pt x="658" y="958"/>
                  </a:lnTo>
                  <a:lnTo>
                    <a:pt x="654" y="956"/>
                  </a:lnTo>
                  <a:lnTo>
                    <a:pt x="652" y="954"/>
                  </a:lnTo>
                  <a:lnTo>
                    <a:pt x="648" y="952"/>
                  </a:lnTo>
                  <a:lnTo>
                    <a:pt x="648" y="952"/>
                  </a:lnTo>
                  <a:lnTo>
                    <a:pt x="648" y="952"/>
                  </a:lnTo>
                  <a:lnTo>
                    <a:pt x="644" y="950"/>
                  </a:lnTo>
                  <a:lnTo>
                    <a:pt x="644" y="950"/>
                  </a:lnTo>
                  <a:lnTo>
                    <a:pt x="642" y="950"/>
                  </a:lnTo>
                  <a:lnTo>
                    <a:pt x="640" y="950"/>
                  </a:lnTo>
                  <a:lnTo>
                    <a:pt x="638" y="948"/>
                  </a:lnTo>
                  <a:lnTo>
                    <a:pt x="638" y="948"/>
                  </a:lnTo>
                  <a:lnTo>
                    <a:pt x="636" y="950"/>
                  </a:lnTo>
                  <a:lnTo>
                    <a:pt x="634" y="950"/>
                  </a:lnTo>
                  <a:lnTo>
                    <a:pt x="634" y="950"/>
                  </a:lnTo>
                  <a:lnTo>
                    <a:pt x="634" y="950"/>
                  </a:lnTo>
                  <a:lnTo>
                    <a:pt x="632" y="950"/>
                  </a:lnTo>
                  <a:lnTo>
                    <a:pt x="632" y="950"/>
                  </a:lnTo>
                  <a:lnTo>
                    <a:pt x="632" y="950"/>
                  </a:lnTo>
                  <a:lnTo>
                    <a:pt x="630" y="952"/>
                  </a:lnTo>
                  <a:lnTo>
                    <a:pt x="630" y="952"/>
                  </a:lnTo>
                  <a:lnTo>
                    <a:pt x="628" y="952"/>
                  </a:lnTo>
                  <a:lnTo>
                    <a:pt x="628" y="954"/>
                  </a:lnTo>
                  <a:lnTo>
                    <a:pt x="628" y="954"/>
                  </a:lnTo>
                  <a:lnTo>
                    <a:pt x="628" y="956"/>
                  </a:lnTo>
                  <a:lnTo>
                    <a:pt x="628" y="958"/>
                  </a:lnTo>
                  <a:lnTo>
                    <a:pt x="628" y="958"/>
                  </a:lnTo>
                  <a:lnTo>
                    <a:pt x="628" y="958"/>
                  </a:lnTo>
                  <a:lnTo>
                    <a:pt x="628" y="962"/>
                  </a:lnTo>
                  <a:lnTo>
                    <a:pt x="630" y="966"/>
                  </a:lnTo>
                  <a:lnTo>
                    <a:pt x="630" y="970"/>
                  </a:lnTo>
                  <a:lnTo>
                    <a:pt x="632" y="974"/>
                  </a:lnTo>
                  <a:lnTo>
                    <a:pt x="632" y="978"/>
                  </a:lnTo>
                  <a:lnTo>
                    <a:pt x="632" y="980"/>
                  </a:lnTo>
                  <a:lnTo>
                    <a:pt x="632" y="982"/>
                  </a:lnTo>
                  <a:lnTo>
                    <a:pt x="632" y="982"/>
                  </a:lnTo>
                  <a:lnTo>
                    <a:pt x="630" y="982"/>
                  </a:lnTo>
                  <a:lnTo>
                    <a:pt x="628" y="982"/>
                  </a:lnTo>
                  <a:lnTo>
                    <a:pt x="630" y="982"/>
                  </a:lnTo>
                  <a:lnTo>
                    <a:pt x="624" y="984"/>
                  </a:lnTo>
                  <a:lnTo>
                    <a:pt x="620" y="984"/>
                  </a:lnTo>
                  <a:lnTo>
                    <a:pt x="614" y="984"/>
                  </a:lnTo>
                  <a:lnTo>
                    <a:pt x="608" y="984"/>
                  </a:lnTo>
                  <a:lnTo>
                    <a:pt x="602" y="984"/>
                  </a:lnTo>
                  <a:lnTo>
                    <a:pt x="596" y="984"/>
                  </a:lnTo>
                  <a:lnTo>
                    <a:pt x="590" y="982"/>
                  </a:lnTo>
                  <a:lnTo>
                    <a:pt x="582" y="982"/>
                  </a:lnTo>
                  <a:lnTo>
                    <a:pt x="574" y="982"/>
                  </a:lnTo>
                  <a:lnTo>
                    <a:pt x="568" y="980"/>
                  </a:lnTo>
                  <a:lnTo>
                    <a:pt x="562" y="978"/>
                  </a:lnTo>
                  <a:lnTo>
                    <a:pt x="560" y="976"/>
                  </a:lnTo>
                  <a:lnTo>
                    <a:pt x="558" y="974"/>
                  </a:lnTo>
                  <a:lnTo>
                    <a:pt x="554" y="970"/>
                  </a:lnTo>
                  <a:lnTo>
                    <a:pt x="550" y="964"/>
                  </a:lnTo>
                  <a:lnTo>
                    <a:pt x="548" y="962"/>
                  </a:lnTo>
                  <a:lnTo>
                    <a:pt x="546" y="960"/>
                  </a:lnTo>
                  <a:lnTo>
                    <a:pt x="542" y="958"/>
                  </a:lnTo>
                  <a:lnTo>
                    <a:pt x="542" y="958"/>
                  </a:lnTo>
                  <a:lnTo>
                    <a:pt x="542" y="958"/>
                  </a:lnTo>
                  <a:lnTo>
                    <a:pt x="538" y="956"/>
                  </a:lnTo>
                  <a:lnTo>
                    <a:pt x="538" y="956"/>
                  </a:lnTo>
                  <a:lnTo>
                    <a:pt x="538" y="956"/>
                  </a:lnTo>
                  <a:lnTo>
                    <a:pt x="534" y="956"/>
                  </a:lnTo>
                  <a:lnTo>
                    <a:pt x="534" y="956"/>
                  </a:lnTo>
                  <a:lnTo>
                    <a:pt x="534" y="956"/>
                  </a:lnTo>
                  <a:lnTo>
                    <a:pt x="530" y="956"/>
                  </a:lnTo>
                  <a:lnTo>
                    <a:pt x="528" y="956"/>
                  </a:lnTo>
                  <a:lnTo>
                    <a:pt x="524" y="956"/>
                  </a:lnTo>
                  <a:lnTo>
                    <a:pt x="520" y="956"/>
                  </a:lnTo>
                  <a:lnTo>
                    <a:pt x="516" y="958"/>
                  </a:lnTo>
                  <a:lnTo>
                    <a:pt x="510" y="958"/>
                  </a:lnTo>
                  <a:lnTo>
                    <a:pt x="506" y="960"/>
                  </a:lnTo>
                  <a:lnTo>
                    <a:pt x="502" y="962"/>
                  </a:lnTo>
                  <a:lnTo>
                    <a:pt x="502" y="962"/>
                  </a:lnTo>
                  <a:lnTo>
                    <a:pt x="500" y="962"/>
                  </a:lnTo>
                  <a:lnTo>
                    <a:pt x="498" y="966"/>
                  </a:lnTo>
                  <a:lnTo>
                    <a:pt x="498" y="966"/>
                  </a:lnTo>
                  <a:lnTo>
                    <a:pt x="496" y="966"/>
                  </a:lnTo>
                  <a:lnTo>
                    <a:pt x="494" y="970"/>
                  </a:lnTo>
                  <a:lnTo>
                    <a:pt x="494" y="970"/>
                  </a:lnTo>
                  <a:lnTo>
                    <a:pt x="494" y="970"/>
                  </a:lnTo>
                  <a:lnTo>
                    <a:pt x="494" y="972"/>
                  </a:lnTo>
                  <a:lnTo>
                    <a:pt x="494" y="972"/>
                  </a:lnTo>
                  <a:lnTo>
                    <a:pt x="494" y="972"/>
                  </a:lnTo>
                  <a:lnTo>
                    <a:pt x="494" y="976"/>
                  </a:lnTo>
                  <a:lnTo>
                    <a:pt x="494" y="982"/>
                  </a:lnTo>
                  <a:lnTo>
                    <a:pt x="496" y="988"/>
                  </a:lnTo>
                  <a:lnTo>
                    <a:pt x="498" y="994"/>
                  </a:lnTo>
                  <a:lnTo>
                    <a:pt x="500" y="1002"/>
                  </a:lnTo>
                  <a:lnTo>
                    <a:pt x="502" y="1008"/>
                  </a:lnTo>
                  <a:lnTo>
                    <a:pt x="502" y="1014"/>
                  </a:lnTo>
                  <a:lnTo>
                    <a:pt x="504" y="1018"/>
                  </a:lnTo>
                  <a:lnTo>
                    <a:pt x="504" y="1026"/>
                  </a:lnTo>
                  <a:lnTo>
                    <a:pt x="504" y="1030"/>
                  </a:lnTo>
                  <a:lnTo>
                    <a:pt x="504" y="1034"/>
                  </a:lnTo>
                  <a:lnTo>
                    <a:pt x="504" y="1036"/>
                  </a:lnTo>
                  <a:lnTo>
                    <a:pt x="504" y="1034"/>
                  </a:lnTo>
                  <a:lnTo>
                    <a:pt x="502" y="1032"/>
                  </a:lnTo>
                  <a:lnTo>
                    <a:pt x="500" y="1030"/>
                  </a:lnTo>
                  <a:lnTo>
                    <a:pt x="498" y="1024"/>
                  </a:lnTo>
                  <a:lnTo>
                    <a:pt x="494" y="1018"/>
                  </a:lnTo>
                  <a:lnTo>
                    <a:pt x="488" y="1012"/>
                  </a:lnTo>
                  <a:lnTo>
                    <a:pt x="484" y="1006"/>
                  </a:lnTo>
                  <a:lnTo>
                    <a:pt x="484" y="1002"/>
                  </a:lnTo>
                  <a:lnTo>
                    <a:pt x="482" y="1000"/>
                  </a:lnTo>
                  <a:lnTo>
                    <a:pt x="480" y="998"/>
                  </a:lnTo>
                  <a:lnTo>
                    <a:pt x="478" y="996"/>
                  </a:lnTo>
                  <a:lnTo>
                    <a:pt x="476" y="994"/>
                  </a:lnTo>
                  <a:lnTo>
                    <a:pt x="476" y="990"/>
                  </a:lnTo>
                  <a:lnTo>
                    <a:pt x="474" y="990"/>
                  </a:lnTo>
                  <a:lnTo>
                    <a:pt x="472" y="988"/>
                  </a:lnTo>
                  <a:lnTo>
                    <a:pt x="472" y="988"/>
                  </a:lnTo>
                  <a:lnTo>
                    <a:pt x="472" y="988"/>
                  </a:lnTo>
                  <a:lnTo>
                    <a:pt x="470" y="986"/>
                  </a:lnTo>
                  <a:lnTo>
                    <a:pt x="470" y="986"/>
                  </a:lnTo>
                  <a:lnTo>
                    <a:pt x="470" y="986"/>
                  </a:lnTo>
                  <a:lnTo>
                    <a:pt x="468" y="984"/>
                  </a:lnTo>
                  <a:lnTo>
                    <a:pt x="466" y="984"/>
                  </a:lnTo>
                  <a:lnTo>
                    <a:pt x="462" y="982"/>
                  </a:lnTo>
                  <a:lnTo>
                    <a:pt x="456" y="982"/>
                  </a:lnTo>
                  <a:lnTo>
                    <a:pt x="450" y="982"/>
                  </a:lnTo>
                  <a:lnTo>
                    <a:pt x="444" y="980"/>
                  </a:lnTo>
                  <a:lnTo>
                    <a:pt x="440" y="982"/>
                  </a:lnTo>
                  <a:lnTo>
                    <a:pt x="438" y="982"/>
                  </a:lnTo>
                  <a:lnTo>
                    <a:pt x="430" y="984"/>
                  </a:lnTo>
                  <a:lnTo>
                    <a:pt x="426" y="986"/>
                  </a:lnTo>
                  <a:lnTo>
                    <a:pt x="422" y="986"/>
                  </a:lnTo>
                  <a:lnTo>
                    <a:pt x="418" y="988"/>
                  </a:lnTo>
                  <a:lnTo>
                    <a:pt x="418" y="986"/>
                  </a:lnTo>
                  <a:lnTo>
                    <a:pt x="414" y="986"/>
                  </a:lnTo>
                  <a:lnTo>
                    <a:pt x="410" y="986"/>
                  </a:lnTo>
                  <a:lnTo>
                    <a:pt x="404" y="986"/>
                  </a:lnTo>
                  <a:lnTo>
                    <a:pt x="400" y="984"/>
                  </a:lnTo>
                  <a:lnTo>
                    <a:pt x="394" y="984"/>
                  </a:lnTo>
                  <a:lnTo>
                    <a:pt x="388" y="982"/>
                  </a:lnTo>
                  <a:lnTo>
                    <a:pt x="384" y="980"/>
                  </a:lnTo>
                  <a:lnTo>
                    <a:pt x="382" y="980"/>
                  </a:lnTo>
                  <a:lnTo>
                    <a:pt x="380" y="980"/>
                  </a:lnTo>
                  <a:lnTo>
                    <a:pt x="380" y="978"/>
                  </a:lnTo>
                  <a:lnTo>
                    <a:pt x="380" y="978"/>
                  </a:lnTo>
                  <a:lnTo>
                    <a:pt x="380" y="978"/>
                  </a:lnTo>
                  <a:lnTo>
                    <a:pt x="380" y="976"/>
                  </a:lnTo>
                  <a:lnTo>
                    <a:pt x="382" y="974"/>
                  </a:lnTo>
                  <a:lnTo>
                    <a:pt x="384" y="972"/>
                  </a:lnTo>
                  <a:lnTo>
                    <a:pt x="386" y="970"/>
                  </a:lnTo>
                  <a:lnTo>
                    <a:pt x="390" y="966"/>
                  </a:lnTo>
                  <a:lnTo>
                    <a:pt x="392" y="964"/>
                  </a:lnTo>
                  <a:lnTo>
                    <a:pt x="396" y="962"/>
                  </a:lnTo>
                  <a:lnTo>
                    <a:pt x="398" y="960"/>
                  </a:lnTo>
                  <a:lnTo>
                    <a:pt x="398" y="960"/>
                  </a:lnTo>
                  <a:lnTo>
                    <a:pt x="400" y="960"/>
                  </a:lnTo>
                  <a:lnTo>
                    <a:pt x="404" y="958"/>
                  </a:lnTo>
                  <a:lnTo>
                    <a:pt x="406" y="958"/>
                  </a:lnTo>
                  <a:lnTo>
                    <a:pt x="406" y="958"/>
                  </a:lnTo>
                  <a:lnTo>
                    <a:pt x="406" y="958"/>
                  </a:lnTo>
                  <a:lnTo>
                    <a:pt x="406" y="958"/>
                  </a:lnTo>
                  <a:lnTo>
                    <a:pt x="404" y="960"/>
                  </a:lnTo>
                  <a:lnTo>
                    <a:pt x="402" y="960"/>
                  </a:lnTo>
                  <a:lnTo>
                    <a:pt x="400" y="962"/>
                  </a:lnTo>
                  <a:lnTo>
                    <a:pt x="400" y="962"/>
                  </a:lnTo>
                  <a:lnTo>
                    <a:pt x="398" y="964"/>
                  </a:lnTo>
                  <a:lnTo>
                    <a:pt x="398" y="966"/>
                  </a:lnTo>
                  <a:lnTo>
                    <a:pt x="398" y="966"/>
                  </a:lnTo>
                  <a:lnTo>
                    <a:pt x="398" y="968"/>
                  </a:lnTo>
                  <a:lnTo>
                    <a:pt x="400" y="970"/>
                  </a:lnTo>
                  <a:lnTo>
                    <a:pt x="400" y="970"/>
                  </a:lnTo>
                  <a:lnTo>
                    <a:pt x="402" y="970"/>
                  </a:lnTo>
                  <a:lnTo>
                    <a:pt x="402" y="970"/>
                  </a:lnTo>
                  <a:lnTo>
                    <a:pt x="402" y="970"/>
                  </a:lnTo>
                  <a:lnTo>
                    <a:pt x="404" y="970"/>
                  </a:lnTo>
                  <a:lnTo>
                    <a:pt x="404" y="970"/>
                  </a:lnTo>
                  <a:lnTo>
                    <a:pt x="406" y="968"/>
                  </a:lnTo>
                  <a:lnTo>
                    <a:pt x="408" y="970"/>
                  </a:lnTo>
                  <a:lnTo>
                    <a:pt x="410" y="972"/>
                  </a:lnTo>
                  <a:lnTo>
                    <a:pt x="414" y="974"/>
                  </a:lnTo>
                  <a:lnTo>
                    <a:pt x="414" y="976"/>
                  </a:lnTo>
                  <a:lnTo>
                    <a:pt x="416" y="976"/>
                  </a:lnTo>
                  <a:lnTo>
                    <a:pt x="416" y="976"/>
                  </a:lnTo>
                  <a:lnTo>
                    <a:pt x="416" y="976"/>
                  </a:lnTo>
                  <a:lnTo>
                    <a:pt x="416" y="976"/>
                  </a:lnTo>
                  <a:lnTo>
                    <a:pt x="418" y="978"/>
                  </a:lnTo>
                  <a:lnTo>
                    <a:pt x="418" y="978"/>
                  </a:lnTo>
                  <a:lnTo>
                    <a:pt x="418" y="978"/>
                  </a:lnTo>
                  <a:lnTo>
                    <a:pt x="420" y="978"/>
                  </a:lnTo>
                  <a:lnTo>
                    <a:pt x="420" y="978"/>
                  </a:lnTo>
                  <a:lnTo>
                    <a:pt x="422" y="976"/>
                  </a:lnTo>
                  <a:lnTo>
                    <a:pt x="422" y="976"/>
                  </a:lnTo>
                  <a:lnTo>
                    <a:pt x="422" y="974"/>
                  </a:lnTo>
                  <a:lnTo>
                    <a:pt x="424" y="974"/>
                  </a:lnTo>
                  <a:lnTo>
                    <a:pt x="424" y="972"/>
                  </a:lnTo>
                  <a:lnTo>
                    <a:pt x="424" y="972"/>
                  </a:lnTo>
                  <a:lnTo>
                    <a:pt x="424" y="972"/>
                  </a:lnTo>
                  <a:lnTo>
                    <a:pt x="426" y="972"/>
                  </a:lnTo>
                  <a:lnTo>
                    <a:pt x="426" y="972"/>
                  </a:lnTo>
                  <a:lnTo>
                    <a:pt x="426" y="970"/>
                  </a:lnTo>
                  <a:lnTo>
                    <a:pt x="426" y="968"/>
                  </a:lnTo>
                  <a:lnTo>
                    <a:pt x="426" y="968"/>
                  </a:lnTo>
                  <a:lnTo>
                    <a:pt x="424" y="968"/>
                  </a:lnTo>
                  <a:lnTo>
                    <a:pt x="424" y="968"/>
                  </a:lnTo>
                  <a:lnTo>
                    <a:pt x="424" y="966"/>
                  </a:lnTo>
                  <a:lnTo>
                    <a:pt x="426" y="966"/>
                  </a:lnTo>
                  <a:lnTo>
                    <a:pt x="430" y="968"/>
                  </a:lnTo>
                  <a:lnTo>
                    <a:pt x="430" y="968"/>
                  </a:lnTo>
                  <a:lnTo>
                    <a:pt x="430" y="968"/>
                  </a:lnTo>
                  <a:lnTo>
                    <a:pt x="432" y="968"/>
                  </a:lnTo>
                  <a:lnTo>
                    <a:pt x="432" y="968"/>
                  </a:lnTo>
                  <a:lnTo>
                    <a:pt x="432" y="970"/>
                  </a:lnTo>
                  <a:lnTo>
                    <a:pt x="434" y="970"/>
                  </a:lnTo>
                  <a:lnTo>
                    <a:pt x="438" y="970"/>
                  </a:lnTo>
                  <a:lnTo>
                    <a:pt x="442" y="968"/>
                  </a:lnTo>
                  <a:lnTo>
                    <a:pt x="442" y="968"/>
                  </a:lnTo>
                  <a:lnTo>
                    <a:pt x="442" y="968"/>
                  </a:lnTo>
                  <a:lnTo>
                    <a:pt x="444" y="968"/>
                  </a:lnTo>
                  <a:lnTo>
                    <a:pt x="446" y="968"/>
                  </a:lnTo>
                  <a:lnTo>
                    <a:pt x="446" y="966"/>
                  </a:lnTo>
                  <a:lnTo>
                    <a:pt x="446" y="966"/>
                  </a:lnTo>
                  <a:lnTo>
                    <a:pt x="448" y="966"/>
                  </a:lnTo>
                  <a:lnTo>
                    <a:pt x="448" y="964"/>
                  </a:lnTo>
                  <a:lnTo>
                    <a:pt x="450" y="964"/>
                  </a:lnTo>
                  <a:lnTo>
                    <a:pt x="450" y="962"/>
                  </a:lnTo>
                  <a:lnTo>
                    <a:pt x="452" y="962"/>
                  </a:lnTo>
                  <a:lnTo>
                    <a:pt x="454" y="962"/>
                  </a:lnTo>
                  <a:lnTo>
                    <a:pt x="454" y="962"/>
                  </a:lnTo>
                  <a:lnTo>
                    <a:pt x="456" y="960"/>
                  </a:lnTo>
                  <a:lnTo>
                    <a:pt x="460" y="960"/>
                  </a:lnTo>
                  <a:lnTo>
                    <a:pt x="460" y="960"/>
                  </a:lnTo>
                  <a:lnTo>
                    <a:pt x="460" y="960"/>
                  </a:lnTo>
                  <a:lnTo>
                    <a:pt x="462" y="960"/>
                  </a:lnTo>
                  <a:lnTo>
                    <a:pt x="462" y="960"/>
                  </a:lnTo>
                  <a:lnTo>
                    <a:pt x="464" y="960"/>
                  </a:lnTo>
                  <a:lnTo>
                    <a:pt x="464" y="958"/>
                  </a:lnTo>
                  <a:lnTo>
                    <a:pt x="468" y="958"/>
                  </a:lnTo>
                  <a:lnTo>
                    <a:pt x="472" y="956"/>
                  </a:lnTo>
                  <a:lnTo>
                    <a:pt x="476" y="956"/>
                  </a:lnTo>
                  <a:lnTo>
                    <a:pt x="480" y="954"/>
                  </a:lnTo>
                  <a:lnTo>
                    <a:pt x="480" y="954"/>
                  </a:lnTo>
                  <a:lnTo>
                    <a:pt x="482" y="954"/>
                  </a:lnTo>
                  <a:lnTo>
                    <a:pt x="484" y="950"/>
                  </a:lnTo>
                  <a:lnTo>
                    <a:pt x="486" y="946"/>
                  </a:lnTo>
                  <a:lnTo>
                    <a:pt x="488" y="944"/>
                  </a:lnTo>
                  <a:lnTo>
                    <a:pt x="490" y="944"/>
                  </a:lnTo>
                  <a:lnTo>
                    <a:pt x="492" y="942"/>
                  </a:lnTo>
                  <a:lnTo>
                    <a:pt x="496" y="942"/>
                  </a:lnTo>
                  <a:lnTo>
                    <a:pt x="500" y="942"/>
                  </a:lnTo>
                  <a:lnTo>
                    <a:pt x="504" y="942"/>
                  </a:lnTo>
                  <a:lnTo>
                    <a:pt x="506" y="942"/>
                  </a:lnTo>
                  <a:lnTo>
                    <a:pt x="506" y="942"/>
                  </a:lnTo>
                  <a:lnTo>
                    <a:pt x="508" y="940"/>
                  </a:lnTo>
                  <a:lnTo>
                    <a:pt x="510" y="938"/>
                  </a:lnTo>
                  <a:lnTo>
                    <a:pt x="510" y="936"/>
                  </a:lnTo>
                  <a:lnTo>
                    <a:pt x="510" y="936"/>
                  </a:lnTo>
                  <a:lnTo>
                    <a:pt x="510" y="936"/>
                  </a:lnTo>
                  <a:lnTo>
                    <a:pt x="512" y="932"/>
                  </a:lnTo>
                  <a:lnTo>
                    <a:pt x="512" y="928"/>
                  </a:lnTo>
                  <a:lnTo>
                    <a:pt x="512" y="926"/>
                  </a:lnTo>
                  <a:lnTo>
                    <a:pt x="512" y="926"/>
                  </a:lnTo>
                  <a:lnTo>
                    <a:pt x="512" y="924"/>
                  </a:lnTo>
                  <a:lnTo>
                    <a:pt x="514" y="924"/>
                  </a:lnTo>
                  <a:lnTo>
                    <a:pt x="514" y="924"/>
                  </a:lnTo>
                  <a:lnTo>
                    <a:pt x="516" y="924"/>
                  </a:lnTo>
                  <a:lnTo>
                    <a:pt x="518" y="924"/>
                  </a:lnTo>
                  <a:lnTo>
                    <a:pt x="520" y="926"/>
                  </a:lnTo>
                  <a:lnTo>
                    <a:pt x="522" y="928"/>
                  </a:lnTo>
                  <a:lnTo>
                    <a:pt x="526" y="932"/>
                  </a:lnTo>
                  <a:lnTo>
                    <a:pt x="530" y="934"/>
                  </a:lnTo>
                  <a:lnTo>
                    <a:pt x="530" y="934"/>
                  </a:lnTo>
                  <a:lnTo>
                    <a:pt x="530" y="934"/>
                  </a:lnTo>
                  <a:lnTo>
                    <a:pt x="532" y="936"/>
                  </a:lnTo>
                  <a:lnTo>
                    <a:pt x="532" y="936"/>
                  </a:lnTo>
                  <a:lnTo>
                    <a:pt x="532" y="936"/>
                  </a:lnTo>
                  <a:lnTo>
                    <a:pt x="534" y="936"/>
                  </a:lnTo>
                  <a:lnTo>
                    <a:pt x="538" y="938"/>
                  </a:lnTo>
                  <a:lnTo>
                    <a:pt x="538" y="938"/>
                  </a:lnTo>
                  <a:lnTo>
                    <a:pt x="538" y="938"/>
                  </a:lnTo>
                  <a:lnTo>
                    <a:pt x="542" y="940"/>
                  </a:lnTo>
                  <a:lnTo>
                    <a:pt x="542" y="940"/>
                  </a:lnTo>
                  <a:lnTo>
                    <a:pt x="542" y="940"/>
                  </a:lnTo>
                  <a:lnTo>
                    <a:pt x="546" y="942"/>
                  </a:lnTo>
                  <a:lnTo>
                    <a:pt x="550" y="942"/>
                  </a:lnTo>
                  <a:lnTo>
                    <a:pt x="550" y="942"/>
                  </a:lnTo>
                  <a:lnTo>
                    <a:pt x="560" y="942"/>
                  </a:lnTo>
                  <a:lnTo>
                    <a:pt x="568" y="944"/>
                  </a:lnTo>
                  <a:lnTo>
                    <a:pt x="576" y="942"/>
                  </a:lnTo>
                  <a:lnTo>
                    <a:pt x="580" y="942"/>
                  </a:lnTo>
                  <a:lnTo>
                    <a:pt x="584" y="942"/>
                  </a:lnTo>
                  <a:lnTo>
                    <a:pt x="584" y="942"/>
                  </a:lnTo>
                  <a:lnTo>
                    <a:pt x="586" y="942"/>
                  </a:lnTo>
                  <a:lnTo>
                    <a:pt x="586" y="940"/>
                  </a:lnTo>
                  <a:lnTo>
                    <a:pt x="586" y="940"/>
                  </a:lnTo>
                  <a:lnTo>
                    <a:pt x="588" y="940"/>
                  </a:lnTo>
                  <a:lnTo>
                    <a:pt x="588" y="938"/>
                  </a:lnTo>
                  <a:lnTo>
                    <a:pt x="588" y="938"/>
                  </a:lnTo>
                  <a:lnTo>
                    <a:pt x="588" y="938"/>
                  </a:lnTo>
                  <a:lnTo>
                    <a:pt x="588" y="934"/>
                  </a:lnTo>
                  <a:lnTo>
                    <a:pt x="588" y="932"/>
                  </a:lnTo>
                  <a:lnTo>
                    <a:pt x="588" y="932"/>
                  </a:lnTo>
                  <a:lnTo>
                    <a:pt x="590" y="932"/>
                  </a:lnTo>
                  <a:lnTo>
                    <a:pt x="590" y="932"/>
                  </a:lnTo>
                  <a:lnTo>
                    <a:pt x="592" y="932"/>
                  </a:lnTo>
                  <a:lnTo>
                    <a:pt x="594" y="932"/>
                  </a:lnTo>
                  <a:lnTo>
                    <a:pt x="594" y="932"/>
                  </a:lnTo>
                  <a:lnTo>
                    <a:pt x="594" y="930"/>
                  </a:lnTo>
                  <a:lnTo>
                    <a:pt x="596" y="930"/>
                  </a:lnTo>
                  <a:lnTo>
                    <a:pt x="596" y="930"/>
                  </a:lnTo>
                  <a:lnTo>
                    <a:pt x="596" y="928"/>
                  </a:lnTo>
                  <a:lnTo>
                    <a:pt x="598" y="928"/>
                  </a:lnTo>
                  <a:lnTo>
                    <a:pt x="598" y="928"/>
                  </a:lnTo>
                  <a:lnTo>
                    <a:pt x="598" y="926"/>
                  </a:lnTo>
                  <a:lnTo>
                    <a:pt x="598" y="924"/>
                  </a:lnTo>
                  <a:lnTo>
                    <a:pt x="600" y="920"/>
                  </a:lnTo>
                  <a:lnTo>
                    <a:pt x="600" y="918"/>
                  </a:lnTo>
                  <a:lnTo>
                    <a:pt x="602" y="916"/>
                  </a:lnTo>
                  <a:lnTo>
                    <a:pt x="602" y="916"/>
                  </a:lnTo>
                  <a:lnTo>
                    <a:pt x="602" y="916"/>
                  </a:lnTo>
                  <a:lnTo>
                    <a:pt x="604" y="908"/>
                  </a:lnTo>
                  <a:lnTo>
                    <a:pt x="604" y="904"/>
                  </a:lnTo>
                  <a:lnTo>
                    <a:pt x="606" y="898"/>
                  </a:lnTo>
                  <a:lnTo>
                    <a:pt x="608" y="894"/>
                  </a:lnTo>
                  <a:lnTo>
                    <a:pt x="608" y="894"/>
                  </a:lnTo>
                  <a:lnTo>
                    <a:pt x="608" y="894"/>
                  </a:lnTo>
                  <a:lnTo>
                    <a:pt x="608" y="892"/>
                  </a:lnTo>
                  <a:lnTo>
                    <a:pt x="608" y="892"/>
                  </a:lnTo>
                  <a:lnTo>
                    <a:pt x="608" y="892"/>
                  </a:lnTo>
                  <a:lnTo>
                    <a:pt x="608" y="890"/>
                  </a:lnTo>
                  <a:lnTo>
                    <a:pt x="608" y="890"/>
                  </a:lnTo>
                  <a:lnTo>
                    <a:pt x="606" y="888"/>
                  </a:lnTo>
                  <a:lnTo>
                    <a:pt x="606" y="888"/>
                  </a:lnTo>
                  <a:lnTo>
                    <a:pt x="606" y="888"/>
                  </a:lnTo>
                  <a:lnTo>
                    <a:pt x="606" y="886"/>
                  </a:lnTo>
                  <a:lnTo>
                    <a:pt x="604" y="886"/>
                  </a:lnTo>
                  <a:lnTo>
                    <a:pt x="604" y="886"/>
                  </a:lnTo>
                  <a:lnTo>
                    <a:pt x="604" y="884"/>
                  </a:lnTo>
                  <a:lnTo>
                    <a:pt x="602" y="884"/>
                  </a:lnTo>
                  <a:lnTo>
                    <a:pt x="598" y="882"/>
                  </a:lnTo>
                  <a:lnTo>
                    <a:pt x="594" y="880"/>
                  </a:lnTo>
                  <a:lnTo>
                    <a:pt x="590" y="878"/>
                  </a:lnTo>
                  <a:lnTo>
                    <a:pt x="586" y="876"/>
                  </a:lnTo>
                  <a:lnTo>
                    <a:pt x="582" y="872"/>
                  </a:lnTo>
                  <a:lnTo>
                    <a:pt x="576" y="866"/>
                  </a:lnTo>
                  <a:lnTo>
                    <a:pt x="574" y="864"/>
                  </a:lnTo>
                  <a:lnTo>
                    <a:pt x="570" y="860"/>
                  </a:lnTo>
                  <a:lnTo>
                    <a:pt x="570" y="860"/>
                  </a:lnTo>
                  <a:lnTo>
                    <a:pt x="568" y="860"/>
                  </a:lnTo>
                  <a:lnTo>
                    <a:pt x="564" y="858"/>
                  </a:lnTo>
                  <a:lnTo>
                    <a:pt x="564" y="858"/>
                  </a:lnTo>
                  <a:lnTo>
                    <a:pt x="564" y="858"/>
                  </a:lnTo>
                  <a:lnTo>
                    <a:pt x="560" y="856"/>
                  </a:lnTo>
                  <a:lnTo>
                    <a:pt x="556" y="854"/>
                  </a:lnTo>
                  <a:lnTo>
                    <a:pt x="554" y="854"/>
                  </a:lnTo>
                  <a:lnTo>
                    <a:pt x="550" y="850"/>
                  </a:lnTo>
                  <a:lnTo>
                    <a:pt x="546" y="846"/>
                  </a:lnTo>
                  <a:lnTo>
                    <a:pt x="542" y="840"/>
                  </a:lnTo>
                  <a:lnTo>
                    <a:pt x="544" y="834"/>
                  </a:lnTo>
                  <a:lnTo>
                    <a:pt x="544" y="828"/>
                  </a:lnTo>
                  <a:lnTo>
                    <a:pt x="544" y="820"/>
                  </a:lnTo>
                  <a:lnTo>
                    <a:pt x="544" y="814"/>
                  </a:lnTo>
                  <a:lnTo>
                    <a:pt x="544" y="806"/>
                  </a:lnTo>
                  <a:lnTo>
                    <a:pt x="542" y="798"/>
                  </a:lnTo>
                  <a:lnTo>
                    <a:pt x="542" y="798"/>
                  </a:lnTo>
                  <a:lnTo>
                    <a:pt x="542" y="798"/>
                  </a:lnTo>
                  <a:lnTo>
                    <a:pt x="540" y="792"/>
                  </a:lnTo>
                  <a:lnTo>
                    <a:pt x="540" y="792"/>
                  </a:lnTo>
                  <a:lnTo>
                    <a:pt x="540" y="790"/>
                  </a:lnTo>
                  <a:lnTo>
                    <a:pt x="538" y="788"/>
                  </a:lnTo>
                  <a:lnTo>
                    <a:pt x="536" y="784"/>
                  </a:lnTo>
                  <a:lnTo>
                    <a:pt x="538" y="780"/>
                  </a:lnTo>
                  <a:lnTo>
                    <a:pt x="538" y="774"/>
                  </a:lnTo>
                  <a:lnTo>
                    <a:pt x="538" y="766"/>
                  </a:lnTo>
                  <a:lnTo>
                    <a:pt x="540" y="758"/>
                  </a:lnTo>
                  <a:lnTo>
                    <a:pt x="542" y="752"/>
                  </a:lnTo>
                  <a:lnTo>
                    <a:pt x="542" y="744"/>
                  </a:lnTo>
                  <a:lnTo>
                    <a:pt x="544" y="738"/>
                  </a:lnTo>
                  <a:lnTo>
                    <a:pt x="548" y="732"/>
                  </a:lnTo>
                  <a:lnTo>
                    <a:pt x="548" y="732"/>
                  </a:lnTo>
                  <a:lnTo>
                    <a:pt x="548" y="728"/>
                  </a:lnTo>
                  <a:lnTo>
                    <a:pt x="546" y="728"/>
                  </a:lnTo>
                  <a:lnTo>
                    <a:pt x="544" y="726"/>
                  </a:lnTo>
                  <a:lnTo>
                    <a:pt x="544" y="726"/>
                  </a:lnTo>
                  <a:lnTo>
                    <a:pt x="544" y="724"/>
                  </a:lnTo>
                  <a:lnTo>
                    <a:pt x="540" y="722"/>
                  </a:lnTo>
                  <a:lnTo>
                    <a:pt x="540" y="722"/>
                  </a:lnTo>
                  <a:lnTo>
                    <a:pt x="538" y="722"/>
                  </a:lnTo>
                  <a:lnTo>
                    <a:pt x="536" y="722"/>
                  </a:lnTo>
                  <a:lnTo>
                    <a:pt x="536" y="722"/>
                  </a:lnTo>
                  <a:lnTo>
                    <a:pt x="534" y="722"/>
                  </a:lnTo>
                  <a:lnTo>
                    <a:pt x="530" y="722"/>
                  </a:lnTo>
                  <a:lnTo>
                    <a:pt x="530" y="722"/>
                  </a:lnTo>
                  <a:lnTo>
                    <a:pt x="530" y="722"/>
                  </a:lnTo>
                  <a:lnTo>
                    <a:pt x="526" y="722"/>
                  </a:lnTo>
                  <a:lnTo>
                    <a:pt x="522" y="722"/>
                  </a:lnTo>
                  <a:lnTo>
                    <a:pt x="512" y="724"/>
                  </a:lnTo>
                  <a:lnTo>
                    <a:pt x="512" y="724"/>
                  </a:lnTo>
                  <a:lnTo>
                    <a:pt x="512" y="724"/>
                  </a:lnTo>
                  <a:lnTo>
                    <a:pt x="508" y="726"/>
                  </a:lnTo>
                  <a:lnTo>
                    <a:pt x="508" y="726"/>
                  </a:lnTo>
                  <a:lnTo>
                    <a:pt x="508" y="728"/>
                  </a:lnTo>
                  <a:lnTo>
                    <a:pt x="506" y="730"/>
                  </a:lnTo>
                  <a:lnTo>
                    <a:pt x="506" y="730"/>
                  </a:lnTo>
                  <a:lnTo>
                    <a:pt x="506" y="730"/>
                  </a:lnTo>
                  <a:lnTo>
                    <a:pt x="506" y="732"/>
                  </a:lnTo>
                  <a:lnTo>
                    <a:pt x="506" y="732"/>
                  </a:lnTo>
                  <a:lnTo>
                    <a:pt x="506" y="734"/>
                  </a:lnTo>
                  <a:lnTo>
                    <a:pt x="506" y="736"/>
                  </a:lnTo>
                  <a:lnTo>
                    <a:pt x="506" y="736"/>
                  </a:lnTo>
                  <a:lnTo>
                    <a:pt x="506" y="736"/>
                  </a:lnTo>
                  <a:lnTo>
                    <a:pt x="506" y="738"/>
                  </a:lnTo>
                  <a:lnTo>
                    <a:pt x="502" y="732"/>
                  </a:lnTo>
                  <a:lnTo>
                    <a:pt x="502" y="732"/>
                  </a:lnTo>
                  <a:lnTo>
                    <a:pt x="502" y="732"/>
                  </a:lnTo>
                  <a:lnTo>
                    <a:pt x="500" y="730"/>
                  </a:lnTo>
                  <a:lnTo>
                    <a:pt x="500" y="730"/>
                  </a:lnTo>
                  <a:lnTo>
                    <a:pt x="500" y="730"/>
                  </a:lnTo>
                  <a:lnTo>
                    <a:pt x="496" y="728"/>
                  </a:lnTo>
                  <a:lnTo>
                    <a:pt x="496" y="728"/>
                  </a:lnTo>
                  <a:lnTo>
                    <a:pt x="494" y="728"/>
                  </a:lnTo>
                  <a:lnTo>
                    <a:pt x="494" y="728"/>
                  </a:lnTo>
                  <a:lnTo>
                    <a:pt x="492" y="730"/>
                  </a:lnTo>
                  <a:lnTo>
                    <a:pt x="490" y="732"/>
                  </a:lnTo>
                  <a:lnTo>
                    <a:pt x="490" y="732"/>
                  </a:lnTo>
                  <a:lnTo>
                    <a:pt x="490" y="734"/>
                  </a:lnTo>
                  <a:lnTo>
                    <a:pt x="490" y="738"/>
                  </a:lnTo>
                  <a:lnTo>
                    <a:pt x="488" y="742"/>
                  </a:lnTo>
                  <a:lnTo>
                    <a:pt x="488" y="746"/>
                  </a:lnTo>
                  <a:lnTo>
                    <a:pt x="488" y="758"/>
                  </a:lnTo>
                  <a:lnTo>
                    <a:pt x="488" y="770"/>
                  </a:lnTo>
                  <a:lnTo>
                    <a:pt x="490" y="782"/>
                  </a:lnTo>
                  <a:lnTo>
                    <a:pt x="492" y="786"/>
                  </a:lnTo>
                  <a:lnTo>
                    <a:pt x="494" y="792"/>
                  </a:lnTo>
                  <a:lnTo>
                    <a:pt x="496" y="798"/>
                  </a:lnTo>
                  <a:lnTo>
                    <a:pt x="498" y="802"/>
                  </a:lnTo>
                  <a:lnTo>
                    <a:pt x="500" y="806"/>
                  </a:lnTo>
                  <a:lnTo>
                    <a:pt x="502" y="808"/>
                  </a:lnTo>
                  <a:lnTo>
                    <a:pt x="502" y="810"/>
                  </a:lnTo>
                  <a:lnTo>
                    <a:pt x="502" y="810"/>
                  </a:lnTo>
                  <a:lnTo>
                    <a:pt x="500" y="812"/>
                  </a:lnTo>
                  <a:lnTo>
                    <a:pt x="500" y="812"/>
                  </a:lnTo>
                  <a:lnTo>
                    <a:pt x="498" y="812"/>
                  </a:lnTo>
                  <a:lnTo>
                    <a:pt x="498" y="814"/>
                  </a:lnTo>
                  <a:lnTo>
                    <a:pt x="498" y="814"/>
                  </a:lnTo>
                  <a:lnTo>
                    <a:pt x="496" y="814"/>
                  </a:lnTo>
                  <a:lnTo>
                    <a:pt x="496" y="816"/>
                  </a:lnTo>
                  <a:lnTo>
                    <a:pt x="496" y="816"/>
                  </a:lnTo>
                  <a:lnTo>
                    <a:pt x="496" y="816"/>
                  </a:lnTo>
                  <a:lnTo>
                    <a:pt x="494" y="814"/>
                  </a:lnTo>
                  <a:lnTo>
                    <a:pt x="494" y="814"/>
                  </a:lnTo>
                  <a:lnTo>
                    <a:pt x="494" y="812"/>
                  </a:lnTo>
                  <a:lnTo>
                    <a:pt x="494" y="812"/>
                  </a:lnTo>
                  <a:lnTo>
                    <a:pt x="494" y="806"/>
                  </a:lnTo>
                  <a:lnTo>
                    <a:pt x="492" y="798"/>
                  </a:lnTo>
                  <a:lnTo>
                    <a:pt x="490" y="790"/>
                  </a:lnTo>
                  <a:lnTo>
                    <a:pt x="486" y="782"/>
                  </a:lnTo>
                  <a:lnTo>
                    <a:pt x="484" y="776"/>
                  </a:lnTo>
                  <a:lnTo>
                    <a:pt x="480" y="770"/>
                  </a:lnTo>
                  <a:lnTo>
                    <a:pt x="474" y="762"/>
                  </a:lnTo>
                  <a:lnTo>
                    <a:pt x="470" y="758"/>
                  </a:lnTo>
                  <a:lnTo>
                    <a:pt x="470" y="758"/>
                  </a:lnTo>
                  <a:lnTo>
                    <a:pt x="468" y="756"/>
                  </a:lnTo>
                  <a:lnTo>
                    <a:pt x="468" y="756"/>
                  </a:lnTo>
                  <a:lnTo>
                    <a:pt x="466" y="758"/>
                  </a:lnTo>
                  <a:lnTo>
                    <a:pt x="464" y="762"/>
                  </a:lnTo>
                  <a:lnTo>
                    <a:pt x="464" y="762"/>
                  </a:lnTo>
                  <a:lnTo>
                    <a:pt x="464" y="762"/>
                  </a:lnTo>
                  <a:lnTo>
                    <a:pt x="462" y="766"/>
                  </a:lnTo>
                  <a:lnTo>
                    <a:pt x="460" y="774"/>
                  </a:lnTo>
                  <a:lnTo>
                    <a:pt x="460" y="778"/>
                  </a:lnTo>
                  <a:lnTo>
                    <a:pt x="458" y="782"/>
                  </a:lnTo>
                  <a:lnTo>
                    <a:pt x="456" y="784"/>
                  </a:lnTo>
                  <a:lnTo>
                    <a:pt x="456" y="784"/>
                  </a:lnTo>
                  <a:lnTo>
                    <a:pt x="456" y="784"/>
                  </a:lnTo>
                  <a:lnTo>
                    <a:pt x="452" y="786"/>
                  </a:lnTo>
                  <a:lnTo>
                    <a:pt x="450" y="786"/>
                  </a:lnTo>
                  <a:lnTo>
                    <a:pt x="446" y="786"/>
                  </a:lnTo>
                  <a:lnTo>
                    <a:pt x="440" y="786"/>
                  </a:lnTo>
                  <a:lnTo>
                    <a:pt x="438" y="786"/>
                  </a:lnTo>
                  <a:lnTo>
                    <a:pt x="438" y="784"/>
                  </a:lnTo>
                  <a:lnTo>
                    <a:pt x="438" y="782"/>
                  </a:lnTo>
                  <a:lnTo>
                    <a:pt x="438" y="778"/>
                  </a:lnTo>
                  <a:lnTo>
                    <a:pt x="440" y="776"/>
                  </a:lnTo>
                  <a:lnTo>
                    <a:pt x="440" y="776"/>
                  </a:lnTo>
                  <a:lnTo>
                    <a:pt x="440" y="772"/>
                  </a:lnTo>
                  <a:lnTo>
                    <a:pt x="438" y="770"/>
                  </a:lnTo>
                  <a:lnTo>
                    <a:pt x="438" y="768"/>
                  </a:lnTo>
                  <a:lnTo>
                    <a:pt x="438" y="768"/>
                  </a:lnTo>
                  <a:lnTo>
                    <a:pt x="436" y="768"/>
                  </a:lnTo>
                  <a:lnTo>
                    <a:pt x="434" y="764"/>
                  </a:lnTo>
                  <a:lnTo>
                    <a:pt x="434" y="764"/>
                  </a:lnTo>
                  <a:lnTo>
                    <a:pt x="434" y="762"/>
                  </a:lnTo>
                  <a:lnTo>
                    <a:pt x="430" y="760"/>
                  </a:lnTo>
                  <a:lnTo>
                    <a:pt x="430" y="760"/>
                  </a:lnTo>
                  <a:lnTo>
                    <a:pt x="430" y="760"/>
                  </a:lnTo>
                  <a:lnTo>
                    <a:pt x="426" y="758"/>
                  </a:lnTo>
                  <a:lnTo>
                    <a:pt x="424" y="758"/>
                  </a:lnTo>
                  <a:lnTo>
                    <a:pt x="424" y="758"/>
                  </a:lnTo>
                  <a:lnTo>
                    <a:pt x="422" y="758"/>
                  </a:lnTo>
                  <a:lnTo>
                    <a:pt x="420" y="758"/>
                  </a:lnTo>
                  <a:lnTo>
                    <a:pt x="416" y="758"/>
                  </a:lnTo>
                  <a:lnTo>
                    <a:pt x="412" y="758"/>
                  </a:lnTo>
                  <a:lnTo>
                    <a:pt x="412" y="758"/>
                  </a:lnTo>
                  <a:lnTo>
                    <a:pt x="410" y="758"/>
                  </a:lnTo>
                  <a:lnTo>
                    <a:pt x="410" y="760"/>
                  </a:lnTo>
                  <a:lnTo>
                    <a:pt x="410" y="760"/>
                  </a:lnTo>
                  <a:lnTo>
                    <a:pt x="408" y="760"/>
                  </a:lnTo>
                  <a:lnTo>
                    <a:pt x="408" y="762"/>
                  </a:lnTo>
                  <a:lnTo>
                    <a:pt x="406" y="766"/>
                  </a:lnTo>
                  <a:lnTo>
                    <a:pt x="404" y="768"/>
                  </a:lnTo>
                  <a:lnTo>
                    <a:pt x="402" y="770"/>
                  </a:lnTo>
                  <a:lnTo>
                    <a:pt x="402" y="770"/>
                  </a:lnTo>
                  <a:lnTo>
                    <a:pt x="402" y="772"/>
                  </a:lnTo>
                  <a:lnTo>
                    <a:pt x="402" y="772"/>
                  </a:lnTo>
                  <a:lnTo>
                    <a:pt x="402" y="772"/>
                  </a:lnTo>
                  <a:lnTo>
                    <a:pt x="402" y="774"/>
                  </a:lnTo>
                  <a:lnTo>
                    <a:pt x="402" y="774"/>
                  </a:lnTo>
                  <a:lnTo>
                    <a:pt x="402" y="774"/>
                  </a:lnTo>
                  <a:lnTo>
                    <a:pt x="402" y="774"/>
                  </a:lnTo>
                  <a:lnTo>
                    <a:pt x="400" y="774"/>
                  </a:lnTo>
                  <a:lnTo>
                    <a:pt x="400" y="774"/>
                  </a:lnTo>
                  <a:lnTo>
                    <a:pt x="398" y="772"/>
                  </a:lnTo>
                  <a:lnTo>
                    <a:pt x="398" y="770"/>
                  </a:lnTo>
                  <a:lnTo>
                    <a:pt x="398" y="770"/>
                  </a:lnTo>
                  <a:lnTo>
                    <a:pt x="398" y="766"/>
                  </a:lnTo>
                  <a:lnTo>
                    <a:pt x="398" y="760"/>
                  </a:lnTo>
                  <a:lnTo>
                    <a:pt x="398" y="756"/>
                  </a:lnTo>
                  <a:lnTo>
                    <a:pt x="400" y="750"/>
                  </a:lnTo>
                  <a:lnTo>
                    <a:pt x="398" y="744"/>
                  </a:lnTo>
                  <a:lnTo>
                    <a:pt x="398" y="744"/>
                  </a:lnTo>
                  <a:lnTo>
                    <a:pt x="398" y="742"/>
                  </a:lnTo>
                  <a:lnTo>
                    <a:pt x="398" y="742"/>
                  </a:lnTo>
                  <a:lnTo>
                    <a:pt x="396" y="742"/>
                  </a:lnTo>
                  <a:lnTo>
                    <a:pt x="394" y="742"/>
                  </a:lnTo>
                  <a:lnTo>
                    <a:pt x="392" y="742"/>
                  </a:lnTo>
                  <a:lnTo>
                    <a:pt x="390" y="744"/>
                  </a:lnTo>
                  <a:lnTo>
                    <a:pt x="388" y="744"/>
                  </a:lnTo>
                  <a:lnTo>
                    <a:pt x="386" y="746"/>
                  </a:lnTo>
                  <a:lnTo>
                    <a:pt x="386" y="746"/>
                  </a:lnTo>
                  <a:lnTo>
                    <a:pt x="384" y="746"/>
                  </a:lnTo>
                  <a:lnTo>
                    <a:pt x="384" y="748"/>
                  </a:lnTo>
                  <a:lnTo>
                    <a:pt x="384" y="748"/>
                  </a:lnTo>
                  <a:lnTo>
                    <a:pt x="384" y="748"/>
                  </a:lnTo>
                  <a:lnTo>
                    <a:pt x="380" y="750"/>
                  </a:lnTo>
                  <a:lnTo>
                    <a:pt x="374" y="752"/>
                  </a:lnTo>
                  <a:lnTo>
                    <a:pt x="366" y="754"/>
                  </a:lnTo>
                  <a:lnTo>
                    <a:pt x="364" y="754"/>
                  </a:lnTo>
                  <a:lnTo>
                    <a:pt x="364" y="754"/>
                  </a:lnTo>
                  <a:lnTo>
                    <a:pt x="366" y="752"/>
                  </a:lnTo>
                  <a:lnTo>
                    <a:pt x="366" y="750"/>
                  </a:lnTo>
                  <a:lnTo>
                    <a:pt x="368" y="750"/>
                  </a:lnTo>
                  <a:lnTo>
                    <a:pt x="370" y="748"/>
                  </a:lnTo>
                  <a:lnTo>
                    <a:pt x="370" y="746"/>
                  </a:lnTo>
                  <a:lnTo>
                    <a:pt x="372" y="746"/>
                  </a:lnTo>
                  <a:lnTo>
                    <a:pt x="374" y="744"/>
                  </a:lnTo>
                  <a:lnTo>
                    <a:pt x="374" y="744"/>
                  </a:lnTo>
                  <a:lnTo>
                    <a:pt x="376" y="744"/>
                  </a:lnTo>
                  <a:lnTo>
                    <a:pt x="378" y="744"/>
                  </a:lnTo>
                  <a:lnTo>
                    <a:pt x="382" y="742"/>
                  </a:lnTo>
                  <a:lnTo>
                    <a:pt x="384" y="742"/>
                  </a:lnTo>
                  <a:lnTo>
                    <a:pt x="384" y="742"/>
                  </a:lnTo>
                  <a:lnTo>
                    <a:pt x="386" y="742"/>
                  </a:lnTo>
                  <a:lnTo>
                    <a:pt x="388" y="740"/>
                  </a:lnTo>
                  <a:lnTo>
                    <a:pt x="386" y="736"/>
                  </a:lnTo>
                  <a:lnTo>
                    <a:pt x="386" y="732"/>
                  </a:lnTo>
                  <a:lnTo>
                    <a:pt x="384" y="726"/>
                  </a:lnTo>
                  <a:lnTo>
                    <a:pt x="384" y="726"/>
                  </a:lnTo>
                  <a:lnTo>
                    <a:pt x="384" y="724"/>
                  </a:lnTo>
                  <a:lnTo>
                    <a:pt x="382" y="720"/>
                  </a:lnTo>
                  <a:lnTo>
                    <a:pt x="380" y="716"/>
                  </a:lnTo>
                  <a:lnTo>
                    <a:pt x="378" y="714"/>
                  </a:lnTo>
                  <a:lnTo>
                    <a:pt x="378" y="712"/>
                  </a:lnTo>
                  <a:lnTo>
                    <a:pt x="378" y="710"/>
                  </a:lnTo>
                  <a:lnTo>
                    <a:pt x="378" y="710"/>
                  </a:lnTo>
                  <a:lnTo>
                    <a:pt x="376" y="710"/>
                  </a:lnTo>
                  <a:lnTo>
                    <a:pt x="376" y="706"/>
                  </a:lnTo>
                  <a:lnTo>
                    <a:pt x="376" y="706"/>
                  </a:lnTo>
                  <a:lnTo>
                    <a:pt x="374" y="706"/>
                  </a:lnTo>
                  <a:lnTo>
                    <a:pt x="372" y="704"/>
                  </a:lnTo>
                  <a:lnTo>
                    <a:pt x="370" y="702"/>
                  </a:lnTo>
                  <a:lnTo>
                    <a:pt x="368" y="702"/>
                  </a:lnTo>
                  <a:lnTo>
                    <a:pt x="366" y="698"/>
                  </a:lnTo>
                  <a:lnTo>
                    <a:pt x="362" y="696"/>
                  </a:lnTo>
                  <a:lnTo>
                    <a:pt x="360" y="692"/>
                  </a:lnTo>
                  <a:lnTo>
                    <a:pt x="356" y="690"/>
                  </a:lnTo>
                  <a:lnTo>
                    <a:pt x="356" y="690"/>
                  </a:lnTo>
                  <a:lnTo>
                    <a:pt x="354" y="688"/>
                  </a:lnTo>
                  <a:lnTo>
                    <a:pt x="350" y="690"/>
                  </a:lnTo>
                  <a:lnTo>
                    <a:pt x="348" y="690"/>
                  </a:lnTo>
                  <a:lnTo>
                    <a:pt x="342" y="690"/>
                  </a:lnTo>
                  <a:lnTo>
                    <a:pt x="338" y="690"/>
                  </a:lnTo>
                  <a:lnTo>
                    <a:pt x="338" y="690"/>
                  </a:lnTo>
                  <a:lnTo>
                    <a:pt x="338" y="690"/>
                  </a:lnTo>
                  <a:lnTo>
                    <a:pt x="336" y="692"/>
                  </a:lnTo>
                  <a:lnTo>
                    <a:pt x="336" y="692"/>
                  </a:lnTo>
                  <a:lnTo>
                    <a:pt x="334" y="692"/>
                  </a:lnTo>
                  <a:lnTo>
                    <a:pt x="332" y="694"/>
                  </a:lnTo>
                  <a:lnTo>
                    <a:pt x="332" y="694"/>
                  </a:lnTo>
                  <a:lnTo>
                    <a:pt x="332" y="694"/>
                  </a:lnTo>
                  <a:lnTo>
                    <a:pt x="330" y="696"/>
                  </a:lnTo>
                  <a:lnTo>
                    <a:pt x="330" y="696"/>
                  </a:lnTo>
                  <a:lnTo>
                    <a:pt x="328" y="696"/>
                  </a:lnTo>
                  <a:lnTo>
                    <a:pt x="326" y="700"/>
                  </a:lnTo>
                  <a:lnTo>
                    <a:pt x="326" y="702"/>
                  </a:lnTo>
                  <a:lnTo>
                    <a:pt x="324" y="702"/>
                  </a:lnTo>
                  <a:lnTo>
                    <a:pt x="322" y="698"/>
                  </a:lnTo>
                  <a:lnTo>
                    <a:pt x="318" y="696"/>
                  </a:lnTo>
                  <a:lnTo>
                    <a:pt x="316" y="692"/>
                  </a:lnTo>
                  <a:lnTo>
                    <a:pt x="312" y="688"/>
                  </a:lnTo>
                  <a:lnTo>
                    <a:pt x="308" y="686"/>
                  </a:lnTo>
                  <a:lnTo>
                    <a:pt x="308" y="686"/>
                  </a:lnTo>
                  <a:lnTo>
                    <a:pt x="308" y="686"/>
                  </a:lnTo>
                  <a:lnTo>
                    <a:pt x="304" y="684"/>
                  </a:lnTo>
                  <a:lnTo>
                    <a:pt x="304" y="684"/>
                  </a:lnTo>
                  <a:lnTo>
                    <a:pt x="304" y="682"/>
                  </a:lnTo>
                  <a:lnTo>
                    <a:pt x="300" y="682"/>
                  </a:lnTo>
                  <a:lnTo>
                    <a:pt x="300" y="680"/>
                  </a:lnTo>
                  <a:lnTo>
                    <a:pt x="300" y="678"/>
                  </a:lnTo>
                  <a:lnTo>
                    <a:pt x="298" y="676"/>
                  </a:lnTo>
                  <a:lnTo>
                    <a:pt x="298" y="676"/>
                  </a:lnTo>
                  <a:lnTo>
                    <a:pt x="298" y="676"/>
                  </a:lnTo>
                  <a:lnTo>
                    <a:pt x="298" y="674"/>
                  </a:lnTo>
                  <a:lnTo>
                    <a:pt x="298" y="674"/>
                  </a:lnTo>
                  <a:lnTo>
                    <a:pt x="298" y="674"/>
                  </a:lnTo>
                  <a:lnTo>
                    <a:pt x="298" y="674"/>
                  </a:lnTo>
                  <a:lnTo>
                    <a:pt x="298" y="674"/>
                  </a:lnTo>
                  <a:lnTo>
                    <a:pt x="296" y="672"/>
                  </a:lnTo>
                  <a:lnTo>
                    <a:pt x="296" y="672"/>
                  </a:lnTo>
                  <a:lnTo>
                    <a:pt x="296" y="672"/>
                  </a:lnTo>
                  <a:lnTo>
                    <a:pt x="294" y="672"/>
                  </a:lnTo>
                  <a:lnTo>
                    <a:pt x="292" y="674"/>
                  </a:lnTo>
                  <a:lnTo>
                    <a:pt x="292" y="674"/>
                  </a:lnTo>
                  <a:lnTo>
                    <a:pt x="292" y="674"/>
                  </a:lnTo>
                  <a:lnTo>
                    <a:pt x="290" y="674"/>
                  </a:lnTo>
                  <a:lnTo>
                    <a:pt x="288" y="678"/>
                  </a:lnTo>
                  <a:lnTo>
                    <a:pt x="286" y="678"/>
                  </a:lnTo>
                  <a:lnTo>
                    <a:pt x="284" y="680"/>
                  </a:lnTo>
                  <a:lnTo>
                    <a:pt x="282" y="678"/>
                  </a:lnTo>
                  <a:lnTo>
                    <a:pt x="278" y="678"/>
                  </a:lnTo>
                  <a:lnTo>
                    <a:pt x="274" y="676"/>
                  </a:lnTo>
                  <a:lnTo>
                    <a:pt x="270" y="676"/>
                  </a:lnTo>
                  <a:lnTo>
                    <a:pt x="270" y="676"/>
                  </a:lnTo>
                  <a:lnTo>
                    <a:pt x="268" y="676"/>
                  </a:lnTo>
                  <a:lnTo>
                    <a:pt x="262" y="680"/>
                  </a:lnTo>
                  <a:lnTo>
                    <a:pt x="256" y="682"/>
                  </a:lnTo>
                  <a:lnTo>
                    <a:pt x="252" y="684"/>
                  </a:lnTo>
                  <a:lnTo>
                    <a:pt x="248" y="686"/>
                  </a:lnTo>
                  <a:lnTo>
                    <a:pt x="246" y="686"/>
                  </a:lnTo>
                  <a:lnTo>
                    <a:pt x="246" y="686"/>
                  </a:lnTo>
                  <a:lnTo>
                    <a:pt x="244" y="688"/>
                  </a:lnTo>
                  <a:lnTo>
                    <a:pt x="244" y="688"/>
                  </a:lnTo>
                  <a:lnTo>
                    <a:pt x="244" y="690"/>
                  </a:lnTo>
                  <a:lnTo>
                    <a:pt x="244" y="692"/>
                  </a:lnTo>
                  <a:lnTo>
                    <a:pt x="244" y="696"/>
                  </a:lnTo>
                  <a:lnTo>
                    <a:pt x="244" y="700"/>
                  </a:lnTo>
                  <a:lnTo>
                    <a:pt x="246" y="704"/>
                  </a:lnTo>
                  <a:lnTo>
                    <a:pt x="246" y="704"/>
                  </a:lnTo>
                  <a:lnTo>
                    <a:pt x="246" y="704"/>
                  </a:lnTo>
                  <a:lnTo>
                    <a:pt x="246" y="706"/>
                  </a:lnTo>
                  <a:lnTo>
                    <a:pt x="246" y="706"/>
                  </a:lnTo>
                  <a:lnTo>
                    <a:pt x="248" y="706"/>
                  </a:lnTo>
                  <a:lnTo>
                    <a:pt x="250" y="708"/>
                  </a:lnTo>
                  <a:lnTo>
                    <a:pt x="250" y="708"/>
                  </a:lnTo>
                  <a:lnTo>
                    <a:pt x="250" y="708"/>
                  </a:lnTo>
                  <a:lnTo>
                    <a:pt x="252" y="710"/>
                  </a:lnTo>
                  <a:lnTo>
                    <a:pt x="252" y="710"/>
                  </a:lnTo>
                  <a:lnTo>
                    <a:pt x="252" y="710"/>
                  </a:lnTo>
                  <a:lnTo>
                    <a:pt x="252" y="710"/>
                  </a:lnTo>
                  <a:lnTo>
                    <a:pt x="252" y="710"/>
                  </a:lnTo>
                  <a:lnTo>
                    <a:pt x="254" y="712"/>
                  </a:lnTo>
                  <a:lnTo>
                    <a:pt x="254" y="714"/>
                  </a:lnTo>
                  <a:lnTo>
                    <a:pt x="254" y="718"/>
                  </a:lnTo>
                  <a:lnTo>
                    <a:pt x="254" y="724"/>
                  </a:lnTo>
                  <a:lnTo>
                    <a:pt x="252" y="730"/>
                  </a:lnTo>
                  <a:lnTo>
                    <a:pt x="250" y="738"/>
                  </a:lnTo>
                  <a:lnTo>
                    <a:pt x="248" y="744"/>
                  </a:lnTo>
                  <a:lnTo>
                    <a:pt x="248" y="746"/>
                  </a:lnTo>
                  <a:lnTo>
                    <a:pt x="246" y="748"/>
                  </a:lnTo>
                  <a:lnTo>
                    <a:pt x="244" y="750"/>
                  </a:lnTo>
                  <a:lnTo>
                    <a:pt x="244" y="750"/>
                  </a:lnTo>
                  <a:lnTo>
                    <a:pt x="244" y="750"/>
                  </a:lnTo>
                  <a:lnTo>
                    <a:pt x="242" y="754"/>
                  </a:lnTo>
                  <a:lnTo>
                    <a:pt x="242" y="758"/>
                  </a:lnTo>
                  <a:lnTo>
                    <a:pt x="244" y="760"/>
                  </a:lnTo>
                  <a:lnTo>
                    <a:pt x="244" y="762"/>
                  </a:lnTo>
                  <a:lnTo>
                    <a:pt x="242" y="764"/>
                  </a:lnTo>
                  <a:lnTo>
                    <a:pt x="242" y="766"/>
                  </a:lnTo>
                  <a:lnTo>
                    <a:pt x="242" y="768"/>
                  </a:lnTo>
                  <a:lnTo>
                    <a:pt x="240" y="772"/>
                  </a:lnTo>
                  <a:lnTo>
                    <a:pt x="238" y="776"/>
                  </a:lnTo>
                  <a:lnTo>
                    <a:pt x="238" y="776"/>
                  </a:lnTo>
                  <a:lnTo>
                    <a:pt x="238" y="776"/>
                  </a:lnTo>
                  <a:lnTo>
                    <a:pt x="236" y="778"/>
                  </a:lnTo>
                  <a:lnTo>
                    <a:pt x="236" y="780"/>
                  </a:lnTo>
                  <a:lnTo>
                    <a:pt x="234" y="784"/>
                  </a:lnTo>
                  <a:lnTo>
                    <a:pt x="232" y="786"/>
                  </a:lnTo>
                  <a:lnTo>
                    <a:pt x="230" y="788"/>
                  </a:lnTo>
                  <a:lnTo>
                    <a:pt x="228" y="792"/>
                  </a:lnTo>
                  <a:lnTo>
                    <a:pt x="226" y="794"/>
                  </a:lnTo>
                  <a:lnTo>
                    <a:pt x="226" y="794"/>
                  </a:lnTo>
                  <a:lnTo>
                    <a:pt x="226" y="794"/>
                  </a:lnTo>
                  <a:lnTo>
                    <a:pt x="224" y="796"/>
                  </a:lnTo>
                  <a:lnTo>
                    <a:pt x="224" y="798"/>
                  </a:lnTo>
                  <a:lnTo>
                    <a:pt x="224" y="798"/>
                  </a:lnTo>
                  <a:lnTo>
                    <a:pt x="224" y="798"/>
                  </a:lnTo>
                  <a:lnTo>
                    <a:pt x="222" y="800"/>
                  </a:lnTo>
                  <a:lnTo>
                    <a:pt x="222" y="800"/>
                  </a:lnTo>
                  <a:lnTo>
                    <a:pt x="222" y="800"/>
                  </a:lnTo>
                  <a:lnTo>
                    <a:pt x="222" y="804"/>
                  </a:lnTo>
                  <a:lnTo>
                    <a:pt x="222" y="804"/>
                  </a:lnTo>
                  <a:lnTo>
                    <a:pt x="222" y="804"/>
                  </a:lnTo>
                  <a:lnTo>
                    <a:pt x="222" y="806"/>
                  </a:lnTo>
                  <a:lnTo>
                    <a:pt x="222" y="806"/>
                  </a:lnTo>
                  <a:lnTo>
                    <a:pt x="222" y="808"/>
                  </a:lnTo>
                  <a:lnTo>
                    <a:pt x="224" y="810"/>
                  </a:lnTo>
                  <a:lnTo>
                    <a:pt x="230" y="810"/>
                  </a:lnTo>
                  <a:lnTo>
                    <a:pt x="234" y="810"/>
                  </a:lnTo>
                  <a:lnTo>
                    <a:pt x="240" y="810"/>
                  </a:lnTo>
                  <a:lnTo>
                    <a:pt x="244" y="812"/>
                  </a:lnTo>
                  <a:lnTo>
                    <a:pt x="244" y="812"/>
                  </a:lnTo>
                  <a:lnTo>
                    <a:pt x="246" y="812"/>
                  </a:lnTo>
                  <a:lnTo>
                    <a:pt x="246" y="814"/>
                  </a:lnTo>
                  <a:lnTo>
                    <a:pt x="248" y="816"/>
                  </a:lnTo>
                  <a:lnTo>
                    <a:pt x="248" y="818"/>
                  </a:lnTo>
                  <a:lnTo>
                    <a:pt x="248" y="818"/>
                  </a:lnTo>
                  <a:lnTo>
                    <a:pt x="250" y="818"/>
                  </a:lnTo>
                  <a:lnTo>
                    <a:pt x="252" y="820"/>
                  </a:lnTo>
                  <a:lnTo>
                    <a:pt x="252" y="820"/>
                  </a:lnTo>
                  <a:lnTo>
                    <a:pt x="252" y="822"/>
                  </a:lnTo>
                  <a:lnTo>
                    <a:pt x="254" y="822"/>
                  </a:lnTo>
                  <a:lnTo>
                    <a:pt x="254" y="822"/>
                  </a:lnTo>
                  <a:lnTo>
                    <a:pt x="256" y="822"/>
                  </a:lnTo>
                  <a:lnTo>
                    <a:pt x="258" y="824"/>
                  </a:lnTo>
                  <a:lnTo>
                    <a:pt x="258" y="824"/>
                  </a:lnTo>
                  <a:lnTo>
                    <a:pt x="260" y="826"/>
                  </a:lnTo>
                  <a:lnTo>
                    <a:pt x="260" y="830"/>
                  </a:lnTo>
                  <a:lnTo>
                    <a:pt x="262" y="836"/>
                  </a:lnTo>
                  <a:lnTo>
                    <a:pt x="264" y="840"/>
                  </a:lnTo>
                  <a:lnTo>
                    <a:pt x="266" y="844"/>
                  </a:lnTo>
                  <a:lnTo>
                    <a:pt x="266" y="844"/>
                  </a:lnTo>
                  <a:lnTo>
                    <a:pt x="266" y="844"/>
                  </a:lnTo>
                  <a:lnTo>
                    <a:pt x="268" y="846"/>
                  </a:lnTo>
                  <a:lnTo>
                    <a:pt x="268" y="846"/>
                  </a:lnTo>
                  <a:lnTo>
                    <a:pt x="268" y="846"/>
                  </a:lnTo>
                  <a:lnTo>
                    <a:pt x="270" y="848"/>
                  </a:lnTo>
                  <a:lnTo>
                    <a:pt x="270" y="848"/>
                  </a:lnTo>
                  <a:lnTo>
                    <a:pt x="272" y="850"/>
                  </a:lnTo>
                  <a:lnTo>
                    <a:pt x="276" y="848"/>
                  </a:lnTo>
                  <a:lnTo>
                    <a:pt x="278" y="848"/>
                  </a:lnTo>
                  <a:lnTo>
                    <a:pt x="282" y="846"/>
                  </a:lnTo>
                  <a:lnTo>
                    <a:pt x="282" y="846"/>
                  </a:lnTo>
                  <a:lnTo>
                    <a:pt x="282" y="846"/>
                  </a:lnTo>
                  <a:lnTo>
                    <a:pt x="284" y="846"/>
                  </a:lnTo>
                  <a:lnTo>
                    <a:pt x="286" y="842"/>
                  </a:lnTo>
                  <a:lnTo>
                    <a:pt x="286" y="842"/>
                  </a:lnTo>
                  <a:lnTo>
                    <a:pt x="286" y="842"/>
                  </a:lnTo>
                  <a:lnTo>
                    <a:pt x="288" y="840"/>
                  </a:lnTo>
                  <a:lnTo>
                    <a:pt x="290" y="838"/>
                  </a:lnTo>
                  <a:lnTo>
                    <a:pt x="294" y="836"/>
                  </a:lnTo>
                  <a:lnTo>
                    <a:pt x="294" y="834"/>
                  </a:lnTo>
                  <a:lnTo>
                    <a:pt x="298" y="834"/>
                  </a:lnTo>
                  <a:lnTo>
                    <a:pt x="300" y="834"/>
                  </a:lnTo>
                  <a:lnTo>
                    <a:pt x="302" y="832"/>
                  </a:lnTo>
                  <a:lnTo>
                    <a:pt x="302" y="832"/>
                  </a:lnTo>
                  <a:lnTo>
                    <a:pt x="304" y="832"/>
                  </a:lnTo>
                  <a:lnTo>
                    <a:pt x="306" y="830"/>
                  </a:lnTo>
                  <a:lnTo>
                    <a:pt x="306" y="830"/>
                  </a:lnTo>
                  <a:lnTo>
                    <a:pt x="308" y="828"/>
                  </a:lnTo>
                  <a:lnTo>
                    <a:pt x="308" y="826"/>
                  </a:lnTo>
                  <a:lnTo>
                    <a:pt x="308" y="826"/>
                  </a:lnTo>
                  <a:lnTo>
                    <a:pt x="310" y="826"/>
                  </a:lnTo>
                  <a:lnTo>
                    <a:pt x="310" y="824"/>
                  </a:lnTo>
                  <a:lnTo>
                    <a:pt x="312" y="820"/>
                  </a:lnTo>
                  <a:lnTo>
                    <a:pt x="312" y="820"/>
                  </a:lnTo>
                  <a:lnTo>
                    <a:pt x="312" y="820"/>
                  </a:lnTo>
                  <a:lnTo>
                    <a:pt x="312" y="814"/>
                  </a:lnTo>
                  <a:lnTo>
                    <a:pt x="312" y="810"/>
                  </a:lnTo>
                  <a:lnTo>
                    <a:pt x="312" y="808"/>
                  </a:lnTo>
                  <a:lnTo>
                    <a:pt x="312" y="808"/>
                  </a:lnTo>
                  <a:lnTo>
                    <a:pt x="312" y="806"/>
                  </a:lnTo>
                  <a:lnTo>
                    <a:pt x="314" y="806"/>
                  </a:lnTo>
                  <a:lnTo>
                    <a:pt x="314" y="804"/>
                  </a:lnTo>
                  <a:lnTo>
                    <a:pt x="316" y="804"/>
                  </a:lnTo>
                  <a:lnTo>
                    <a:pt x="320" y="804"/>
                  </a:lnTo>
                  <a:lnTo>
                    <a:pt x="324" y="802"/>
                  </a:lnTo>
                  <a:lnTo>
                    <a:pt x="324" y="802"/>
                  </a:lnTo>
                  <a:lnTo>
                    <a:pt x="326" y="802"/>
                  </a:lnTo>
                  <a:lnTo>
                    <a:pt x="326" y="800"/>
                  </a:lnTo>
                  <a:lnTo>
                    <a:pt x="326" y="798"/>
                  </a:lnTo>
                  <a:lnTo>
                    <a:pt x="326" y="794"/>
                  </a:lnTo>
                  <a:lnTo>
                    <a:pt x="328" y="788"/>
                  </a:lnTo>
                  <a:lnTo>
                    <a:pt x="328" y="786"/>
                  </a:lnTo>
                  <a:lnTo>
                    <a:pt x="328" y="782"/>
                  </a:lnTo>
                  <a:lnTo>
                    <a:pt x="330" y="780"/>
                  </a:lnTo>
                  <a:lnTo>
                    <a:pt x="330" y="778"/>
                  </a:lnTo>
                  <a:lnTo>
                    <a:pt x="330" y="778"/>
                  </a:lnTo>
                  <a:lnTo>
                    <a:pt x="332" y="776"/>
                  </a:lnTo>
                  <a:lnTo>
                    <a:pt x="334" y="776"/>
                  </a:lnTo>
                  <a:lnTo>
                    <a:pt x="338" y="774"/>
                  </a:lnTo>
                  <a:lnTo>
                    <a:pt x="342" y="770"/>
                  </a:lnTo>
                  <a:lnTo>
                    <a:pt x="344" y="770"/>
                  </a:lnTo>
                  <a:lnTo>
                    <a:pt x="346" y="768"/>
                  </a:lnTo>
                  <a:lnTo>
                    <a:pt x="346" y="768"/>
                  </a:lnTo>
                  <a:lnTo>
                    <a:pt x="348" y="768"/>
                  </a:lnTo>
                  <a:lnTo>
                    <a:pt x="348" y="766"/>
                  </a:lnTo>
                  <a:lnTo>
                    <a:pt x="348" y="768"/>
                  </a:lnTo>
                  <a:lnTo>
                    <a:pt x="346" y="772"/>
                  </a:lnTo>
                  <a:lnTo>
                    <a:pt x="346" y="774"/>
                  </a:lnTo>
                  <a:lnTo>
                    <a:pt x="344" y="776"/>
                  </a:lnTo>
                  <a:lnTo>
                    <a:pt x="342" y="776"/>
                  </a:lnTo>
                  <a:lnTo>
                    <a:pt x="342" y="776"/>
                  </a:lnTo>
                  <a:lnTo>
                    <a:pt x="340" y="778"/>
                  </a:lnTo>
                  <a:lnTo>
                    <a:pt x="340" y="778"/>
                  </a:lnTo>
                  <a:lnTo>
                    <a:pt x="340" y="778"/>
                  </a:lnTo>
                  <a:lnTo>
                    <a:pt x="338" y="780"/>
                  </a:lnTo>
                  <a:lnTo>
                    <a:pt x="338" y="780"/>
                  </a:lnTo>
                  <a:lnTo>
                    <a:pt x="336" y="782"/>
                  </a:lnTo>
                  <a:lnTo>
                    <a:pt x="336" y="782"/>
                  </a:lnTo>
                  <a:lnTo>
                    <a:pt x="336" y="782"/>
                  </a:lnTo>
                  <a:lnTo>
                    <a:pt x="334" y="784"/>
                  </a:lnTo>
                  <a:lnTo>
                    <a:pt x="334" y="784"/>
                  </a:lnTo>
                  <a:lnTo>
                    <a:pt x="334" y="786"/>
                  </a:lnTo>
                  <a:lnTo>
                    <a:pt x="334" y="786"/>
                  </a:lnTo>
                  <a:lnTo>
                    <a:pt x="334" y="786"/>
                  </a:lnTo>
                  <a:lnTo>
                    <a:pt x="336" y="788"/>
                  </a:lnTo>
                  <a:lnTo>
                    <a:pt x="336" y="790"/>
                  </a:lnTo>
                  <a:lnTo>
                    <a:pt x="336" y="790"/>
                  </a:lnTo>
                  <a:lnTo>
                    <a:pt x="336" y="790"/>
                  </a:lnTo>
                  <a:lnTo>
                    <a:pt x="338" y="792"/>
                  </a:lnTo>
                  <a:lnTo>
                    <a:pt x="338" y="792"/>
                  </a:lnTo>
                  <a:lnTo>
                    <a:pt x="338" y="792"/>
                  </a:lnTo>
                  <a:lnTo>
                    <a:pt x="340" y="794"/>
                  </a:lnTo>
                  <a:lnTo>
                    <a:pt x="340" y="794"/>
                  </a:lnTo>
                  <a:lnTo>
                    <a:pt x="340" y="794"/>
                  </a:lnTo>
                  <a:lnTo>
                    <a:pt x="340" y="794"/>
                  </a:lnTo>
                  <a:lnTo>
                    <a:pt x="336" y="796"/>
                  </a:lnTo>
                  <a:lnTo>
                    <a:pt x="334" y="800"/>
                  </a:lnTo>
                  <a:lnTo>
                    <a:pt x="330" y="802"/>
                  </a:lnTo>
                  <a:lnTo>
                    <a:pt x="330" y="802"/>
                  </a:lnTo>
                  <a:lnTo>
                    <a:pt x="330" y="804"/>
                  </a:lnTo>
                  <a:lnTo>
                    <a:pt x="330" y="806"/>
                  </a:lnTo>
                  <a:lnTo>
                    <a:pt x="330" y="808"/>
                  </a:lnTo>
                  <a:lnTo>
                    <a:pt x="328" y="812"/>
                  </a:lnTo>
                  <a:lnTo>
                    <a:pt x="326" y="816"/>
                  </a:lnTo>
                  <a:lnTo>
                    <a:pt x="324" y="818"/>
                  </a:lnTo>
                  <a:lnTo>
                    <a:pt x="324" y="820"/>
                  </a:lnTo>
                  <a:lnTo>
                    <a:pt x="324" y="820"/>
                  </a:lnTo>
                  <a:lnTo>
                    <a:pt x="324" y="822"/>
                  </a:lnTo>
                  <a:lnTo>
                    <a:pt x="324" y="824"/>
                  </a:lnTo>
                  <a:lnTo>
                    <a:pt x="326" y="826"/>
                  </a:lnTo>
                  <a:lnTo>
                    <a:pt x="328" y="826"/>
                  </a:lnTo>
                  <a:lnTo>
                    <a:pt x="330" y="828"/>
                  </a:lnTo>
                  <a:lnTo>
                    <a:pt x="332" y="828"/>
                  </a:lnTo>
                  <a:lnTo>
                    <a:pt x="332" y="828"/>
                  </a:lnTo>
                  <a:lnTo>
                    <a:pt x="332" y="828"/>
                  </a:lnTo>
                  <a:lnTo>
                    <a:pt x="334" y="830"/>
                  </a:lnTo>
                  <a:lnTo>
                    <a:pt x="334" y="830"/>
                  </a:lnTo>
                  <a:lnTo>
                    <a:pt x="336" y="830"/>
                  </a:lnTo>
                  <a:lnTo>
                    <a:pt x="338" y="828"/>
                  </a:lnTo>
                  <a:lnTo>
                    <a:pt x="340" y="828"/>
                  </a:lnTo>
                  <a:lnTo>
                    <a:pt x="342" y="828"/>
                  </a:lnTo>
                  <a:lnTo>
                    <a:pt x="344" y="828"/>
                  </a:lnTo>
                  <a:lnTo>
                    <a:pt x="348" y="828"/>
                  </a:lnTo>
                  <a:lnTo>
                    <a:pt x="352" y="828"/>
                  </a:lnTo>
                  <a:lnTo>
                    <a:pt x="356" y="828"/>
                  </a:lnTo>
                  <a:lnTo>
                    <a:pt x="364" y="828"/>
                  </a:lnTo>
                  <a:lnTo>
                    <a:pt x="370" y="828"/>
                  </a:lnTo>
                  <a:lnTo>
                    <a:pt x="374" y="828"/>
                  </a:lnTo>
                  <a:lnTo>
                    <a:pt x="376" y="828"/>
                  </a:lnTo>
                  <a:lnTo>
                    <a:pt x="380" y="830"/>
                  </a:lnTo>
                  <a:lnTo>
                    <a:pt x="380" y="830"/>
                  </a:lnTo>
                  <a:lnTo>
                    <a:pt x="376" y="830"/>
                  </a:lnTo>
                  <a:lnTo>
                    <a:pt x="372" y="834"/>
                  </a:lnTo>
                  <a:lnTo>
                    <a:pt x="368" y="836"/>
                  </a:lnTo>
                  <a:lnTo>
                    <a:pt x="362" y="838"/>
                  </a:lnTo>
                  <a:lnTo>
                    <a:pt x="358" y="840"/>
                  </a:lnTo>
                  <a:lnTo>
                    <a:pt x="356" y="840"/>
                  </a:lnTo>
                  <a:lnTo>
                    <a:pt x="352" y="842"/>
                  </a:lnTo>
                  <a:lnTo>
                    <a:pt x="348" y="842"/>
                  </a:lnTo>
                  <a:lnTo>
                    <a:pt x="344" y="842"/>
                  </a:lnTo>
                  <a:lnTo>
                    <a:pt x="344" y="842"/>
                  </a:lnTo>
                  <a:lnTo>
                    <a:pt x="342" y="844"/>
                  </a:lnTo>
                  <a:lnTo>
                    <a:pt x="340" y="844"/>
                  </a:lnTo>
                  <a:lnTo>
                    <a:pt x="340" y="844"/>
                  </a:lnTo>
                  <a:lnTo>
                    <a:pt x="340" y="844"/>
                  </a:lnTo>
                  <a:lnTo>
                    <a:pt x="338" y="846"/>
                  </a:lnTo>
                  <a:lnTo>
                    <a:pt x="338" y="846"/>
                  </a:lnTo>
                  <a:lnTo>
                    <a:pt x="336" y="846"/>
                  </a:lnTo>
                  <a:lnTo>
                    <a:pt x="334" y="850"/>
                  </a:lnTo>
                  <a:lnTo>
                    <a:pt x="334" y="850"/>
                  </a:lnTo>
                  <a:lnTo>
                    <a:pt x="334" y="850"/>
                  </a:lnTo>
                  <a:lnTo>
                    <a:pt x="332" y="852"/>
                  </a:lnTo>
                  <a:lnTo>
                    <a:pt x="332" y="852"/>
                  </a:lnTo>
                  <a:lnTo>
                    <a:pt x="332" y="852"/>
                  </a:lnTo>
                  <a:lnTo>
                    <a:pt x="332" y="856"/>
                  </a:lnTo>
                  <a:lnTo>
                    <a:pt x="332" y="856"/>
                  </a:lnTo>
                  <a:lnTo>
                    <a:pt x="330" y="856"/>
                  </a:lnTo>
                  <a:lnTo>
                    <a:pt x="330" y="860"/>
                  </a:lnTo>
                  <a:lnTo>
                    <a:pt x="330" y="860"/>
                  </a:lnTo>
                  <a:lnTo>
                    <a:pt x="332" y="860"/>
                  </a:lnTo>
                  <a:lnTo>
                    <a:pt x="332" y="862"/>
                  </a:lnTo>
                  <a:lnTo>
                    <a:pt x="332" y="862"/>
                  </a:lnTo>
                  <a:lnTo>
                    <a:pt x="332" y="862"/>
                  </a:lnTo>
                  <a:lnTo>
                    <a:pt x="332" y="864"/>
                  </a:lnTo>
                  <a:lnTo>
                    <a:pt x="332" y="864"/>
                  </a:lnTo>
                  <a:lnTo>
                    <a:pt x="334" y="864"/>
                  </a:lnTo>
                  <a:lnTo>
                    <a:pt x="334" y="864"/>
                  </a:lnTo>
                  <a:lnTo>
                    <a:pt x="334" y="864"/>
                  </a:lnTo>
                  <a:lnTo>
                    <a:pt x="336" y="866"/>
                  </a:lnTo>
                  <a:lnTo>
                    <a:pt x="336" y="866"/>
                  </a:lnTo>
                  <a:lnTo>
                    <a:pt x="340" y="866"/>
                  </a:lnTo>
                  <a:lnTo>
                    <a:pt x="344" y="868"/>
                  </a:lnTo>
                  <a:lnTo>
                    <a:pt x="352" y="868"/>
                  </a:lnTo>
                  <a:lnTo>
                    <a:pt x="358" y="868"/>
                  </a:lnTo>
                  <a:lnTo>
                    <a:pt x="364" y="868"/>
                  </a:lnTo>
                  <a:lnTo>
                    <a:pt x="364" y="868"/>
                  </a:lnTo>
                  <a:lnTo>
                    <a:pt x="370" y="868"/>
                  </a:lnTo>
                  <a:lnTo>
                    <a:pt x="374" y="870"/>
                  </a:lnTo>
                  <a:lnTo>
                    <a:pt x="378" y="870"/>
                  </a:lnTo>
                  <a:lnTo>
                    <a:pt x="384" y="872"/>
                  </a:lnTo>
                  <a:lnTo>
                    <a:pt x="384" y="872"/>
                  </a:lnTo>
                  <a:lnTo>
                    <a:pt x="384" y="872"/>
                  </a:lnTo>
                  <a:lnTo>
                    <a:pt x="388" y="872"/>
                  </a:lnTo>
                  <a:lnTo>
                    <a:pt x="392" y="872"/>
                  </a:lnTo>
                  <a:lnTo>
                    <a:pt x="398" y="872"/>
                  </a:lnTo>
                  <a:lnTo>
                    <a:pt x="402" y="870"/>
                  </a:lnTo>
                  <a:lnTo>
                    <a:pt x="406" y="870"/>
                  </a:lnTo>
                  <a:lnTo>
                    <a:pt x="412" y="870"/>
                  </a:lnTo>
                  <a:lnTo>
                    <a:pt x="416" y="870"/>
                  </a:lnTo>
                  <a:lnTo>
                    <a:pt x="420" y="870"/>
                  </a:lnTo>
                  <a:lnTo>
                    <a:pt x="424" y="870"/>
                  </a:lnTo>
                  <a:lnTo>
                    <a:pt x="428" y="870"/>
                  </a:lnTo>
                  <a:lnTo>
                    <a:pt x="430" y="870"/>
                  </a:lnTo>
                  <a:lnTo>
                    <a:pt x="432" y="872"/>
                  </a:lnTo>
                  <a:lnTo>
                    <a:pt x="432" y="872"/>
                  </a:lnTo>
                  <a:lnTo>
                    <a:pt x="432" y="874"/>
                  </a:lnTo>
                  <a:lnTo>
                    <a:pt x="434" y="876"/>
                  </a:lnTo>
                  <a:lnTo>
                    <a:pt x="434" y="876"/>
                  </a:lnTo>
                  <a:lnTo>
                    <a:pt x="434" y="876"/>
                  </a:lnTo>
                  <a:lnTo>
                    <a:pt x="438" y="878"/>
                  </a:lnTo>
                  <a:lnTo>
                    <a:pt x="440" y="880"/>
                  </a:lnTo>
                  <a:lnTo>
                    <a:pt x="440" y="880"/>
                  </a:lnTo>
                  <a:lnTo>
                    <a:pt x="438" y="880"/>
                  </a:lnTo>
                  <a:lnTo>
                    <a:pt x="436" y="882"/>
                  </a:lnTo>
                  <a:lnTo>
                    <a:pt x="436" y="882"/>
                  </a:lnTo>
                  <a:lnTo>
                    <a:pt x="434" y="884"/>
                  </a:lnTo>
                  <a:lnTo>
                    <a:pt x="432" y="884"/>
                  </a:lnTo>
                  <a:lnTo>
                    <a:pt x="428" y="884"/>
                  </a:lnTo>
                  <a:lnTo>
                    <a:pt x="428" y="884"/>
                  </a:lnTo>
                  <a:lnTo>
                    <a:pt x="424" y="884"/>
                  </a:lnTo>
                  <a:lnTo>
                    <a:pt x="418" y="882"/>
                  </a:lnTo>
                  <a:lnTo>
                    <a:pt x="412" y="880"/>
                  </a:lnTo>
                  <a:lnTo>
                    <a:pt x="408" y="880"/>
                  </a:lnTo>
                  <a:lnTo>
                    <a:pt x="404" y="878"/>
                  </a:lnTo>
                  <a:lnTo>
                    <a:pt x="400" y="878"/>
                  </a:lnTo>
                  <a:lnTo>
                    <a:pt x="394" y="878"/>
                  </a:lnTo>
                  <a:lnTo>
                    <a:pt x="390" y="878"/>
                  </a:lnTo>
                  <a:lnTo>
                    <a:pt x="386" y="878"/>
                  </a:lnTo>
                  <a:lnTo>
                    <a:pt x="382" y="878"/>
                  </a:lnTo>
                  <a:lnTo>
                    <a:pt x="378" y="878"/>
                  </a:lnTo>
                  <a:lnTo>
                    <a:pt x="378" y="878"/>
                  </a:lnTo>
                  <a:lnTo>
                    <a:pt x="376" y="878"/>
                  </a:lnTo>
                  <a:lnTo>
                    <a:pt x="372" y="880"/>
                  </a:lnTo>
                  <a:lnTo>
                    <a:pt x="368" y="884"/>
                  </a:lnTo>
                  <a:lnTo>
                    <a:pt x="364" y="886"/>
                  </a:lnTo>
                  <a:lnTo>
                    <a:pt x="362" y="886"/>
                  </a:lnTo>
                  <a:lnTo>
                    <a:pt x="360" y="886"/>
                  </a:lnTo>
                  <a:lnTo>
                    <a:pt x="360" y="886"/>
                  </a:lnTo>
                  <a:lnTo>
                    <a:pt x="358" y="888"/>
                  </a:lnTo>
                  <a:lnTo>
                    <a:pt x="356" y="888"/>
                  </a:lnTo>
                  <a:lnTo>
                    <a:pt x="354" y="890"/>
                  </a:lnTo>
                  <a:lnTo>
                    <a:pt x="354" y="890"/>
                  </a:lnTo>
                  <a:lnTo>
                    <a:pt x="354" y="890"/>
                  </a:lnTo>
                  <a:lnTo>
                    <a:pt x="352" y="894"/>
                  </a:lnTo>
                  <a:lnTo>
                    <a:pt x="352" y="894"/>
                  </a:lnTo>
                  <a:lnTo>
                    <a:pt x="352" y="894"/>
                  </a:lnTo>
                  <a:lnTo>
                    <a:pt x="352" y="896"/>
                  </a:lnTo>
                  <a:lnTo>
                    <a:pt x="352" y="896"/>
                  </a:lnTo>
                  <a:lnTo>
                    <a:pt x="352" y="898"/>
                  </a:lnTo>
                  <a:lnTo>
                    <a:pt x="352" y="900"/>
                  </a:lnTo>
                  <a:lnTo>
                    <a:pt x="352" y="900"/>
                  </a:lnTo>
                  <a:lnTo>
                    <a:pt x="352" y="900"/>
                  </a:lnTo>
                  <a:lnTo>
                    <a:pt x="354" y="904"/>
                  </a:lnTo>
                  <a:lnTo>
                    <a:pt x="356" y="906"/>
                  </a:lnTo>
                  <a:lnTo>
                    <a:pt x="358" y="908"/>
                  </a:lnTo>
                  <a:lnTo>
                    <a:pt x="360" y="912"/>
                  </a:lnTo>
                  <a:lnTo>
                    <a:pt x="360" y="912"/>
                  </a:lnTo>
                  <a:lnTo>
                    <a:pt x="362" y="914"/>
                  </a:lnTo>
                  <a:lnTo>
                    <a:pt x="364" y="912"/>
                  </a:lnTo>
                  <a:lnTo>
                    <a:pt x="366" y="912"/>
                  </a:lnTo>
                  <a:lnTo>
                    <a:pt x="366" y="912"/>
                  </a:lnTo>
                  <a:lnTo>
                    <a:pt x="366" y="912"/>
                  </a:lnTo>
                  <a:lnTo>
                    <a:pt x="366" y="916"/>
                  </a:lnTo>
                  <a:lnTo>
                    <a:pt x="366" y="916"/>
                  </a:lnTo>
                  <a:lnTo>
                    <a:pt x="366" y="916"/>
                  </a:lnTo>
                  <a:lnTo>
                    <a:pt x="366" y="918"/>
                  </a:lnTo>
                  <a:lnTo>
                    <a:pt x="366" y="918"/>
                  </a:lnTo>
                  <a:lnTo>
                    <a:pt x="368" y="918"/>
                  </a:lnTo>
                  <a:lnTo>
                    <a:pt x="370" y="920"/>
                  </a:lnTo>
                  <a:lnTo>
                    <a:pt x="370" y="920"/>
                  </a:lnTo>
                  <a:lnTo>
                    <a:pt x="370" y="920"/>
                  </a:lnTo>
                  <a:lnTo>
                    <a:pt x="374" y="922"/>
                  </a:lnTo>
                  <a:lnTo>
                    <a:pt x="374" y="922"/>
                  </a:lnTo>
                  <a:lnTo>
                    <a:pt x="374" y="922"/>
                  </a:lnTo>
                  <a:lnTo>
                    <a:pt x="378" y="924"/>
                  </a:lnTo>
                  <a:lnTo>
                    <a:pt x="384" y="924"/>
                  </a:lnTo>
                  <a:lnTo>
                    <a:pt x="388" y="924"/>
                  </a:lnTo>
                  <a:lnTo>
                    <a:pt x="394" y="926"/>
                  </a:lnTo>
                  <a:lnTo>
                    <a:pt x="398" y="926"/>
                  </a:lnTo>
                  <a:lnTo>
                    <a:pt x="404" y="926"/>
                  </a:lnTo>
                  <a:lnTo>
                    <a:pt x="406" y="926"/>
                  </a:lnTo>
                  <a:lnTo>
                    <a:pt x="408" y="928"/>
                  </a:lnTo>
                  <a:lnTo>
                    <a:pt x="408" y="930"/>
                  </a:lnTo>
                  <a:lnTo>
                    <a:pt x="410" y="932"/>
                  </a:lnTo>
                  <a:lnTo>
                    <a:pt x="410" y="932"/>
                  </a:lnTo>
                  <a:lnTo>
                    <a:pt x="408" y="934"/>
                  </a:lnTo>
                  <a:lnTo>
                    <a:pt x="408" y="936"/>
                  </a:lnTo>
                  <a:lnTo>
                    <a:pt x="408" y="938"/>
                  </a:lnTo>
                  <a:lnTo>
                    <a:pt x="406" y="940"/>
                  </a:lnTo>
                  <a:lnTo>
                    <a:pt x="406" y="940"/>
                  </a:lnTo>
                  <a:lnTo>
                    <a:pt x="406" y="942"/>
                  </a:lnTo>
                  <a:lnTo>
                    <a:pt x="406" y="942"/>
                  </a:lnTo>
                  <a:lnTo>
                    <a:pt x="404" y="942"/>
                  </a:lnTo>
                  <a:lnTo>
                    <a:pt x="396" y="940"/>
                  </a:lnTo>
                  <a:lnTo>
                    <a:pt x="390" y="938"/>
                  </a:lnTo>
                  <a:lnTo>
                    <a:pt x="384" y="936"/>
                  </a:lnTo>
                  <a:lnTo>
                    <a:pt x="378" y="936"/>
                  </a:lnTo>
                  <a:lnTo>
                    <a:pt x="372" y="934"/>
                  </a:lnTo>
                  <a:lnTo>
                    <a:pt x="362" y="932"/>
                  </a:lnTo>
                  <a:lnTo>
                    <a:pt x="354" y="930"/>
                  </a:lnTo>
                  <a:lnTo>
                    <a:pt x="346" y="928"/>
                  </a:lnTo>
                  <a:lnTo>
                    <a:pt x="340" y="926"/>
                  </a:lnTo>
                  <a:lnTo>
                    <a:pt x="336" y="926"/>
                  </a:lnTo>
                  <a:lnTo>
                    <a:pt x="332" y="924"/>
                  </a:lnTo>
                  <a:lnTo>
                    <a:pt x="326" y="920"/>
                  </a:lnTo>
                  <a:lnTo>
                    <a:pt x="312" y="916"/>
                  </a:lnTo>
                  <a:lnTo>
                    <a:pt x="306" y="914"/>
                  </a:lnTo>
                  <a:lnTo>
                    <a:pt x="300" y="910"/>
                  </a:lnTo>
                  <a:lnTo>
                    <a:pt x="296" y="908"/>
                  </a:lnTo>
                  <a:lnTo>
                    <a:pt x="292" y="906"/>
                  </a:lnTo>
                  <a:lnTo>
                    <a:pt x="288" y="904"/>
                  </a:lnTo>
                  <a:lnTo>
                    <a:pt x="286" y="902"/>
                  </a:lnTo>
                  <a:lnTo>
                    <a:pt x="284" y="902"/>
                  </a:lnTo>
                  <a:lnTo>
                    <a:pt x="284" y="900"/>
                  </a:lnTo>
                  <a:lnTo>
                    <a:pt x="282" y="898"/>
                  </a:lnTo>
                  <a:lnTo>
                    <a:pt x="282" y="898"/>
                  </a:lnTo>
                  <a:lnTo>
                    <a:pt x="282" y="898"/>
                  </a:lnTo>
                  <a:lnTo>
                    <a:pt x="280" y="898"/>
                  </a:lnTo>
                  <a:lnTo>
                    <a:pt x="280" y="898"/>
                  </a:lnTo>
                  <a:lnTo>
                    <a:pt x="280" y="896"/>
                  </a:lnTo>
                  <a:lnTo>
                    <a:pt x="278" y="896"/>
                  </a:lnTo>
                  <a:lnTo>
                    <a:pt x="278" y="896"/>
                  </a:lnTo>
                  <a:lnTo>
                    <a:pt x="276" y="896"/>
                  </a:lnTo>
                  <a:lnTo>
                    <a:pt x="276" y="898"/>
                  </a:lnTo>
                  <a:lnTo>
                    <a:pt x="276" y="898"/>
                  </a:lnTo>
                  <a:lnTo>
                    <a:pt x="274" y="898"/>
                  </a:lnTo>
                  <a:lnTo>
                    <a:pt x="272" y="900"/>
                  </a:lnTo>
                  <a:lnTo>
                    <a:pt x="272" y="900"/>
                  </a:lnTo>
                  <a:lnTo>
                    <a:pt x="272" y="900"/>
                  </a:lnTo>
                  <a:lnTo>
                    <a:pt x="272" y="902"/>
                  </a:lnTo>
                  <a:lnTo>
                    <a:pt x="272" y="902"/>
                  </a:lnTo>
                  <a:lnTo>
                    <a:pt x="270" y="902"/>
                  </a:lnTo>
                  <a:lnTo>
                    <a:pt x="270" y="906"/>
                  </a:lnTo>
                  <a:lnTo>
                    <a:pt x="268" y="908"/>
                  </a:lnTo>
                  <a:lnTo>
                    <a:pt x="268" y="912"/>
                  </a:lnTo>
                  <a:lnTo>
                    <a:pt x="266" y="914"/>
                  </a:lnTo>
                  <a:lnTo>
                    <a:pt x="266" y="916"/>
                  </a:lnTo>
                  <a:lnTo>
                    <a:pt x="264" y="916"/>
                  </a:lnTo>
                  <a:lnTo>
                    <a:pt x="264" y="918"/>
                  </a:lnTo>
                  <a:lnTo>
                    <a:pt x="260" y="918"/>
                  </a:lnTo>
                  <a:lnTo>
                    <a:pt x="258" y="918"/>
                  </a:lnTo>
                  <a:lnTo>
                    <a:pt x="256" y="918"/>
                  </a:lnTo>
                  <a:lnTo>
                    <a:pt x="254" y="918"/>
                  </a:lnTo>
                  <a:lnTo>
                    <a:pt x="252" y="916"/>
                  </a:lnTo>
                  <a:lnTo>
                    <a:pt x="252" y="916"/>
                  </a:lnTo>
                  <a:lnTo>
                    <a:pt x="252" y="916"/>
                  </a:lnTo>
                  <a:lnTo>
                    <a:pt x="250" y="914"/>
                  </a:lnTo>
                  <a:lnTo>
                    <a:pt x="252" y="910"/>
                  </a:lnTo>
                  <a:lnTo>
                    <a:pt x="252" y="906"/>
                  </a:lnTo>
                  <a:lnTo>
                    <a:pt x="254" y="900"/>
                  </a:lnTo>
                  <a:lnTo>
                    <a:pt x="256" y="896"/>
                  </a:lnTo>
                  <a:lnTo>
                    <a:pt x="256" y="890"/>
                  </a:lnTo>
                  <a:lnTo>
                    <a:pt x="258" y="886"/>
                  </a:lnTo>
                  <a:lnTo>
                    <a:pt x="258" y="884"/>
                  </a:lnTo>
                  <a:lnTo>
                    <a:pt x="258" y="884"/>
                  </a:lnTo>
                  <a:lnTo>
                    <a:pt x="258" y="882"/>
                  </a:lnTo>
                  <a:lnTo>
                    <a:pt x="258" y="880"/>
                  </a:lnTo>
                  <a:lnTo>
                    <a:pt x="258" y="880"/>
                  </a:lnTo>
                  <a:lnTo>
                    <a:pt x="258" y="880"/>
                  </a:lnTo>
                  <a:lnTo>
                    <a:pt x="256" y="878"/>
                  </a:lnTo>
                  <a:lnTo>
                    <a:pt x="256" y="878"/>
                  </a:lnTo>
                  <a:lnTo>
                    <a:pt x="256" y="878"/>
                  </a:lnTo>
                  <a:lnTo>
                    <a:pt x="254" y="876"/>
                  </a:lnTo>
                  <a:lnTo>
                    <a:pt x="254" y="876"/>
                  </a:lnTo>
                  <a:lnTo>
                    <a:pt x="254" y="876"/>
                  </a:lnTo>
                  <a:lnTo>
                    <a:pt x="252" y="876"/>
                  </a:lnTo>
                  <a:lnTo>
                    <a:pt x="252" y="876"/>
                  </a:lnTo>
                  <a:lnTo>
                    <a:pt x="252" y="876"/>
                  </a:lnTo>
                  <a:lnTo>
                    <a:pt x="248" y="876"/>
                  </a:lnTo>
                  <a:lnTo>
                    <a:pt x="248" y="876"/>
                  </a:lnTo>
                  <a:lnTo>
                    <a:pt x="248" y="876"/>
                  </a:lnTo>
                  <a:lnTo>
                    <a:pt x="244" y="878"/>
                  </a:lnTo>
                  <a:lnTo>
                    <a:pt x="242" y="878"/>
                  </a:lnTo>
                  <a:lnTo>
                    <a:pt x="240" y="878"/>
                  </a:lnTo>
                  <a:lnTo>
                    <a:pt x="236" y="880"/>
                  </a:lnTo>
                  <a:lnTo>
                    <a:pt x="236" y="880"/>
                  </a:lnTo>
                  <a:lnTo>
                    <a:pt x="236" y="880"/>
                  </a:lnTo>
                  <a:lnTo>
                    <a:pt x="232" y="884"/>
                  </a:lnTo>
                  <a:lnTo>
                    <a:pt x="232" y="884"/>
                  </a:lnTo>
                  <a:lnTo>
                    <a:pt x="232" y="884"/>
                  </a:lnTo>
                  <a:lnTo>
                    <a:pt x="230" y="886"/>
                  </a:lnTo>
                  <a:lnTo>
                    <a:pt x="230" y="886"/>
                  </a:lnTo>
                  <a:lnTo>
                    <a:pt x="230" y="886"/>
                  </a:lnTo>
                  <a:lnTo>
                    <a:pt x="228" y="888"/>
                  </a:lnTo>
                  <a:lnTo>
                    <a:pt x="228" y="888"/>
                  </a:lnTo>
                  <a:lnTo>
                    <a:pt x="228" y="890"/>
                  </a:lnTo>
                  <a:lnTo>
                    <a:pt x="226" y="892"/>
                  </a:lnTo>
                  <a:lnTo>
                    <a:pt x="226" y="892"/>
                  </a:lnTo>
                  <a:lnTo>
                    <a:pt x="226" y="892"/>
                  </a:lnTo>
                  <a:lnTo>
                    <a:pt x="226" y="896"/>
                  </a:lnTo>
                  <a:lnTo>
                    <a:pt x="226" y="900"/>
                  </a:lnTo>
                  <a:lnTo>
                    <a:pt x="226" y="904"/>
                  </a:lnTo>
                  <a:lnTo>
                    <a:pt x="226" y="908"/>
                  </a:lnTo>
                  <a:lnTo>
                    <a:pt x="226" y="912"/>
                  </a:lnTo>
                  <a:lnTo>
                    <a:pt x="226" y="912"/>
                  </a:lnTo>
                  <a:lnTo>
                    <a:pt x="226" y="912"/>
                  </a:lnTo>
                  <a:lnTo>
                    <a:pt x="226" y="912"/>
                  </a:lnTo>
                  <a:lnTo>
                    <a:pt x="222" y="910"/>
                  </a:lnTo>
                  <a:lnTo>
                    <a:pt x="220" y="906"/>
                  </a:lnTo>
                  <a:lnTo>
                    <a:pt x="218" y="904"/>
                  </a:lnTo>
                  <a:lnTo>
                    <a:pt x="214" y="900"/>
                  </a:lnTo>
                  <a:lnTo>
                    <a:pt x="212" y="896"/>
                  </a:lnTo>
                  <a:lnTo>
                    <a:pt x="210" y="894"/>
                  </a:lnTo>
                  <a:lnTo>
                    <a:pt x="208" y="890"/>
                  </a:lnTo>
                  <a:lnTo>
                    <a:pt x="206" y="886"/>
                  </a:lnTo>
                  <a:lnTo>
                    <a:pt x="204" y="882"/>
                  </a:lnTo>
                  <a:lnTo>
                    <a:pt x="202" y="878"/>
                  </a:lnTo>
                  <a:lnTo>
                    <a:pt x="202" y="874"/>
                  </a:lnTo>
                  <a:lnTo>
                    <a:pt x="200" y="872"/>
                  </a:lnTo>
                  <a:lnTo>
                    <a:pt x="198" y="870"/>
                  </a:lnTo>
                  <a:lnTo>
                    <a:pt x="198" y="868"/>
                  </a:lnTo>
                  <a:lnTo>
                    <a:pt x="198" y="868"/>
                  </a:lnTo>
                  <a:lnTo>
                    <a:pt x="198" y="868"/>
                  </a:lnTo>
                  <a:lnTo>
                    <a:pt x="198" y="866"/>
                  </a:lnTo>
                  <a:lnTo>
                    <a:pt x="198" y="866"/>
                  </a:lnTo>
                  <a:lnTo>
                    <a:pt x="196" y="866"/>
                  </a:lnTo>
                  <a:lnTo>
                    <a:pt x="194" y="866"/>
                  </a:lnTo>
                  <a:lnTo>
                    <a:pt x="194" y="866"/>
                  </a:lnTo>
                  <a:lnTo>
                    <a:pt x="192" y="868"/>
                  </a:lnTo>
                  <a:lnTo>
                    <a:pt x="192" y="868"/>
                  </a:lnTo>
                  <a:lnTo>
                    <a:pt x="192" y="868"/>
                  </a:lnTo>
                  <a:lnTo>
                    <a:pt x="192" y="870"/>
                  </a:lnTo>
                  <a:lnTo>
                    <a:pt x="192" y="872"/>
                  </a:lnTo>
                  <a:lnTo>
                    <a:pt x="192" y="874"/>
                  </a:lnTo>
                  <a:lnTo>
                    <a:pt x="192" y="878"/>
                  </a:lnTo>
                  <a:lnTo>
                    <a:pt x="194" y="882"/>
                  </a:lnTo>
                  <a:lnTo>
                    <a:pt x="194" y="884"/>
                  </a:lnTo>
                  <a:lnTo>
                    <a:pt x="194" y="888"/>
                  </a:lnTo>
                  <a:lnTo>
                    <a:pt x="194" y="890"/>
                  </a:lnTo>
                  <a:lnTo>
                    <a:pt x="194" y="890"/>
                  </a:lnTo>
                  <a:lnTo>
                    <a:pt x="194" y="892"/>
                  </a:lnTo>
                  <a:lnTo>
                    <a:pt x="192" y="894"/>
                  </a:lnTo>
                  <a:lnTo>
                    <a:pt x="188" y="898"/>
                  </a:lnTo>
                  <a:lnTo>
                    <a:pt x="188" y="898"/>
                  </a:lnTo>
                  <a:lnTo>
                    <a:pt x="188" y="898"/>
                  </a:lnTo>
                  <a:lnTo>
                    <a:pt x="188" y="898"/>
                  </a:lnTo>
                  <a:lnTo>
                    <a:pt x="186" y="896"/>
                  </a:lnTo>
                  <a:lnTo>
                    <a:pt x="184" y="894"/>
                  </a:lnTo>
                  <a:lnTo>
                    <a:pt x="184" y="894"/>
                  </a:lnTo>
                  <a:lnTo>
                    <a:pt x="184" y="894"/>
                  </a:lnTo>
                  <a:lnTo>
                    <a:pt x="182" y="892"/>
                  </a:lnTo>
                  <a:lnTo>
                    <a:pt x="182" y="892"/>
                  </a:lnTo>
                  <a:lnTo>
                    <a:pt x="182" y="892"/>
                  </a:lnTo>
                  <a:lnTo>
                    <a:pt x="180" y="892"/>
                  </a:lnTo>
                  <a:lnTo>
                    <a:pt x="180" y="892"/>
                  </a:lnTo>
                  <a:lnTo>
                    <a:pt x="180" y="892"/>
                  </a:lnTo>
                  <a:lnTo>
                    <a:pt x="176" y="892"/>
                  </a:lnTo>
                  <a:lnTo>
                    <a:pt x="174" y="892"/>
                  </a:lnTo>
                  <a:lnTo>
                    <a:pt x="168" y="894"/>
                  </a:lnTo>
                  <a:lnTo>
                    <a:pt x="164" y="894"/>
                  </a:lnTo>
                  <a:lnTo>
                    <a:pt x="162" y="896"/>
                  </a:lnTo>
                  <a:lnTo>
                    <a:pt x="158" y="898"/>
                  </a:lnTo>
                  <a:lnTo>
                    <a:pt x="158" y="898"/>
                  </a:lnTo>
                  <a:lnTo>
                    <a:pt x="158" y="898"/>
                  </a:lnTo>
                  <a:lnTo>
                    <a:pt x="156" y="898"/>
                  </a:lnTo>
                  <a:lnTo>
                    <a:pt x="156" y="898"/>
                  </a:lnTo>
                  <a:lnTo>
                    <a:pt x="156" y="900"/>
                  </a:lnTo>
                  <a:lnTo>
                    <a:pt x="154" y="900"/>
                  </a:lnTo>
                  <a:lnTo>
                    <a:pt x="154" y="900"/>
                  </a:lnTo>
                  <a:lnTo>
                    <a:pt x="154" y="902"/>
                  </a:lnTo>
                  <a:lnTo>
                    <a:pt x="154" y="904"/>
                  </a:lnTo>
                  <a:lnTo>
                    <a:pt x="154" y="904"/>
                  </a:lnTo>
                  <a:lnTo>
                    <a:pt x="154" y="904"/>
                  </a:lnTo>
                  <a:lnTo>
                    <a:pt x="152" y="908"/>
                  </a:lnTo>
                  <a:lnTo>
                    <a:pt x="152" y="908"/>
                  </a:lnTo>
                  <a:lnTo>
                    <a:pt x="152" y="910"/>
                  </a:lnTo>
                  <a:lnTo>
                    <a:pt x="152" y="914"/>
                  </a:lnTo>
                  <a:lnTo>
                    <a:pt x="152" y="918"/>
                  </a:lnTo>
                  <a:lnTo>
                    <a:pt x="152" y="920"/>
                  </a:lnTo>
                  <a:lnTo>
                    <a:pt x="152" y="922"/>
                  </a:lnTo>
                  <a:lnTo>
                    <a:pt x="154" y="926"/>
                  </a:lnTo>
                  <a:lnTo>
                    <a:pt x="154" y="926"/>
                  </a:lnTo>
                  <a:lnTo>
                    <a:pt x="154" y="926"/>
                  </a:lnTo>
                  <a:lnTo>
                    <a:pt x="152" y="926"/>
                  </a:lnTo>
                  <a:lnTo>
                    <a:pt x="148" y="924"/>
                  </a:lnTo>
                  <a:lnTo>
                    <a:pt x="144" y="922"/>
                  </a:lnTo>
                  <a:lnTo>
                    <a:pt x="140" y="922"/>
                  </a:lnTo>
                  <a:lnTo>
                    <a:pt x="138" y="920"/>
                  </a:lnTo>
                  <a:lnTo>
                    <a:pt x="134" y="918"/>
                  </a:lnTo>
                  <a:lnTo>
                    <a:pt x="134" y="918"/>
                  </a:lnTo>
                  <a:lnTo>
                    <a:pt x="132" y="918"/>
                  </a:lnTo>
                  <a:lnTo>
                    <a:pt x="130" y="920"/>
                  </a:lnTo>
                  <a:lnTo>
                    <a:pt x="130" y="920"/>
                  </a:lnTo>
                  <a:lnTo>
                    <a:pt x="128" y="920"/>
                  </a:lnTo>
                  <a:lnTo>
                    <a:pt x="128" y="922"/>
                  </a:lnTo>
                  <a:lnTo>
                    <a:pt x="128" y="922"/>
                  </a:lnTo>
                  <a:lnTo>
                    <a:pt x="128" y="922"/>
                  </a:lnTo>
                  <a:lnTo>
                    <a:pt x="126" y="926"/>
                  </a:lnTo>
                  <a:lnTo>
                    <a:pt x="126" y="926"/>
                  </a:lnTo>
                  <a:lnTo>
                    <a:pt x="126" y="926"/>
                  </a:lnTo>
                  <a:lnTo>
                    <a:pt x="128" y="928"/>
                  </a:lnTo>
                  <a:lnTo>
                    <a:pt x="128" y="932"/>
                  </a:lnTo>
                  <a:lnTo>
                    <a:pt x="128" y="936"/>
                  </a:lnTo>
                  <a:lnTo>
                    <a:pt x="128" y="940"/>
                  </a:lnTo>
                  <a:lnTo>
                    <a:pt x="128" y="940"/>
                  </a:lnTo>
                  <a:lnTo>
                    <a:pt x="128" y="942"/>
                  </a:lnTo>
                  <a:lnTo>
                    <a:pt x="128" y="942"/>
                  </a:lnTo>
                  <a:lnTo>
                    <a:pt x="126" y="942"/>
                  </a:lnTo>
                  <a:lnTo>
                    <a:pt x="124" y="942"/>
                  </a:lnTo>
                  <a:lnTo>
                    <a:pt x="120" y="942"/>
                  </a:lnTo>
                  <a:lnTo>
                    <a:pt x="118" y="942"/>
                  </a:lnTo>
                  <a:lnTo>
                    <a:pt x="118" y="940"/>
                  </a:lnTo>
                  <a:lnTo>
                    <a:pt x="118" y="940"/>
                  </a:lnTo>
                  <a:lnTo>
                    <a:pt x="118" y="940"/>
                  </a:lnTo>
                  <a:lnTo>
                    <a:pt x="118" y="936"/>
                  </a:lnTo>
                  <a:lnTo>
                    <a:pt x="118" y="934"/>
                  </a:lnTo>
                  <a:lnTo>
                    <a:pt x="118" y="932"/>
                  </a:lnTo>
                  <a:lnTo>
                    <a:pt x="118" y="928"/>
                  </a:lnTo>
                  <a:lnTo>
                    <a:pt x="118" y="926"/>
                  </a:lnTo>
                  <a:lnTo>
                    <a:pt x="118" y="926"/>
                  </a:lnTo>
                  <a:lnTo>
                    <a:pt x="118" y="924"/>
                  </a:lnTo>
                  <a:lnTo>
                    <a:pt x="116" y="922"/>
                  </a:lnTo>
                  <a:lnTo>
                    <a:pt x="116" y="922"/>
                  </a:lnTo>
                  <a:lnTo>
                    <a:pt x="116" y="922"/>
                  </a:lnTo>
                  <a:lnTo>
                    <a:pt x="114" y="920"/>
                  </a:lnTo>
                  <a:lnTo>
                    <a:pt x="114" y="920"/>
                  </a:lnTo>
                  <a:lnTo>
                    <a:pt x="114" y="920"/>
                  </a:lnTo>
                  <a:lnTo>
                    <a:pt x="110" y="918"/>
                  </a:lnTo>
                  <a:lnTo>
                    <a:pt x="106" y="918"/>
                  </a:lnTo>
                  <a:lnTo>
                    <a:pt x="102" y="918"/>
                  </a:lnTo>
                  <a:lnTo>
                    <a:pt x="98" y="918"/>
                  </a:lnTo>
                  <a:lnTo>
                    <a:pt x="94" y="918"/>
                  </a:lnTo>
                  <a:lnTo>
                    <a:pt x="92" y="918"/>
                  </a:lnTo>
                  <a:lnTo>
                    <a:pt x="88" y="918"/>
                  </a:lnTo>
                  <a:lnTo>
                    <a:pt x="88" y="918"/>
                  </a:lnTo>
                  <a:lnTo>
                    <a:pt x="88" y="918"/>
                  </a:lnTo>
                  <a:lnTo>
                    <a:pt x="86" y="920"/>
                  </a:lnTo>
                  <a:lnTo>
                    <a:pt x="86" y="920"/>
                  </a:lnTo>
                  <a:lnTo>
                    <a:pt x="86" y="922"/>
                  </a:lnTo>
                  <a:lnTo>
                    <a:pt x="84" y="924"/>
                  </a:lnTo>
                  <a:lnTo>
                    <a:pt x="84" y="924"/>
                  </a:lnTo>
                  <a:lnTo>
                    <a:pt x="84" y="924"/>
                  </a:lnTo>
                  <a:lnTo>
                    <a:pt x="84" y="926"/>
                  </a:lnTo>
                  <a:lnTo>
                    <a:pt x="84" y="930"/>
                  </a:lnTo>
                  <a:lnTo>
                    <a:pt x="84" y="932"/>
                  </a:lnTo>
                  <a:lnTo>
                    <a:pt x="84" y="936"/>
                  </a:lnTo>
                  <a:lnTo>
                    <a:pt x="84" y="936"/>
                  </a:lnTo>
                  <a:lnTo>
                    <a:pt x="84" y="936"/>
                  </a:lnTo>
                  <a:lnTo>
                    <a:pt x="84" y="938"/>
                  </a:lnTo>
                  <a:lnTo>
                    <a:pt x="82" y="938"/>
                  </a:lnTo>
                  <a:lnTo>
                    <a:pt x="80" y="938"/>
                  </a:lnTo>
                  <a:lnTo>
                    <a:pt x="76" y="940"/>
                  </a:lnTo>
                  <a:lnTo>
                    <a:pt x="74" y="940"/>
                  </a:lnTo>
                  <a:lnTo>
                    <a:pt x="70" y="940"/>
                  </a:lnTo>
                  <a:lnTo>
                    <a:pt x="68" y="938"/>
                  </a:lnTo>
                  <a:lnTo>
                    <a:pt x="64" y="938"/>
                  </a:lnTo>
                  <a:lnTo>
                    <a:pt x="60" y="936"/>
                  </a:lnTo>
                  <a:lnTo>
                    <a:pt x="56" y="932"/>
                  </a:lnTo>
                  <a:lnTo>
                    <a:pt x="50" y="930"/>
                  </a:lnTo>
                  <a:lnTo>
                    <a:pt x="44" y="926"/>
                  </a:lnTo>
                  <a:lnTo>
                    <a:pt x="38" y="922"/>
                  </a:lnTo>
                  <a:lnTo>
                    <a:pt x="34" y="918"/>
                  </a:lnTo>
                  <a:lnTo>
                    <a:pt x="28" y="914"/>
                  </a:lnTo>
                  <a:lnTo>
                    <a:pt x="24" y="912"/>
                  </a:lnTo>
                  <a:lnTo>
                    <a:pt x="22" y="910"/>
                  </a:lnTo>
                  <a:lnTo>
                    <a:pt x="20" y="910"/>
                  </a:lnTo>
                  <a:lnTo>
                    <a:pt x="20" y="908"/>
                  </a:lnTo>
                  <a:lnTo>
                    <a:pt x="18" y="908"/>
                  </a:lnTo>
                  <a:lnTo>
                    <a:pt x="18" y="908"/>
                  </a:lnTo>
                  <a:lnTo>
                    <a:pt x="18" y="908"/>
                  </a:lnTo>
                  <a:lnTo>
                    <a:pt x="18" y="908"/>
                  </a:lnTo>
                  <a:lnTo>
                    <a:pt x="18" y="908"/>
                  </a:lnTo>
                  <a:lnTo>
                    <a:pt x="16" y="908"/>
                  </a:lnTo>
                  <a:lnTo>
                    <a:pt x="16" y="908"/>
                  </a:lnTo>
                  <a:lnTo>
                    <a:pt x="16" y="908"/>
                  </a:lnTo>
                  <a:lnTo>
                    <a:pt x="14" y="906"/>
                  </a:lnTo>
                  <a:lnTo>
                    <a:pt x="14" y="902"/>
                  </a:lnTo>
                  <a:lnTo>
                    <a:pt x="12" y="900"/>
                  </a:lnTo>
                  <a:lnTo>
                    <a:pt x="12" y="900"/>
                  </a:lnTo>
                  <a:lnTo>
                    <a:pt x="12" y="900"/>
                  </a:lnTo>
                  <a:lnTo>
                    <a:pt x="10" y="898"/>
                  </a:lnTo>
                  <a:lnTo>
                    <a:pt x="10" y="898"/>
                  </a:lnTo>
                  <a:lnTo>
                    <a:pt x="10" y="898"/>
                  </a:lnTo>
                  <a:lnTo>
                    <a:pt x="8" y="898"/>
                  </a:lnTo>
                  <a:lnTo>
                    <a:pt x="8" y="898"/>
                  </a:lnTo>
                  <a:lnTo>
                    <a:pt x="8" y="898"/>
                  </a:lnTo>
                  <a:lnTo>
                    <a:pt x="6" y="898"/>
                  </a:lnTo>
                  <a:lnTo>
                    <a:pt x="4" y="900"/>
                  </a:lnTo>
                  <a:lnTo>
                    <a:pt x="4" y="900"/>
                  </a:lnTo>
                  <a:lnTo>
                    <a:pt x="4" y="900"/>
                  </a:lnTo>
                  <a:lnTo>
                    <a:pt x="4" y="902"/>
                  </a:lnTo>
                  <a:lnTo>
                    <a:pt x="4" y="902"/>
                  </a:lnTo>
                  <a:lnTo>
                    <a:pt x="4" y="902"/>
                  </a:lnTo>
                  <a:lnTo>
                    <a:pt x="4" y="904"/>
                  </a:lnTo>
                  <a:lnTo>
                    <a:pt x="4" y="908"/>
                  </a:lnTo>
                  <a:lnTo>
                    <a:pt x="4" y="912"/>
                  </a:lnTo>
                  <a:lnTo>
                    <a:pt x="4" y="918"/>
                  </a:lnTo>
                  <a:lnTo>
                    <a:pt x="2" y="924"/>
                  </a:lnTo>
                  <a:lnTo>
                    <a:pt x="2" y="930"/>
                  </a:lnTo>
                  <a:lnTo>
                    <a:pt x="2" y="938"/>
                  </a:lnTo>
                  <a:lnTo>
                    <a:pt x="2" y="948"/>
                  </a:lnTo>
                  <a:lnTo>
                    <a:pt x="2" y="956"/>
                  </a:lnTo>
                  <a:lnTo>
                    <a:pt x="2" y="966"/>
                  </a:lnTo>
                  <a:lnTo>
                    <a:pt x="2" y="976"/>
                  </a:lnTo>
                  <a:lnTo>
                    <a:pt x="2" y="998"/>
                  </a:lnTo>
                  <a:lnTo>
                    <a:pt x="2" y="1020"/>
                  </a:lnTo>
                  <a:lnTo>
                    <a:pt x="2" y="1062"/>
                  </a:lnTo>
                  <a:lnTo>
                    <a:pt x="2" y="1074"/>
                  </a:lnTo>
                  <a:lnTo>
                    <a:pt x="2" y="1084"/>
                  </a:lnTo>
                  <a:lnTo>
                    <a:pt x="2" y="1096"/>
                  </a:lnTo>
                  <a:lnTo>
                    <a:pt x="2" y="1110"/>
                  </a:lnTo>
                  <a:lnTo>
                    <a:pt x="2" y="1134"/>
                  </a:lnTo>
                  <a:lnTo>
                    <a:pt x="0" y="1160"/>
                  </a:lnTo>
                  <a:lnTo>
                    <a:pt x="0" y="1174"/>
                  </a:lnTo>
                  <a:lnTo>
                    <a:pt x="0" y="1186"/>
                  </a:lnTo>
                  <a:lnTo>
                    <a:pt x="0" y="1196"/>
                  </a:lnTo>
                  <a:lnTo>
                    <a:pt x="0" y="1208"/>
                  </a:lnTo>
                  <a:lnTo>
                    <a:pt x="0" y="1218"/>
                  </a:lnTo>
                  <a:lnTo>
                    <a:pt x="0" y="1226"/>
                  </a:lnTo>
                  <a:lnTo>
                    <a:pt x="0" y="1234"/>
                  </a:lnTo>
                  <a:lnTo>
                    <a:pt x="0" y="1242"/>
                  </a:lnTo>
                  <a:lnTo>
                    <a:pt x="0" y="1248"/>
                  </a:lnTo>
                  <a:lnTo>
                    <a:pt x="0" y="1252"/>
                  </a:lnTo>
                  <a:lnTo>
                    <a:pt x="2" y="1254"/>
                  </a:lnTo>
                  <a:lnTo>
                    <a:pt x="2" y="1258"/>
                  </a:lnTo>
                  <a:lnTo>
                    <a:pt x="2" y="1260"/>
                  </a:lnTo>
                  <a:lnTo>
                    <a:pt x="2" y="1260"/>
                  </a:lnTo>
                  <a:lnTo>
                    <a:pt x="2" y="1260"/>
                  </a:lnTo>
                  <a:lnTo>
                    <a:pt x="2" y="1260"/>
                  </a:lnTo>
                  <a:lnTo>
                    <a:pt x="2" y="1260"/>
                  </a:lnTo>
                  <a:lnTo>
                    <a:pt x="4" y="1262"/>
                  </a:lnTo>
                  <a:lnTo>
                    <a:pt x="4" y="1262"/>
                  </a:lnTo>
                  <a:lnTo>
                    <a:pt x="4" y="1262"/>
                  </a:lnTo>
                  <a:lnTo>
                    <a:pt x="6" y="1262"/>
                  </a:lnTo>
                  <a:lnTo>
                    <a:pt x="6" y="1262"/>
                  </a:lnTo>
                  <a:lnTo>
                    <a:pt x="6" y="1262"/>
                  </a:lnTo>
                  <a:lnTo>
                    <a:pt x="8" y="1262"/>
                  </a:lnTo>
                  <a:lnTo>
                    <a:pt x="10" y="1260"/>
                  </a:lnTo>
                  <a:lnTo>
                    <a:pt x="12" y="1260"/>
                  </a:lnTo>
                  <a:lnTo>
                    <a:pt x="12" y="1260"/>
                  </a:lnTo>
                  <a:lnTo>
                    <a:pt x="14" y="1262"/>
                  </a:lnTo>
                  <a:lnTo>
                    <a:pt x="18" y="1266"/>
                  </a:lnTo>
                  <a:lnTo>
                    <a:pt x="22" y="1266"/>
                  </a:lnTo>
                  <a:lnTo>
                    <a:pt x="24" y="1268"/>
                  </a:lnTo>
                  <a:lnTo>
                    <a:pt x="28" y="1268"/>
                  </a:lnTo>
                  <a:lnTo>
                    <a:pt x="28" y="1268"/>
                  </a:lnTo>
                  <a:lnTo>
                    <a:pt x="28" y="1268"/>
                  </a:lnTo>
                  <a:lnTo>
                    <a:pt x="30" y="1270"/>
                  </a:lnTo>
                  <a:lnTo>
                    <a:pt x="30" y="1270"/>
                  </a:lnTo>
                  <a:lnTo>
                    <a:pt x="30" y="1270"/>
                  </a:lnTo>
                  <a:lnTo>
                    <a:pt x="34" y="1268"/>
                  </a:lnTo>
                  <a:lnTo>
                    <a:pt x="34" y="1268"/>
                  </a:lnTo>
                  <a:lnTo>
                    <a:pt x="34" y="1268"/>
                  </a:lnTo>
                  <a:lnTo>
                    <a:pt x="36" y="1268"/>
                  </a:lnTo>
                  <a:lnTo>
                    <a:pt x="36" y="1268"/>
                  </a:lnTo>
                  <a:lnTo>
                    <a:pt x="36" y="1266"/>
                  </a:lnTo>
                  <a:lnTo>
                    <a:pt x="38" y="1266"/>
                  </a:lnTo>
                  <a:lnTo>
                    <a:pt x="40" y="1264"/>
                  </a:lnTo>
                  <a:lnTo>
                    <a:pt x="42" y="1262"/>
                  </a:lnTo>
                  <a:lnTo>
                    <a:pt x="44" y="1260"/>
                  </a:lnTo>
                  <a:lnTo>
                    <a:pt x="46" y="1260"/>
                  </a:lnTo>
                  <a:lnTo>
                    <a:pt x="46" y="1260"/>
                  </a:lnTo>
                  <a:lnTo>
                    <a:pt x="48" y="1260"/>
                  </a:lnTo>
                  <a:lnTo>
                    <a:pt x="50" y="1260"/>
                  </a:lnTo>
                  <a:lnTo>
                    <a:pt x="52" y="1262"/>
                  </a:lnTo>
                  <a:lnTo>
                    <a:pt x="54" y="1266"/>
                  </a:lnTo>
                  <a:lnTo>
                    <a:pt x="60" y="1272"/>
                  </a:lnTo>
                  <a:lnTo>
                    <a:pt x="64" y="1278"/>
                  </a:lnTo>
                  <a:lnTo>
                    <a:pt x="66" y="1280"/>
                  </a:lnTo>
                  <a:lnTo>
                    <a:pt x="68" y="1284"/>
                  </a:lnTo>
                  <a:lnTo>
                    <a:pt x="72" y="1292"/>
                  </a:lnTo>
                  <a:lnTo>
                    <a:pt x="74" y="1300"/>
                  </a:lnTo>
                  <a:lnTo>
                    <a:pt x="76" y="1304"/>
                  </a:lnTo>
                  <a:lnTo>
                    <a:pt x="78" y="1306"/>
                  </a:lnTo>
                  <a:lnTo>
                    <a:pt x="84" y="1314"/>
                  </a:lnTo>
                  <a:lnTo>
                    <a:pt x="90" y="1320"/>
                  </a:lnTo>
                  <a:lnTo>
                    <a:pt x="94" y="1328"/>
                  </a:lnTo>
                  <a:lnTo>
                    <a:pt x="100" y="1334"/>
                  </a:lnTo>
                  <a:lnTo>
                    <a:pt x="104" y="1336"/>
                  </a:lnTo>
                  <a:lnTo>
                    <a:pt x="106" y="1338"/>
                  </a:lnTo>
                  <a:lnTo>
                    <a:pt x="112" y="1340"/>
                  </a:lnTo>
                  <a:lnTo>
                    <a:pt x="116" y="1342"/>
                  </a:lnTo>
                  <a:lnTo>
                    <a:pt x="118" y="1344"/>
                  </a:lnTo>
                  <a:lnTo>
                    <a:pt x="118" y="1344"/>
                  </a:lnTo>
                  <a:lnTo>
                    <a:pt x="120" y="1346"/>
                  </a:lnTo>
                  <a:lnTo>
                    <a:pt x="120" y="1346"/>
                  </a:lnTo>
                  <a:lnTo>
                    <a:pt x="120" y="1348"/>
                  </a:lnTo>
                  <a:lnTo>
                    <a:pt x="118" y="1352"/>
                  </a:lnTo>
                  <a:lnTo>
                    <a:pt x="118" y="1354"/>
                  </a:lnTo>
                  <a:lnTo>
                    <a:pt x="116" y="1360"/>
                  </a:lnTo>
                  <a:lnTo>
                    <a:pt x="114" y="1364"/>
                  </a:lnTo>
                  <a:lnTo>
                    <a:pt x="114" y="1364"/>
                  </a:lnTo>
                  <a:lnTo>
                    <a:pt x="114" y="1364"/>
                  </a:lnTo>
                  <a:lnTo>
                    <a:pt x="114" y="1366"/>
                  </a:lnTo>
                  <a:lnTo>
                    <a:pt x="114" y="1370"/>
                  </a:lnTo>
                  <a:lnTo>
                    <a:pt x="114" y="1374"/>
                  </a:lnTo>
                  <a:lnTo>
                    <a:pt x="116" y="1380"/>
                  </a:lnTo>
                  <a:lnTo>
                    <a:pt x="116" y="1382"/>
                  </a:lnTo>
                  <a:lnTo>
                    <a:pt x="118" y="1386"/>
                  </a:lnTo>
                  <a:lnTo>
                    <a:pt x="118" y="1386"/>
                  </a:lnTo>
                  <a:lnTo>
                    <a:pt x="118" y="1386"/>
                  </a:lnTo>
                  <a:lnTo>
                    <a:pt x="120" y="1388"/>
                  </a:lnTo>
                  <a:lnTo>
                    <a:pt x="120" y="1388"/>
                  </a:lnTo>
                  <a:lnTo>
                    <a:pt x="120" y="1388"/>
                  </a:lnTo>
                  <a:lnTo>
                    <a:pt x="122" y="1390"/>
                  </a:lnTo>
                  <a:lnTo>
                    <a:pt x="122" y="1390"/>
                  </a:lnTo>
                  <a:lnTo>
                    <a:pt x="122" y="1390"/>
                  </a:lnTo>
                  <a:lnTo>
                    <a:pt x="124" y="1392"/>
                  </a:lnTo>
                  <a:lnTo>
                    <a:pt x="124" y="1392"/>
                  </a:lnTo>
                  <a:lnTo>
                    <a:pt x="126" y="1392"/>
                  </a:lnTo>
                  <a:lnTo>
                    <a:pt x="128" y="1392"/>
                  </a:lnTo>
                  <a:lnTo>
                    <a:pt x="128" y="1392"/>
                  </a:lnTo>
                  <a:lnTo>
                    <a:pt x="128" y="1392"/>
                  </a:lnTo>
                  <a:lnTo>
                    <a:pt x="132" y="1390"/>
                  </a:lnTo>
                  <a:lnTo>
                    <a:pt x="136" y="1390"/>
                  </a:lnTo>
                  <a:lnTo>
                    <a:pt x="138" y="1388"/>
                  </a:lnTo>
                  <a:lnTo>
                    <a:pt x="142" y="1388"/>
                  </a:lnTo>
                  <a:lnTo>
                    <a:pt x="144" y="1388"/>
                  </a:lnTo>
                  <a:lnTo>
                    <a:pt x="144" y="1388"/>
                  </a:lnTo>
                  <a:lnTo>
                    <a:pt x="146" y="1390"/>
                  </a:lnTo>
                  <a:lnTo>
                    <a:pt x="148" y="1392"/>
                  </a:lnTo>
                  <a:lnTo>
                    <a:pt x="150" y="1394"/>
                  </a:lnTo>
                  <a:lnTo>
                    <a:pt x="152" y="1398"/>
                  </a:lnTo>
                  <a:lnTo>
                    <a:pt x="156" y="1404"/>
                  </a:lnTo>
                  <a:lnTo>
                    <a:pt x="158" y="1408"/>
                  </a:lnTo>
                  <a:lnTo>
                    <a:pt x="160" y="1412"/>
                  </a:lnTo>
                  <a:lnTo>
                    <a:pt x="164" y="1418"/>
                  </a:lnTo>
                  <a:lnTo>
                    <a:pt x="168" y="1422"/>
                  </a:lnTo>
                  <a:lnTo>
                    <a:pt x="172" y="1428"/>
                  </a:lnTo>
                  <a:lnTo>
                    <a:pt x="174" y="1432"/>
                  </a:lnTo>
                  <a:lnTo>
                    <a:pt x="176" y="1436"/>
                  </a:lnTo>
                  <a:lnTo>
                    <a:pt x="178" y="1440"/>
                  </a:lnTo>
                  <a:lnTo>
                    <a:pt x="182" y="1446"/>
                  </a:lnTo>
                  <a:lnTo>
                    <a:pt x="184" y="1450"/>
                  </a:lnTo>
                  <a:lnTo>
                    <a:pt x="186" y="1454"/>
                  </a:lnTo>
                  <a:lnTo>
                    <a:pt x="190" y="1458"/>
                  </a:lnTo>
                  <a:lnTo>
                    <a:pt x="192" y="1462"/>
                  </a:lnTo>
                  <a:lnTo>
                    <a:pt x="192" y="1462"/>
                  </a:lnTo>
                  <a:lnTo>
                    <a:pt x="192" y="1462"/>
                  </a:lnTo>
                  <a:lnTo>
                    <a:pt x="196" y="1464"/>
                  </a:lnTo>
                  <a:lnTo>
                    <a:pt x="196" y="1464"/>
                  </a:lnTo>
                  <a:lnTo>
                    <a:pt x="196" y="1464"/>
                  </a:lnTo>
                  <a:lnTo>
                    <a:pt x="198" y="1466"/>
                  </a:lnTo>
                  <a:lnTo>
                    <a:pt x="198" y="1466"/>
                  </a:lnTo>
                  <a:lnTo>
                    <a:pt x="200" y="1466"/>
                  </a:lnTo>
                  <a:lnTo>
                    <a:pt x="206" y="1468"/>
                  </a:lnTo>
                  <a:lnTo>
                    <a:pt x="212" y="1470"/>
                  </a:lnTo>
                  <a:lnTo>
                    <a:pt x="216" y="1470"/>
                  </a:lnTo>
                  <a:lnTo>
                    <a:pt x="218" y="1472"/>
                  </a:lnTo>
                  <a:lnTo>
                    <a:pt x="224" y="1474"/>
                  </a:lnTo>
                  <a:lnTo>
                    <a:pt x="230" y="1478"/>
                  </a:lnTo>
                  <a:lnTo>
                    <a:pt x="236" y="1480"/>
                  </a:lnTo>
                  <a:lnTo>
                    <a:pt x="240" y="1484"/>
                  </a:lnTo>
                  <a:lnTo>
                    <a:pt x="244" y="1486"/>
                  </a:lnTo>
                  <a:lnTo>
                    <a:pt x="248" y="1486"/>
                  </a:lnTo>
                  <a:lnTo>
                    <a:pt x="256" y="1488"/>
                  </a:lnTo>
                  <a:lnTo>
                    <a:pt x="260" y="1490"/>
                  </a:lnTo>
                  <a:lnTo>
                    <a:pt x="264" y="1490"/>
                  </a:lnTo>
                  <a:lnTo>
                    <a:pt x="266" y="1492"/>
                  </a:lnTo>
                  <a:lnTo>
                    <a:pt x="268" y="1494"/>
                  </a:lnTo>
                  <a:lnTo>
                    <a:pt x="268" y="1494"/>
                  </a:lnTo>
                  <a:lnTo>
                    <a:pt x="268" y="1496"/>
                  </a:lnTo>
                  <a:lnTo>
                    <a:pt x="270" y="1498"/>
                  </a:lnTo>
                  <a:lnTo>
                    <a:pt x="270" y="1500"/>
                  </a:lnTo>
                  <a:lnTo>
                    <a:pt x="270" y="1502"/>
                  </a:lnTo>
                  <a:lnTo>
                    <a:pt x="270" y="1506"/>
                  </a:lnTo>
                  <a:lnTo>
                    <a:pt x="270" y="1508"/>
                  </a:lnTo>
                  <a:lnTo>
                    <a:pt x="270" y="1508"/>
                  </a:lnTo>
                  <a:lnTo>
                    <a:pt x="272" y="1510"/>
                  </a:lnTo>
                  <a:lnTo>
                    <a:pt x="272" y="1512"/>
                  </a:lnTo>
                  <a:lnTo>
                    <a:pt x="274" y="1516"/>
                  </a:lnTo>
                  <a:lnTo>
                    <a:pt x="278" y="1520"/>
                  </a:lnTo>
                  <a:lnTo>
                    <a:pt x="284" y="1528"/>
                  </a:lnTo>
                  <a:lnTo>
                    <a:pt x="286" y="1530"/>
                  </a:lnTo>
                  <a:lnTo>
                    <a:pt x="290" y="1534"/>
                  </a:lnTo>
                  <a:lnTo>
                    <a:pt x="292" y="1538"/>
                  </a:lnTo>
                  <a:lnTo>
                    <a:pt x="294" y="1540"/>
                  </a:lnTo>
                  <a:lnTo>
                    <a:pt x="296" y="1538"/>
                  </a:lnTo>
                  <a:lnTo>
                    <a:pt x="370" y="1538"/>
                  </a:lnTo>
                  <a:lnTo>
                    <a:pt x="386" y="1538"/>
                  </a:lnTo>
                  <a:lnTo>
                    <a:pt x="432" y="1538"/>
                  </a:lnTo>
                  <a:lnTo>
                    <a:pt x="450" y="1538"/>
                  </a:lnTo>
                  <a:lnTo>
                    <a:pt x="484" y="1538"/>
                  </a:lnTo>
                  <a:lnTo>
                    <a:pt x="520" y="1538"/>
                  </a:lnTo>
                  <a:lnTo>
                    <a:pt x="556" y="1538"/>
                  </a:lnTo>
                  <a:lnTo>
                    <a:pt x="590" y="1538"/>
                  </a:lnTo>
                  <a:lnTo>
                    <a:pt x="608" y="1538"/>
                  </a:lnTo>
                  <a:lnTo>
                    <a:pt x="624" y="1538"/>
                  </a:lnTo>
                  <a:lnTo>
                    <a:pt x="640" y="1538"/>
                  </a:lnTo>
                  <a:lnTo>
                    <a:pt x="656" y="1536"/>
                  </a:lnTo>
                  <a:lnTo>
                    <a:pt x="670" y="1536"/>
                  </a:lnTo>
                  <a:lnTo>
                    <a:pt x="684" y="1536"/>
                  </a:lnTo>
                  <a:lnTo>
                    <a:pt x="698" y="1536"/>
                  </a:lnTo>
                  <a:lnTo>
                    <a:pt x="710" y="1536"/>
                  </a:lnTo>
                  <a:lnTo>
                    <a:pt x="722" y="1536"/>
                  </a:lnTo>
                  <a:lnTo>
                    <a:pt x="732" y="1536"/>
                  </a:lnTo>
                  <a:lnTo>
                    <a:pt x="742" y="1536"/>
                  </a:lnTo>
                  <a:lnTo>
                    <a:pt x="750" y="1536"/>
                  </a:lnTo>
                  <a:lnTo>
                    <a:pt x="758" y="1536"/>
                  </a:lnTo>
                  <a:lnTo>
                    <a:pt x="764" y="1536"/>
                  </a:lnTo>
                  <a:lnTo>
                    <a:pt x="770" y="1536"/>
                  </a:lnTo>
                  <a:lnTo>
                    <a:pt x="774" y="1536"/>
                  </a:lnTo>
                  <a:lnTo>
                    <a:pt x="780" y="1534"/>
                  </a:lnTo>
                  <a:lnTo>
                    <a:pt x="782" y="1534"/>
                  </a:lnTo>
                  <a:lnTo>
                    <a:pt x="786" y="1534"/>
                  </a:lnTo>
                  <a:lnTo>
                    <a:pt x="788" y="1534"/>
                  </a:lnTo>
                  <a:lnTo>
                    <a:pt x="790" y="1534"/>
                  </a:lnTo>
                  <a:lnTo>
                    <a:pt x="792" y="1534"/>
                  </a:lnTo>
                  <a:lnTo>
                    <a:pt x="794" y="1534"/>
                  </a:lnTo>
                  <a:lnTo>
                    <a:pt x="794" y="1534"/>
                  </a:lnTo>
                  <a:lnTo>
                    <a:pt x="794" y="1534"/>
                  </a:lnTo>
                  <a:lnTo>
                    <a:pt x="796" y="1532"/>
                  </a:lnTo>
                  <a:lnTo>
                    <a:pt x="796" y="1532"/>
                  </a:lnTo>
                  <a:lnTo>
                    <a:pt x="796" y="1532"/>
                  </a:lnTo>
                  <a:lnTo>
                    <a:pt x="796" y="1532"/>
                  </a:lnTo>
                  <a:lnTo>
                    <a:pt x="796" y="1532"/>
                  </a:lnTo>
                  <a:lnTo>
                    <a:pt x="798" y="1530"/>
                  </a:lnTo>
                  <a:lnTo>
                    <a:pt x="798" y="1530"/>
                  </a:lnTo>
                  <a:lnTo>
                    <a:pt x="798" y="1530"/>
                  </a:lnTo>
                  <a:lnTo>
                    <a:pt x="796" y="1528"/>
                  </a:lnTo>
                  <a:lnTo>
                    <a:pt x="796" y="1526"/>
                  </a:lnTo>
                  <a:lnTo>
                    <a:pt x="796" y="1526"/>
                  </a:lnTo>
                  <a:lnTo>
                    <a:pt x="794" y="1526"/>
                  </a:lnTo>
                  <a:lnTo>
                    <a:pt x="794" y="1526"/>
                  </a:lnTo>
                  <a:lnTo>
                    <a:pt x="790" y="1524"/>
                  </a:lnTo>
                  <a:lnTo>
                    <a:pt x="786" y="1524"/>
                  </a:lnTo>
                  <a:lnTo>
                    <a:pt x="784" y="1524"/>
                  </a:lnTo>
                  <a:lnTo>
                    <a:pt x="784" y="1522"/>
                  </a:lnTo>
                  <a:lnTo>
                    <a:pt x="784" y="1522"/>
                  </a:lnTo>
                  <a:lnTo>
                    <a:pt x="786" y="1522"/>
                  </a:lnTo>
                  <a:lnTo>
                    <a:pt x="786" y="1520"/>
                  </a:lnTo>
                  <a:lnTo>
                    <a:pt x="786" y="1520"/>
                  </a:lnTo>
                  <a:lnTo>
                    <a:pt x="786" y="1520"/>
                  </a:lnTo>
                  <a:lnTo>
                    <a:pt x="786" y="1518"/>
                  </a:lnTo>
                  <a:lnTo>
                    <a:pt x="786" y="1516"/>
                  </a:lnTo>
                  <a:lnTo>
                    <a:pt x="786" y="1518"/>
                  </a:lnTo>
                  <a:lnTo>
                    <a:pt x="790" y="1520"/>
                  </a:lnTo>
                  <a:lnTo>
                    <a:pt x="792" y="1520"/>
                  </a:lnTo>
                  <a:lnTo>
                    <a:pt x="792" y="1520"/>
                  </a:lnTo>
                  <a:lnTo>
                    <a:pt x="792" y="1520"/>
                  </a:lnTo>
                  <a:lnTo>
                    <a:pt x="794" y="1520"/>
                  </a:lnTo>
                  <a:lnTo>
                    <a:pt x="798" y="1522"/>
                  </a:lnTo>
                  <a:lnTo>
                    <a:pt x="800" y="1522"/>
                  </a:lnTo>
                  <a:lnTo>
                    <a:pt x="808" y="1522"/>
                  </a:lnTo>
                  <a:lnTo>
                    <a:pt x="812" y="1522"/>
                  </a:lnTo>
                  <a:lnTo>
                    <a:pt x="814" y="1524"/>
                  </a:lnTo>
                  <a:lnTo>
                    <a:pt x="816" y="1524"/>
                  </a:lnTo>
                  <a:lnTo>
                    <a:pt x="818" y="1524"/>
                  </a:lnTo>
                  <a:lnTo>
                    <a:pt x="818" y="1524"/>
                  </a:lnTo>
                  <a:lnTo>
                    <a:pt x="818" y="1526"/>
                  </a:lnTo>
                  <a:lnTo>
                    <a:pt x="818" y="1528"/>
                  </a:lnTo>
                  <a:lnTo>
                    <a:pt x="818" y="1528"/>
                  </a:lnTo>
                  <a:lnTo>
                    <a:pt x="818" y="1530"/>
                  </a:lnTo>
                  <a:lnTo>
                    <a:pt x="818" y="1534"/>
                  </a:lnTo>
                  <a:lnTo>
                    <a:pt x="818" y="1534"/>
                  </a:lnTo>
                  <a:lnTo>
                    <a:pt x="818" y="1534"/>
                  </a:lnTo>
                  <a:lnTo>
                    <a:pt x="818" y="1536"/>
                  </a:lnTo>
                  <a:lnTo>
                    <a:pt x="818" y="1536"/>
                  </a:lnTo>
                  <a:lnTo>
                    <a:pt x="818" y="1536"/>
                  </a:lnTo>
                  <a:lnTo>
                    <a:pt x="820" y="1538"/>
                  </a:lnTo>
                  <a:lnTo>
                    <a:pt x="820" y="1538"/>
                  </a:lnTo>
                  <a:lnTo>
                    <a:pt x="822" y="1538"/>
                  </a:lnTo>
                  <a:lnTo>
                    <a:pt x="824" y="1540"/>
                  </a:lnTo>
                  <a:lnTo>
                    <a:pt x="824" y="1540"/>
                  </a:lnTo>
                  <a:lnTo>
                    <a:pt x="824" y="1540"/>
                  </a:lnTo>
                  <a:lnTo>
                    <a:pt x="826" y="1540"/>
                  </a:lnTo>
                  <a:lnTo>
                    <a:pt x="830" y="1540"/>
                  </a:lnTo>
                  <a:lnTo>
                    <a:pt x="834" y="1542"/>
                  </a:lnTo>
                  <a:lnTo>
                    <a:pt x="838" y="1542"/>
                  </a:lnTo>
                  <a:lnTo>
                    <a:pt x="840" y="1542"/>
                  </a:lnTo>
                  <a:lnTo>
                    <a:pt x="842" y="1542"/>
                  </a:lnTo>
                  <a:lnTo>
                    <a:pt x="842" y="1544"/>
                  </a:lnTo>
                  <a:lnTo>
                    <a:pt x="842" y="1544"/>
                  </a:lnTo>
                  <a:lnTo>
                    <a:pt x="842" y="1548"/>
                  </a:lnTo>
                  <a:lnTo>
                    <a:pt x="842" y="1546"/>
                  </a:lnTo>
                  <a:lnTo>
                    <a:pt x="842" y="1550"/>
                  </a:lnTo>
                  <a:lnTo>
                    <a:pt x="840" y="1554"/>
                  </a:lnTo>
                  <a:lnTo>
                    <a:pt x="840" y="1558"/>
                  </a:lnTo>
                  <a:lnTo>
                    <a:pt x="840" y="1558"/>
                  </a:lnTo>
                  <a:lnTo>
                    <a:pt x="840" y="1558"/>
                  </a:lnTo>
                  <a:lnTo>
                    <a:pt x="838" y="1562"/>
                  </a:lnTo>
                  <a:lnTo>
                    <a:pt x="838" y="1562"/>
                  </a:lnTo>
                  <a:lnTo>
                    <a:pt x="838" y="1562"/>
                  </a:lnTo>
                  <a:lnTo>
                    <a:pt x="838" y="1566"/>
                  </a:lnTo>
                  <a:lnTo>
                    <a:pt x="838" y="1566"/>
                  </a:lnTo>
                  <a:lnTo>
                    <a:pt x="840" y="1568"/>
                  </a:lnTo>
                  <a:lnTo>
                    <a:pt x="840" y="1568"/>
                  </a:lnTo>
                  <a:lnTo>
                    <a:pt x="840" y="1568"/>
                  </a:lnTo>
                  <a:lnTo>
                    <a:pt x="840" y="1570"/>
                  </a:lnTo>
                  <a:lnTo>
                    <a:pt x="840" y="1570"/>
                  </a:lnTo>
                  <a:lnTo>
                    <a:pt x="840" y="1570"/>
                  </a:lnTo>
                  <a:lnTo>
                    <a:pt x="842" y="1570"/>
                  </a:lnTo>
                  <a:lnTo>
                    <a:pt x="842" y="1572"/>
                  </a:lnTo>
                  <a:lnTo>
                    <a:pt x="844" y="1574"/>
                  </a:lnTo>
                  <a:lnTo>
                    <a:pt x="848" y="1576"/>
                  </a:lnTo>
                  <a:lnTo>
                    <a:pt x="854" y="1580"/>
                  </a:lnTo>
                  <a:lnTo>
                    <a:pt x="860" y="1582"/>
                  </a:lnTo>
                  <a:lnTo>
                    <a:pt x="864" y="1584"/>
                  </a:lnTo>
                  <a:lnTo>
                    <a:pt x="870" y="1586"/>
                  </a:lnTo>
                  <a:lnTo>
                    <a:pt x="874" y="1588"/>
                  </a:lnTo>
                  <a:lnTo>
                    <a:pt x="878" y="1588"/>
                  </a:lnTo>
                  <a:lnTo>
                    <a:pt x="878" y="1588"/>
                  </a:lnTo>
                  <a:lnTo>
                    <a:pt x="878" y="1588"/>
                  </a:lnTo>
                  <a:lnTo>
                    <a:pt x="882" y="1590"/>
                  </a:lnTo>
                  <a:lnTo>
                    <a:pt x="882" y="1590"/>
                  </a:lnTo>
                  <a:lnTo>
                    <a:pt x="882" y="1588"/>
                  </a:lnTo>
                  <a:lnTo>
                    <a:pt x="884" y="1588"/>
                  </a:lnTo>
                  <a:lnTo>
                    <a:pt x="884" y="1588"/>
                  </a:lnTo>
                  <a:lnTo>
                    <a:pt x="886" y="1588"/>
                  </a:lnTo>
                  <a:lnTo>
                    <a:pt x="888" y="1588"/>
                  </a:lnTo>
                  <a:lnTo>
                    <a:pt x="888" y="1588"/>
                  </a:lnTo>
                  <a:lnTo>
                    <a:pt x="888" y="1586"/>
                  </a:lnTo>
                  <a:lnTo>
                    <a:pt x="890" y="1586"/>
                  </a:lnTo>
                  <a:lnTo>
                    <a:pt x="892" y="1584"/>
                  </a:lnTo>
                  <a:lnTo>
                    <a:pt x="892" y="1584"/>
                  </a:lnTo>
                  <a:lnTo>
                    <a:pt x="892" y="1584"/>
                  </a:lnTo>
                  <a:lnTo>
                    <a:pt x="894" y="1584"/>
                  </a:lnTo>
                  <a:lnTo>
                    <a:pt x="894" y="1584"/>
                  </a:lnTo>
                  <a:lnTo>
                    <a:pt x="896" y="1586"/>
                  </a:lnTo>
                  <a:lnTo>
                    <a:pt x="900" y="1588"/>
                  </a:lnTo>
                  <a:lnTo>
                    <a:pt x="902" y="1590"/>
                  </a:lnTo>
                  <a:lnTo>
                    <a:pt x="906" y="1596"/>
                  </a:lnTo>
                  <a:lnTo>
                    <a:pt x="908" y="1598"/>
                  </a:lnTo>
                  <a:lnTo>
                    <a:pt x="908" y="1600"/>
                  </a:lnTo>
                  <a:lnTo>
                    <a:pt x="912" y="1604"/>
                  </a:lnTo>
                  <a:lnTo>
                    <a:pt x="914" y="1608"/>
                  </a:lnTo>
                  <a:lnTo>
                    <a:pt x="914" y="1608"/>
                  </a:lnTo>
                  <a:lnTo>
                    <a:pt x="914" y="1610"/>
                  </a:lnTo>
                  <a:lnTo>
                    <a:pt x="914" y="1610"/>
                  </a:lnTo>
                  <a:lnTo>
                    <a:pt x="910" y="1608"/>
                  </a:lnTo>
                  <a:lnTo>
                    <a:pt x="908" y="1608"/>
                  </a:lnTo>
                  <a:lnTo>
                    <a:pt x="904" y="1606"/>
                  </a:lnTo>
                  <a:lnTo>
                    <a:pt x="898" y="1606"/>
                  </a:lnTo>
                  <a:lnTo>
                    <a:pt x="894" y="1606"/>
                  </a:lnTo>
                  <a:lnTo>
                    <a:pt x="894" y="1606"/>
                  </a:lnTo>
                  <a:lnTo>
                    <a:pt x="894" y="1606"/>
                  </a:lnTo>
                  <a:lnTo>
                    <a:pt x="890" y="1606"/>
                  </a:lnTo>
                  <a:lnTo>
                    <a:pt x="890" y="1606"/>
                  </a:lnTo>
                  <a:lnTo>
                    <a:pt x="890" y="1606"/>
                  </a:lnTo>
                  <a:lnTo>
                    <a:pt x="886" y="1608"/>
                  </a:lnTo>
                  <a:lnTo>
                    <a:pt x="886" y="1608"/>
                  </a:lnTo>
                  <a:lnTo>
                    <a:pt x="886" y="1608"/>
                  </a:lnTo>
                  <a:lnTo>
                    <a:pt x="882" y="1610"/>
                  </a:lnTo>
                  <a:lnTo>
                    <a:pt x="882" y="1610"/>
                  </a:lnTo>
                  <a:lnTo>
                    <a:pt x="882" y="1610"/>
                  </a:lnTo>
                  <a:lnTo>
                    <a:pt x="880" y="1614"/>
                  </a:lnTo>
                  <a:lnTo>
                    <a:pt x="878" y="1618"/>
                  </a:lnTo>
                  <a:lnTo>
                    <a:pt x="876" y="1624"/>
                  </a:lnTo>
                  <a:lnTo>
                    <a:pt x="872" y="1634"/>
                  </a:lnTo>
                  <a:lnTo>
                    <a:pt x="872" y="1638"/>
                  </a:lnTo>
                  <a:lnTo>
                    <a:pt x="870" y="1642"/>
                  </a:lnTo>
                  <a:lnTo>
                    <a:pt x="866" y="1648"/>
                  </a:lnTo>
                  <a:lnTo>
                    <a:pt x="862" y="1656"/>
                  </a:lnTo>
                  <a:lnTo>
                    <a:pt x="860" y="1660"/>
                  </a:lnTo>
                  <a:lnTo>
                    <a:pt x="858" y="1662"/>
                  </a:lnTo>
                  <a:lnTo>
                    <a:pt x="856" y="1666"/>
                  </a:lnTo>
                  <a:lnTo>
                    <a:pt x="856" y="1668"/>
                  </a:lnTo>
                  <a:lnTo>
                    <a:pt x="854" y="1670"/>
                  </a:lnTo>
                  <a:lnTo>
                    <a:pt x="854" y="1670"/>
                  </a:lnTo>
                  <a:lnTo>
                    <a:pt x="854" y="1670"/>
                  </a:lnTo>
                  <a:lnTo>
                    <a:pt x="854" y="1672"/>
                  </a:lnTo>
                  <a:lnTo>
                    <a:pt x="854" y="1672"/>
                  </a:lnTo>
                  <a:lnTo>
                    <a:pt x="854" y="1672"/>
                  </a:lnTo>
                  <a:lnTo>
                    <a:pt x="856" y="1676"/>
                  </a:lnTo>
                  <a:lnTo>
                    <a:pt x="856" y="1676"/>
                  </a:lnTo>
                  <a:lnTo>
                    <a:pt x="856" y="1676"/>
                  </a:lnTo>
                  <a:lnTo>
                    <a:pt x="856" y="1678"/>
                  </a:lnTo>
                  <a:lnTo>
                    <a:pt x="856" y="1678"/>
                  </a:lnTo>
                  <a:lnTo>
                    <a:pt x="858" y="1678"/>
                  </a:lnTo>
                  <a:lnTo>
                    <a:pt x="858" y="1678"/>
                  </a:lnTo>
                  <a:lnTo>
                    <a:pt x="858" y="1678"/>
                  </a:lnTo>
                  <a:lnTo>
                    <a:pt x="860" y="1678"/>
                  </a:lnTo>
                  <a:lnTo>
                    <a:pt x="860" y="1678"/>
                  </a:lnTo>
                  <a:lnTo>
                    <a:pt x="860" y="1678"/>
                  </a:lnTo>
                  <a:lnTo>
                    <a:pt x="862" y="1678"/>
                  </a:lnTo>
                  <a:lnTo>
                    <a:pt x="862" y="1678"/>
                  </a:lnTo>
                  <a:lnTo>
                    <a:pt x="862" y="1678"/>
                  </a:lnTo>
                  <a:lnTo>
                    <a:pt x="864" y="1676"/>
                  </a:lnTo>
                  <a:lnTo>
                    <a:pt x="864" y="1676"/>
                  </a:lnTo>
                  <a:lnTo>
                    <a:pt x="864" y="1676"/>
                  </a:lnTo>
                  <a:lnTo>
                    <a:pt x="864" y="1674"/>
                  </a:lnTo>
                  <a:lnTo>
                    <a:pt x="866" y="1672"/>
                  </a:lnTo>
                  <a:lnTo>
                    <a:pt x="866" y="1670"/>
                  </a:lnTo>
                  <a:lnTo>
                    <a:pt x="868" y="1668"/>
                  </a:lnTo>
                  <a:lnTo>
                    <a:pt x="868" y="1664"/>
                  </a:lnTo>
                  <a:lnTo>
                    <a:pt x="870" y="1662"/>
                  </a:lnTo>
                  <a:lnTo>
                    <a:pt x="872" y="1660"/>
                  </a:lnTo>
                  <a:lnTo>
                    <a:pt x="874" y="1658"/>
                  </a:lnTo>
                  <a:lnTo>
                    <a:pt x="876" y="1658"/>
                  </a:lnTo>
                  <a:lnTo>
                    <a:pt x="878" y="1658"/>
                  </a:lnTo>
                  <a:lnTo>
                    <a:pt x="884" y="1656"/>
                  </a:lnTo>
                  <a:lnTo>
                    <a:pt x="890" y="1656"/>
                  </a:lnTo>
                  <a:lnTo>
                    <a:pt x="896" y="1656"/>
                  </a:lnTo>
                  <a:lnTo>
                    <a:pt x="904" y="1656"/>
                  </a:lnTo>
                  <a:lnTo>
                    <a:pt x="910" y="1654"/>
                  </a:lnTo>
                  <a:lnTo>
                    <a:pt x="914" y="1654"/>
                  </a:lnTo>
                  <a:lnTo>
                    <a:pt x="918" y="1654"/>
                  </a:lnTo>
                  <a:lnTo>
                    <a:pt x="920" y="1652"/>
                  </a:lnTo>
                  <a:lnTo>
                    <a:pt x="920" y="1652"/>
                  </a:lnTo>
                  <a:lnTo>
                    <a:pt x="920" y="1652"/>
                  </a:lnTo>
                  <a:lnTo>
                    <a:pt x="922" y="1650"/>
                  </a:lnTo>
                  <a:lnTo>
                    <a:pt x="922" y="1650"/>
                  </a:lnTo>
                  <a:lnTo>
                    <a:pt x="924" y="1650"/>
                  </a:lnTo>
                  <a:lnTo>
                    <a:pt x="924" y="1646"/>
                  </a:lnTo>
                  <a:lnTo>
                    <a:pt x="924" y="1646"/>
                  </a:lnTo>
                  <a:lnTo>
                    <a:pt x="924" y="1646"/>
                  </a:lnTo>
                  <a:lnTo>
                    <a:pt x="926" y="1642"/>
                  </a:lnTo>
                  <a:lnTo>
                    <a:pt x="926" y="1642"/>
                  </a:lnTo>
                  <a:lnTo>
                    <a:pt x="926" y="1640"/>
                  </a:lnTo>
                  <a:lnTo>
                    <a:pt x="926" y="1636"/>
                  </a:lnTo>
                  <a:lnTo>
                    <a:pt x="926" y="1634"/>
                  </a:lnTo>
                  <a:lnTo>
                    <a:pt x="926" y="1632"/>
                  </a:lnTo>
                  <a:lnTo>
                    <a:pt x="926" y="1632"/>
                  </a:lnTo>
                  <a:lnTo>
                    <a:pt x="928" y="1630"/>
                  </a:lnTo>
                  <a:lnTo>
                    <a:pt x="930" y="1630"/>
                  </a:lnTo>
                  <a:lnTo>
                    <a:pt x="932" y="1630"/>
                  </a:lnTo>
                  <a:lnTo>
                    <a:pt x="936" y="1630"/>
                  </a:lnTo>
                  <a:lnTo>
                    <a:pt x="944" y="1630"/>
                  </a:lnTo>
                  <a:lnTo>
                    <a:pt x="946" y="1630"/>
                  </a:lnTo>
                  <a:lnTo>
                    <a:pt x="946" y="1630"/>
                  </a:lnTo>
                  <a:lnTo>
                    <a:pt x="948" y="1630"/>
                  </a:lnTo>
                  <a:lnTo>
                    <a:pt x="950" y="1628"/>
                  </a:lnTo>
                  <a:lnTo>
                    <a:pt x="950" y="1628"/>
                  </a:lnTo>
                  <a:lnTo>
                    <a:pt x="952" y="1628"/>
                  </a:lnTo>
                  <a:lnTo>
                    <a:pt x="954" y="1628"/>
                  </a:lnTo>
                  <a:lnTo>
                    <a:pt x="954" y="1628"/>
                  </a:lnTo>
                  <a:lnTo>
                    <a:pt x="956" y="1626"/>
                  </a:lnTo>
                  <a:lnTo>
                    <a:pt x="958" y="1624"/>
                  </a:lnTo>
                  <a:lnTo>
                    <a:pt x="964" y="1620"/>
                  </a:lnTo>
                  <a:lnTo>
                    <a:pt x="968" y="1618"/>
                  </a:lnTo>
                  <a:lnTo>
                    <a:pt x="970" y="1616"/>
                  </a:lnTo>
                  <a:lnTo>
                    <a:pt x="974" y="1614"/>
                  </a:lnTo>
                  <a:lnTo>
                    <a:pt x="980" y="1612"/>
                  </a:lnTo>
                  <a:lnTo>
                    <a:pt x="982" y="1610"/>
                  </a:lnTo>
                  <a:lnTo>
                    <a:pt x="984" y="1610"/>
                  </a:lnTo>
                  <a:lnTo>
                    <a:pt x="992" y="1610"/>
                  </a:lnTo>
                  <a:lnTo>
                    <a:pt x="1000" y="1610"/>
                  </a:lnTo>
                  <a:lnTo>
                    <a:pt x="1008" y="1608"/>
                  </a:lnTo>
                  <a:lnTo>
                    <a:pt x="1018" y="1608"/>
                  </a:lnTo>
                  <a:lnTo>
                    <a:pt x="1026" y="1608"/>
                  </a:lnTo>
                  <a:lnTo>
                    <a:pt x="1028" y="1608"/>
                  </a:lnTo>
                  <a:lnTo>
                    <a:pt x="1032" y="1608"/>
                  </a:lnTo>
                  <a:lnTo>
                    <a:pt x="1036" y="1608"/>
                  </a:lnTo>
                  <a:lnTo>
                    <a:pt x="1038" y="1606"/>
                  </a:lnTo>
                  <a:lnTo>
                    <a:pt x="1042" y="1606"/>
                  </a:lnTo>
                  <a:lnTo>
                    <a:pt x="1042" y="1606"/>
                  </a:lnTo>
                  <a:lnTo>
                    <a:pt x="1042" y="1606"/>
                  </a:lnTo>
                  <a:lnTo>
                    <a:pt x="1046" y="1604"/>
                  </a:lnTo>
                  <a:lnTo>
                    <a:pt x="1046" y="1604"/>
                  </a:lnTo>
                  <a:lnTo>
                    <a:pt x="1046" y="1604"/>
                  </a:lnTo>
                  <a:lnTo>
                    <a:pt x="1048" y="1602"/>
                  </a:lnTo>
                  <a:lnTo>
                    <a:pt x="1048" y="1602"/>
                  </a:lnTo>
                  <a:lnTo>
                    <a:pt x="1048" y="1600"/>
                  </a:lnTo>
                  <a:lnTo>
                    <a:pt x="1050" y="1598"/>
                  </a:lnTo>
                  <a:lnTo>
                    <a:pt x="1050" y="1596"/>
                  </a:lnTo>
                  <a:lnTo>
                    <a:pt x="1050" y="1594"/>
                  </a:lnTo>
                  <a:lnTo>
                    <a:pt x="1052" y="1592"/>
                  </a:lnTo>
                  <a:lnTo>
                    <a:pt x="1052" y="1592"/>
                  </a:lnTo>
                  <a:lnTo>
                    <a:pt x="1056" y="1588"/>
                  </a:lnTo>
                  <a:lnTo>
                    <a:pt x="1058" y="1586"/>
                  </a:lnTo>
                  <a:lnTo>
                    <a:pt x="1062" y="1582"/>
                  </a:lnTo>
                  <a:lnTo>
                    <a:pt x="1064" y="1578"/>
                  </a:lnTo>
                  <a:lnTo>
                    <a:pt x="1064" y="1578"/>
                  </a:lnTo>
                  <a:lnTo>
                    <a:pt x="1064" y="1578"/>
                  </a:lnTo>
                  <a:lnTo>
                    <a:pt x="1066" y="1576"/>
                  </a:lnTo>
                  <a:lnTo>
                    <a:pt x="1066" y="1574"/>
                  </a:lnTo>
                  <a:lnTo>
                    <a:pt x="1068" y="1568"/>
                  </a:lnTo>
                  <a:lnTo>
                    <a:pt x="1070" y="1564"/>
                  </a:lnTo>
                  <a:lnTo>
                    <a:pt x="1070" y="1562"/>
                  </a:lnTo>
                  <a:lnTo>
                    <a:pt x="1070" y="1562"/>
                  </a:lnTo>
                  <a:lnTo>
                    <a:pt x="1072" y="1560"/>
                  </a:lnTo>
                  <a:lnTo>
                    <a:pt x="1074" y="1560"/>
                  </a:lnTo>
                  <a:lnTo>
                    <a:pt x="1076" y="1558"/>
                  </a:lnTo>
                  <a:lnTo>
                    <a:pt x="1080" y="1558"/>
                  </a:lnTo>
                  <a:lnTo>
                    <a:pt x="1082" y="1558"/>
                  </a:lnTo>
                  <a:lnTo>
                    <a:pt x="1086" y="1558"/>
                  </a:lnTo>
                  <a:lnTo>
                    <a:pt x="1088" y="1558"/>
                  </a:lnTo>
                  <a:lnTo>
                    <a:pt x="1088" y="1558"/>
                  </a:lnTo>
                  <a:lnTo>
                    <a:pt x="1088" y="1558"/>
                  </a:lnTo>
                  <a:lnTo>
                    <a:pt x="1088" y="1558"/>
                  </a:lnTo>
                  <a:lnTo>
                    <a:pt x="1090" y="1560"/>
                  </a:lnTo>
                  <a:lnTo>
                    <a:pt x="1090" y="1562"/>
                  </a:lnTo>
                  <a:lnTo>
                    <a:pt x="1090" y="1564"/>
                  </a:lnTo>
                  <a:lnTo>
                    <a:pt x="1090" y="1566"/>
                  </a:lnTo>
                  <a:lnTo>
                    <a:pt x="1090" y="1572"/>
                  </a:lnTo>
                  <a:lnTo>
                    <a:pt x="1090" y="1576"/>
                  </a:lnTo>
                  <a:lnTo>
                    <a:pt x="1090" y="1578"/>
                  </a:lnTo>
                  <a:lnTo>
                    <a:pt x="1090" y="1582"/>
                  </a:lnTo>
                  <a:lnTo>
                    <a:pt x="1090" y="1588"/>
                  </a:lnTo>
                  <a:lnTo>
                    <a:pt x="1090" y="1592"/>
                  </a:lnTo>
                  <a:lnTo>
                    <a:pt x="1090" y="1592"/>
                  </a:lnTo>
                  <a:lnTo>
                    <a:pt x="1090" y="1592"/>
                  </a:lnTo>
                  <a:lnTo>
                    <a:pt x="1090" y="1594"/>
                  </a:lnTo>
                  <a:lnTo>
                    <a:pt x="1090" y="1594"/>
                  </a:lnTo>
                  <a:lnTo>
                    <a:pt x="1090" y="1594"/>
                  </a:lnTo>
                  <a:lnTo>
                    <a:pt x="1092" y="1596"/>
                  </a:lnTo>
                  <a:lnTo>
                    <a:pt x="1092" y="1596"/>
                  </a:lnTo>
                  <a:lnTo>
                    <a:pt x="1092" y="1596"/>
                  </a:lnTo>
                  <a:lnTo>
                    <a:pt x="1094" y="1598"/>
                  </a:lnTo>
                  <a:lnTo>
                    <a:pt x="1096" y="1600"/>
                  </a:lnTo>
                  <a:lnTo>
                    <a:pt x="1100" y="1604"/>
                  </a:lnTo>
                  <a:lnTo>
                    <a:pt x="1104" y="1606"/>
                  </a:lnTo>
                  <a:lnTo>
                    <a:pt x="1104" y="1606"/>
                  </a:lnTo>
                  <a:lnTo>
                    <a:pt x="1106" y="1606"/>
                  </a:lnTo>
                  <a:lnTo>
                    <a:pt x="1106" y="1606"/>
                  </a:lnTo>
                  <a:lnTo>
                    <a:pt x="1106" y="1606"/>
                  </a:lnTo>
                  <a:lnTo>
                    <a:pt x="1108" y="1606"/>
                  </a:lnTo>
                  <a:lnTo>
                    <a:pt x="1108" y="1606"/>
                  </a:lnTo>
                  <a:lnTo>
                    <a:pt x="1108" y="1606"/>
                  </a:lnTo>
                  <a:lnTo>
                    <a:pt x="1110" y="1606"/>
                  </a:lnTo>
                  <a:lnTo>
                    <a:pt x="1112" y="1606"/>
                  </a:lnTo>
                  <a:lnTo>
                    <a:pt x="1112" y="1606"/>
                  </a:lnTo>
                  <a:lnTo>
                    <a:pt x="1112" y="1604"/>
                  </a:lnTo>
                  <a:lnTo>
                    <a:pt x="1114" y="1604"/>
                  </a:lnTo>
                  <a:lnTo>
                    <a:pt x="1114" y="1604"/>
                  </a:lnTo>
                  <a:lnTo>
                    <a:pt x="1114" y="1604"/>
                  </a:lnTo>
                  <a:lnTo>
                    <a:pt x="1114" y="1602"/>
                  </a:lnTo>
                  <a:lnTo>
                    <a:pt x="1114" y="1602"/>
                  </a:lnTo>
                  <a:lnTo>
                    <a:pt x="1114" y="1602"/>
                  </a:lnTo>
                  <a:lnTo>
                    <a:pt x="1114" y="1600"/>
                  </a:lnTo>
                  <a:lnTo>
                    <a:pt x="1114" y="1600"/>
                  </a:lnTo>
                  <a:lnTo>
                    <a:pt x="1114" y="1600"/>
                  </a:lnTo>
                  <a:lnTo>
                    <a:pt x="1114" y="1600"/>
                  </a:lnTo>
                  <a:lnTo>
                    <a:pt x="1116" y="1600"/>
                  </a:lnTo>
                  <a:lnTo>
                    <a:pt x="1116" y="1600"/>
                  </a:lnTo>
                  <a:lnTo>
                    <a:pt x="1116" y="1600"/>
                  </a:lnTo>
                  <a:lnTo>
                    <a:pt x="1118" y="1600"/>
                  </a:lnTo>
                  <a:lnTo>
                    <a:pt x="1120" y="1600"/>
                  </a:lnTo>
                  <a:lnTo>
                    <a:pt x="1120" y="1600"/>
                  </a:lnTo>
                  <a:lnTo>
                    <a:pt x="1120" y="1600"/>
                  </a:lnTo>
                  <a:lnTo>
                    <a:pt x="1122" y="1600"/>
                  </a:lnTo>
                  <a:lnTo>
                    <a:pt x="1126" y="1598"/>
                  </a:lnTo>
                  <a:lnTo>
                    <a:pt x="1130" y="1598"/>
                  </a:lnTo>
                  <a:lnTo>
                    <a:pt x="1134" y="1596"/>
                  </a:lnTo>
                  <a:lnTo>
                    <a:pt x="1134" y="1596"/>
                  </a:lnTo>
                  <a:lnTo>
                    <a:pt x="1134" y="1596"/>
                  </a:lnTo>
                  <a:lnTo>
                    <a:pt x="1134" y="1596"/>
                  </a:lnTo>
                  <a:lnTo>
                    <a:pt x="1134" y="1598"/>
                  </a:lnTo>
                  <a:lnTo>
                    <a:pt x="1134" y="1598"/>
                  </a:lnTo>
                  <a:lnTo>
                    <a:pt x="1136" y="1600"/>
                  </a:lnTo>
                  <a:lnTo>
                    <a:pt x="1138" y="1600"/>
                  </a:lnTo>
                  <a:lnTo>
                    <a:pt x="1120" y="1608"/>
                  </a:lnTo>
                  <a:lnTo>
                    <a:pt x="1120" y="1608"/>
                  </a:lnTo>
                  <a:lnTo>
                    <a:pt x="1118" y="1608"/>
                  </a:lnTo>
                  <a:lnTo>
                    <a:pt x="1108" y="1626"/>
                  </a:lnTo>
                  <a:lnTo>
                    <a:pt x="1108" y="1626"/>
                  </a:lnTo>
                  <a:lnTo>
                    <a:pt x="1108" y="1630"/>
                  </a:lnTo>
                  <a:lnTo>
                    <a:pt x="1122" y="1648"/>
                  </a:lnTo>
                  <a:lnTo>
                    <a:pt x="1122" y="1648"/>
                  </a:lnTo>
                  <a:lnTo>
                    <a:pt x="1124" y="1648"/>
                  </a:lnTo>
                  <a:lnTo>
                    <a:pt x="1124" y="1648"/>
                  </a:lnTo>
                  <a:lnTo>
                    <a:pt x="1126" y="1648"/>
                  </a:lnTo>
                  <a:lnTo>
                    <a:pt x="1148" y="1622"/>
                  </a:lnTo>
                  <a:lnTo>
                    <a:pt x="1156" y="1624"/>
                  </a:lnTo>
                  <a:lnTo>
                    <a:pt x="1156" y="1624"/>
                  </a:lnTo>
                  <a:lnTo>
                    <a:pt x="1160" y="1624"/>
                  </a:lnTo>
                  <a:lnTo>
                    <a:pt x="1168" y="1616"/>
                  </a:lnTo>
                  <a:lnTo>
                    <a:pt x="1202" y="1606"/>
                  </a:lnTo>
                  <a:lnTo>
                    <a:pt x="1202" y="1606"/>
                  </a:lnTo>
                  <a:lnTo>
                    <a:pt x="1202" y="1604"/>
                  </a:lnTo>
                  <a:lnTo>
                    <a:pt x="1204" y="1602"/>
                  </a:lnTo>
                  <a:lnTo>
                    <a:pt x="1202" y="1598"/>
                  </a:lnTo>
                  <a:lnTo>
                    <a:pt x="1222" y="1588"/>
                  </a:lnTo>
                  <a:lnTo>
                    <a:pt x="1222" y="1588"/>
                  </a:lnTo>
                  <a:lnTo>
                    <a:pt x="1224" y="1586"/>
                  </a:lnTo>
                  <a:lnTo>
                    <a:pt x="1224" y="1586"/>
                  </a:lnTo>
                  <a:lnTo>
                    <a:pt x="1222" y="1584"/>
                  </a:lnTo>
                  <a:lnTo>
                    <a:pt x="1212" y="1578"/>
                  </a:lnTo>
                  <a:lnTo>
                    <a:pt x="1212" y="1572"/>
                  </a:lnTo>
                  <a:lnTo>
                    <a:pt x="1212" y="1572"/>
                  </a:lnTo>
                  <a:lnTo>
                    <a:pt x="1212" y="1570"/>
                  </a:lnTo>
                  <a:lnTo>
                    <a:pt x="1208" y="1560"/>
                  </a:lnTo>
                  <a:lnTo>
                    <a:pt x="1208" y="1560"/>
                  </a:lnTo>
                  <a:lnTo>
                    <a:pt x="1206" y="1558"/>
                  </a:lnTo>
                  <a:lnTo>
                    <a:pt x="1206" y="1558"/>
                  </a:lnTo>
                  <a:lnTo>
                    <a:pt x="1202" y="1560"/>
                  </a:lnTo>
                  <a:lnTo>
                    <a:pt x="1198" y="1572"/>
                  </a:lnTo>
                  <a:lnTo>
                    <a:pt x="1188" y="1580"/>
                  </a:lnTo>
                  <a:lnTo>
                    <a:pt x="1188" y="1580"/>
                  </a:lnTo>
                  <a:lnTo>
                    <a:pt x="1188" y="1582"/>
                  </a:lnTo>
                  <a:lnTo>
                    <a:pt x="1190" y="1592"/>
                  </a:lnTo>
                  <a:lnTo>
                    <a:pt x="1188" y="1592"/>
                  </a:lnTo>
                  <a:lnTo>
                    <a:pt x="1188" y="1588"/>
                  </a:lnTo>
                  <a:lnTo>
                    <a:pt x="1188" y="1588"/>
                  </a:lnTo>
                  <a:lnTo>
                    <a:pt x="1186" y="1586"/>
                  </a:lnTo>
                  <a:lnTo>
                    <a:pt x="1186" y="1586"/>
                  </a:lnTo>
                  <a:lnTo>
                    <a:pt x="1184" y="1586"/>
                  </a:lnTo>
                  <a:lnTo>
                    <a:pt x="1178" y="1590"/>
                  </a:lnTo>
                  <a:lnTo>
                    <a:pt x="1178" y="1590"/>
                  </a:lnTo>
                  <a:lnTo>
                    <a:pt x="1178" y="1588"/>
                  </a:lnTo>
                  <a:lnTo>
                    <a:pt x="1178" y="1584"/>
                  </a:lnTo>
                  <a:lnTo>
                    <a:pt x="1186" y="1578"/>
                  </a:lnTo>
                  <a:lnTo>
                    <a:pt x="1186" y="1578"/>
                  </a:lnTo>
                  <a:lnTo>
                    <a:pt x="1186" y="1576"/>
                  </a:lnTo>
                  <a:lnTo>
                    <a:pt x="1186" y="1576"/>
                  </a:lnTo>
                  <a:lnTo>
                    <a:pt x="1182" y="1574"/>
                  </a:lnTo>
                  <a:lnTo>
                    <a:pt x="1174" y="1574"/>
                  </a:lnTo>
                  <a:lnTo>
                    <a:pt x="1164" y="1572"/>
                  </a:lnTo>
                  <a:lnTo>
                    <a:pt x="1154" y="1566"/>
                  </a:lnTo>
                  <a:lnTo>
                    <a:pt x="1152" y="1562"/>
                  </a:lnTo>
                  <a:lnTo>
                    <a:pt x="1152" y="1562"/>
                  </a:lnTo>
                  <a:lnTo>
                    <a:pt x="1150" y="1560"/>
                  </a:lnTo>
                  <a:lnTo>
                    <a:pt x="1150" y="1560"/>
                  </a:lnTo>
                  <a:lnTo>
                    <a:pt x="1148" y="1562"/>
                  </a:lnTo>
                  <a:lnTo>
                    <a:pt x="1144" y="1568"/>
                  </a:lnTo>
                  <a:lnTo>
                    <a:pt x="1144" y="1568"/>
                  </a:lnTo>
                  <a:lnTo>
                    <a:pt x="1142" y="1570"/>
                  </a:lnTo>
                  <a:lnTo>
                    <a:pt x="1144" y="1572"/>
                  </a:lnTo>
                  <a:lnTo>
                    <a:pt x="1152" y="1580"/>
                  </a:lnTo>
                  <a:lnTo>
                    <a:pt x="1152" y="1580"/>
                  </a:lnTo>
                  <a:lnTo>
                    <a:pt x="1150" y="1580"/>
                  </a:lnTo>
                  <a:lnTo>
                    <a:pt x="1148" y="1582"/>
                  </a:lnTo>
                  <a:lnTo>
                    <a:pt x="1148" y="1582"/>
                  </a:lnTo>
                  <a:lnTo>
                    <a:pt x="1148" y="1582"/>
                  </a:lnTo>
                  <a:lnTo>
                    <a:pt x="1148" y="1580"/>
                  </a:lnTo>
                  <a:lnTo>
                    <a:pt x="1146" y="1578"/>
                  </a:lnTo>
                  <a:lnTo>
                    <a:pt x="1146" y="1578"/>
                  </a:lnTo>
                  <a:lnTo>
                    <a:pt x="1146" y="1578"/>
                  </a:lnTo>
                  <a:lnTo>
                    <a:pt x="1144" y="1576"/>
                  </a:lnTo>
                  <a:lnTo>
                    <a:pt x="1140" y="1574"/>
                  </a:lnTo>
                  <a:lnTo>
                    <a:pt x="1138" y="1574"/>
                  </a:lnTo>
                  <a:lnTo>
                    <a:pt x="1138" y="1572"/>
                  </a:lnTo>
                  <a:lnTo>
                    <a:pt x="1138" y="1572"/>
                  </a:lnTo>
                  <a:lnTo>
                    <a:pt x="1138" y="1570"/>
                  </a:lnTo>
                  <a:lnTo>
                    <a:pt x="1138" y="1570"/>
                  </a:lnTo>
                  <a:lnTo>
                    <a:pt x="1138" y="1568"/>
                  </a:lnTo>
                  <a:lnTo>
                    <a:pt x="1140" y="1566"/>
                  </a:lnTo>
                  <a:lnTo>
                    <a:pt x="1140" y="1566"/>
                  </a:lnTo>
                  <a:lnTo>
                    <a:pt x="1140" y="1566"/>
                  </a:lnTo>
                  <a:lnTo>
                    <a:pt x="1142" y="1566"/>
                  </a:lnTo>
                  <a:lnTo>
                    <a:pt x="1142" y="1564"/>
                  </a:lnTo>
                  <a:lnTo>
                    <a:pt x="1142" y="1564"/>
                  </a:lnTo>
                  <a:lnTo>
                    <a:pt x="1142" y="1562"/>
                  </a:lnTo>
                  <a:lnTo>
                    <a:pt x="1142" y="1562"/>
                  </a:lnTo>
                  <a:lnTo>
                    <a:pt x="1142" y="1562"/>
                  </a:lnTo>
                  <a:lnTo>
                    <a:pt x="1140" y="1560"/>
                  </a:lnTo>
                  <a:lnTo>
                    <a:pt x="1140" y="1560"/>
                  </a:lnTo>
                  <a:lnTo>
                    <a:pt x="1140" y="1560"/>
                  </a:lnTo>
                  <a:lnTo>
                    <a:pt x="1138" y="1558"/>
                  </a:lnTo>
                  <a:lnTo>
                    <a:pt x="1138" y="1558"/>
                  </a:lnTo>
                  <a:lnTo>
                    <a:pt x="1136" y="1558"/>
                  </a:lnTo>
                  <a:lnTo>
                    <a:pt x="1134" y="1558"/>
                  </a:lnTo>
                  <a:lnTo>
                    <a:pt x="1132" y="1558"/>
                  </a:lnTo>
                  <a:lnTo>
                    <a:pt x="1132" y="1558"/>
                  </a:lnTo>
                  <a:lnTo>
                    <a:pt x="1134" y="1556"/>
                  </a:lnTo>
                  <a:lnTo>
                    <a:pt x="1136" y="1554"/>
                  </a:lnTo>
                  <a:lnTo>
                    <a:pt x="1138" y="1552"/>
                  </a:lnTo>
                  <a:lnTo>
                    <a:pt x="1138" y="1548"/>
                  </a:lnTo>
                  <a:lnTo>
                    <a:pt x="1138" y="1548"/>
                  </a:lnTo>
                  <a:lnTo>
                    <a:pt x="1138" y="1548"/>
                  </a:lnTo>
                  <a:lnTo>
                    <a:pt x="1140" y="1546"/>
                  </a:lnTo>
                  <a:lnTo>
                    <a:pt x="1140" y="1546"/>
                  </a:lnTo>
                  <a:lnTo>
                    <a:pt x="1140" y="1546"/>
                  </a:lnTo>
                  <a:lnTo>
                    <a:pt x="1140" y="1544"/>
                  </a:lnTo>
                  <a:lnTo>
                    <a:pt x="1140" y="1544"/>
                  </a:lnTo>
                  <a:lnTo>
                    <a:pt x="1140" y="1542"/>
                  </a:lnTo>
                  <a:lnTo>
                    <a:pt x="1138" y="1542"/>
                  </a:lnTo>
                  <a:lnTo>
                    <a:pt x="1138" y="1542"/>
                  </a:lnTo>
                  <a:lnTo>
                    <a:pt x="1136" y="1540"/>
                  </a:lnTo>
                  <a:lnTo>
                    <a:pt x="1136" y="1540"/>
                  </a:lnTo>
                  <a:lnTo>
                    <a:pt x="1136" y="1540"/>
                  </a:lnTo>
                  <a:lnTo>
                    <a:pt x="1134" y="1540"/>
                  </a:lnTo>
                  <a:lnTo>
                    <a:pt x="1134" y="1540"/>
                  </a:lnTo>
                  <a:lnTo>
                    <a:pt x="1132" y="1540"/>
                  </a:lnTo>
                  <a:lnTo>
                    <a:pt x="1128" y="1542"/>
                  </a:lnTo>
                  <a:lnTo>
                    <a:pt x="1126" y="1542"/>
                  </a:lnTo>
                  <a:lnTo>
                    <a:pt x="1126" y="1542"/>
                  </a:lnTo>
                  <a:lnTo>
                    <a:pt x="1124" y="1540"/>
                  </a:lnTo>
                  <a:lnTo>
                    <a:pt x="1122" y="1540"/>
                  </a:lnTo>
                  <a:lnTo>
                    <a:pt x="1118" y="1536"/>
                  </a:lnTo>
                  <a:lnTo>
                    <a:pt x="1116" y="1536"/>
                  </a:lnTo>
                  <a:lnTo>
                    <a:pt x="1114" y="1534"/>
                  </a:lnTo>
                  <a:lnTo>
                    <a:pt x="1114" y="1534"/>
                  </a:lnTo>
                  <a:lnTo>
                    <a:pt x="1114" y="1534"/>
                  </a:lnTo>
                  <a:lnTo>
                    <a:pt x="1116" y="1532"/>
                  </a:lnTo>
                  <a:lnTo>
                    <a:pt x="1118" y="1530"/>
                  </a:lnTo>
                  <a:lnTo>
                    <a:pt x="1120" y="1528"/>
                  </a:lnTo>
                  <a:lnTo>
                    <a:pt x="1124" y="1526"/>
                  </a:lnTo>
                  <a:lnTo>
                    <a:pt x="1126" y="1522"/>
                  </a:lnTo>
                  <a:lnTo>
                    <a:pt x="1126" y="1522"/>
                  </a:lnTo>
                  <a:lnTo>
                    <a:pt x="1128" y="1522"/>
                  </a:lnTo>
                  <a:lnTo>
                    <a:pt x="1128" y="1520"/>
                  </a:lnTo>
                  <a:lnTo>
                    <a:pt x="1128" y="1520"/>
                  </a:lnTo>
                  <a:lnTo>
                    <a:pt x="1130" y="1520"/>
                  </a:lnTo>
                  <a:lnTo>
                    <a:pt x="1130" y="1520"/>
                  </a:lnTo>
                  <a:lnTo>
                    <a:pt x="1130" y="1520"/>
                  </a:lnTo>
                  <a:lnTo>
                    <a:pt x="1130" y="1518"/>
                  </a:lnTo>
                  <a:lnTo>
                    <a:pt x="1130" y="1518"/>
                  </a:lnTo>
                  <a:lnTo>
                    <a:pt x="1130" y="1518"/>
                  </a:lnTo>
                  <a:lnTo>
                    <a:pt x="1130" y="1516"/>
                  </a:lnTo>
                  <a:lnTo>
                    <a:pt x="1128" y="1514"/>
                  </a:lnTo>
                  <a:lnTo>
                    <a:pt x="1128" y="1514"/>
                  </a:lnTo>
                  <a:lnTo>
                    <a:pt x="1128" y="1514"/>
                  </a:lnTo>
                  <a:lnTo>
                    <a:pt x="1126" y="1512"/>
                  </a:lnTo>
                  <a:lnTo>
                    <a:pt x="1126" y="1512"/>
                  </a:lnTo>
                  <a:lnTo>
                    <a:pt x="1126" y="1512"/>
                  </a:lnTo>
                  <a:lnTo>
                    <a:pt x="1124" y="1510"/>
                  </a:lnTo>
                  <a:lnTo>
                    <a:pt x="1124" y="1510"/>
                  </a:lnTo>
                  <a:lnTo>
                    <a:pt x="1124" y="1510"/>
                  </a:lnTo>
                  <a:lnTo>
                    <a:pt x="1120" y="1508"/>
                  </a:lnTo>
                  <a:lnTo>
                    <a:pt x="1116" y="1506"/>
                  </a:lnTo>
                  <a:lnTo>
                    <a:pt x="1116" y="1506"/>
                  </a:lnTo>
                  <a:lnTo>
                    <a:pt x="1116" y="1506"/>
                  </a:lnTo>
                  <a:lnTo>
                    <a:pt x="1112" y="1504"/>
                  </a:lnTo>
                  <a:lnTo>
                    <a:pt x="1112" y="1504"/>
                  </a:lnTo>
                  <a:lnTo>
                    <a:pt x="1112" y="1504"/>
                  </a:lnTo>
                  <a:lnTo>
                    <a:pt x="1108" y="1504"/>
                  </a:lnTo>
                  <a:lnTo>
                    <a:pt x="1108" y="1504"/>
                  </a:lnTo>
                  <a:lnTo>
                    <a:pt x="1106" y="1504"/>
                  </a:lnTo>
                  <a:lnTo>
                    <a:pt x="1102" y="1506"/>
                  </a:lnTo>
                  <a:lnTo>
                    <a:pt x="1102" y="1506"/>
                  </a:lnTo>
                  <a:lnTo>
                    <a:pt x="1102" y="1506"/>
                  </a:lnTo>
                  <a:lnTo>
                    <a:pt x="1098" y="1506"/>
                  </a:lnTo>
                  <a:lnTo>
                    <a:pt x="1094" y="1508"/>
                  </a:lnTo>
                  <a:lnTo>
                    <a:pt x="1088" y="1512"/>
                  </a:lnTo>
                  <a:lnTo>
                    <a:pt x="1084" y="1514"/>
                  </a:lnTo>
                  <a:lnTo>
                    <a:pt x="1078" y="1518"/>
                  </a:lnTo>
                  <a:lnTo>
                    <a:pt x="1072" y="1522"/>
                  </a:lnTo>
                  <a:lnTo>
                    <a:pt x="1068" y="1526"/>
                  </a:lnTo>
                  <a:lnTo>
                    <a:pt x="1064" y="1530"/>
                  </a:lnTo>
                  <a:lnTo>
                    <a:pt x="1058" y="1536"/>
                  </a:lnTo>
                  <a:lnTo>
                    <a:pt x="1054" y="1542"/>
                  </a:lnTo>
                  <a:lnTo>
                    <a:pt x="1050" y="1548"/>
                  </a:lnTo>
                  <a:lnTo>
                    <a:pt x="1048" y="1556"/>
                  </a:lnTo>
                  <a:lnTo>
                    <a:pt x="1044" y="1562"/>
                  </a:lnTo>
                  <a:lnTo>
                    <a:pt x="1040" y="1568"/>
                  </a:lnTo>
                  <a:lnTo>
                    <a:pt x="1038" y="1572"/>
                  </a:lnTo>
                  <a:lnTo>
                    <a:pt x="1034" y="1576"/>
                  </a:lnTo>
                  <a:lnTo>
                    <a:pt x="1032" y="1578"/>
                  </a:lnTo>
                  <a:lnTo>
                    <a:pt x="1030" y="1580"/>
                  </a:lnTo>
                  <a:lnTo>
                    <a:pt x="1030" y="1582"/>
                  </a:lnTo>
                  <a:lnTo>
                    <a:pt x="1028" y="1582"/>
                  </a:lnTo>
                  <a:lnTo>
                    <a:pt x="1028" y="1584"/>
                  </a:lnTo>
                  <a:lnTo>
                    <a:pt x="1026" y="1584"/>
                  </a:lnTo>
                  <a:lnTo>
                    <a:pt x="1024" y="1584"/>
                  </a:lnTo>
                  <a:lnTo>
                    <a:pt x="1020" y="1586"/>
                  </a:lnTo>
                  <a:lnTo>
                    <a:pt x="1020" y="1588"/>
                  </a:lnTo>
                  <a:lnTo>
                    <a:pt x="1018" y="1588"/>
                  </a:lnTo>
                  <a:lnTo>
                    <a:pt x="1012" y="1590"/>
                  </a:lnTo>
                  <a:lnTo>
                    <a:pt x="1006" y="1592"/>
                  </a:lnTo>
                  <a:lnTo>
                    <a:pt x="1004" y="1594"/>
                  </a:lnTo>
                  <a:lnTo>
                    <a:pt x="1006" y="1592"/>
                  </a:lnTo>
                  <a:lnTo>
                    <a:pt x="1014" y="1588"/>
                  </a:lnTo>
                  <a:lnTo>
                    <a:pt x="1020" y="1582"/>
                  </a:lnTo>
                  <a:lnTo>
                    <a:pt x="1028" y="1578"/>
                  </a:lnTo>
                  <a:lnTo>
                    <a:pt x="1030" y="1576"/>
                  </a:lnTo>
                  <a:lnTo>
                    <a:pt x="1034" y="1574"/>
                  </a:lnTo>
                  <a:lnTo>
                    <a:pt x="1038" y="1568"/>
                  </a:lnTo>
                  <a:lnTo>
                    <a:pt x="1038" y="1568"/>
                  </a:lnTo>
                  <a:lnTo>
                    <a:pt x="1038" y="1568"/>
                  </a:lnTo>
                  <a:lnTo>
                    <a:pt x="1040" y="1562"/>
                  </a:lnTo>
                  <a:lnTo>
                    <a:pt x="1044" y="1556"/>
                  </a:lnTo>
                  <a:lnTo>
                    <a:pt x="1046" y="1552"/>
                  </a:lnTo>
                  <a:lnTo>
                    <a:pt x="1048" y="1546"/>
                  </a:lnTo>
                  <a:lnTo>
                    <a:pt x="1052" y="1540"/>
                  </a:lnTo>
                  <a:lnTo>
                    <a:pt x="1054" y="1536"/>
                  </a:lnTo>
                  <a:lnTo>
                    <a:pt x="1058" y="1530"/>
                  </a:lnTo>
                  <a:lnTo>
                    <a:pt x="1068" y="1522"/>
                  </a:lnTo>
                  <a:lnTo>
                    <a:pt x="1072" y="1518"/>
                  </a:lnTo>
                  <a:lnTo>
                    <a:pt x="1078" y="1514"/>
                  </a:lnTo>
                  <a:lnTo>
                    <a:pt x="1084" y="1510"/>
                  </a:lnTo>
                  <a:lnTo>
                    <a:pt x="1090" y="1506"/>
                  </a:lnTo>
                  <a:lnTo>
                    <a:pt x="1098" y="1504"/>
                  </a:lnTo>
                  <a:lnTo>
                    <a:pt x="1108" y="1500"/>
                  </a:lnTo>
                  <a:lnTo>
                    <a:pt x="1112" y="1500"/>
                  </a:lnTo>
                  <a:lnTo>
                    <a:pt x="1118" y="1498"/>
                  </a:lnTo>
                  <a:lnTo>
                    <a:pt x="1124" y="1498"/>
                  </a:lnTo>
                  <a:lnTo>
                    <a:pt x="1132" y="1498"/>
                  </a:lnTo>
                  <a:lnTo>
                    <a:pt x="1146" y="1496"/>
                  </a:lnTo>
                  <a:lnTo>
                    <a:pt x="1162" y="1496"/>
                  </a:lnTo>
                  <a:lnTo>
                    <a:pt x="1176" y="1494"/>
                  </a:lnTo>
                  <a:lnTo>
                    <a:pt x="1184" y="1494"/>
                  </a:lnTo>
                  <a:lnTo>
                    <a:pt x="1190" y="1494"/>
                  </a:lnTo>
                  <a:lnTo>
                    <a:pt x="1196" y="1494"/>
                  </a:lnTo>
                  <a:lnTo>
                    <a:pt x="1202" y="1494"/>
                  </a:lnTo>
                  <a:lnTo>
                    <a:pt x="1208" y="1492"/>
                  </a:lnTo>
                  <a:lnTo>
                    <a:pt x="1212" y="1492"/>
                  </a:lnTo>
                  <a:lnTo>
                    <a:pt x="1214" y="1492"/>
                  </a:lnTo>
                  <a:lnTo>
                    <a:pt x="1218" y="1490"/>
                  </a:lnTo>
                  <a:lnTo>
                    <a:pt x="1220" y="1490"/>
                  </a:lnTo>
                  <a:lnTo>
                    <a:pt x="1222" y="1490"/>
                  </a:lnTo>
                  <a:lnTo>
                    <a:pt x="1222" y="1490"/>
                  </a:lnTo>
                  <a:lnTo>
                    <a:pt x="1222" y="1490"/>
                  </a:lnTo>
                  <a:lnTo>
                    <a:pt x="1222" y="1488"/>
                  </a:lnTo>
                  <a:lnTo>
                    <a:pt x="1222" y="1488"/>
                  </a:lnTo>
                  <a:lnTo>
                    <a:pt x="1224" y="1488"/>
                  </a:lnTo>
                  <a:lnTo>
                    <a:pt x="1224" y="1488"/>
                  </a:lnTo>
                  <a:lnTo>
                    <a:pt x="1224" y="1488"/>
                  </a:lnTo>
                  <a:lnTo>
                    <a:pt x="1224" y="1486"/>
                  </a:lnTo>
                  <a:lnTo>
                    <a:pt x="1224" y="1484"/>
                  </a:lnTo>
                  <a:lnTo>
                    <a:pt x="1224" y="1484"/>
                  </a:lnTo>
                  <a:lnTo>
                    <a:pt x="1224" y="1484"/>
                  </a:lnTo>
                  <a:lnTo>
                    <a:pt x="1222" y="1482"/>
                  </a:lnTo>
                  <a:lnTo>
                    <a:pt x="1222" y="1482"/>
                  </a:lnTo>
                  <a:lnTo>
                    <a:pt x="1222" y="1480"/>
                  </a:lnTo>
                  <a:lnTo>
                    <a:pt x="1222" y="1480"/>
                  </a:lnTo>
                  <a:lnTo>
                    <a:pt x="1222" y="1480"/>
                  </a:lnTo>
                  <a:lnTo>
                    <a:pt x="1224" y="1478"/>
                  </a:lnTo>
                  <a:lnTo>
                    <a:pt x="1228" y="1474"/>
                  </a:lnTo>
                  <a:lnTo>
                    <a:pt x="1234" y="1468"/>
                  </a:lnTo>
                  <a:lnTo>
                    <a:pt x="1236" y="1464"/>
                  </a:lnTo>
                  <a:lnTo>
                    <a:pt x="1240" y="1460"/>
                  </a:lnTo>
                  <a:lnTo>
                    <a:pt x="1242" y="1458"/>
                  </a:lnTo>
                  <a:lnTo>
                    <a:pt x="1244" y="1456"/>
                  </a:lnTo>
                  <a:lnTo>
                    <a:pt x="1246" y="1454"/>
                  </a:lnTo>
                  <a:lnTo>
                    <a:pt x="1246" y="1454"/>
                  </a:lnTo>
                  <a:lnTo>
                    <a:pt x="1248" y="1454"/>
                  </a:lnTo>
                  <a:lnTo>
                    <a:pt x="1250" y="1454"/>
                  </a:lnTo>
                  <a:lnTo>
                    <a:pt x="1252" y="1456"/>
                  </a:lnTo>
                  <a:lnTo>
                    <a:pt x="1252" y="1456"/>
                  </a:lnTo>
                  <a:lnTo>
                    <a:pt x="1252" y="1456"/>
                  </a:lnTo>
                  <a:lnTo>
                    <a:pt x="1254" y="1456"/>
                  </a:lnTo>
                  <a:lnTo>
                    <a:pt x="1254" y="1456"/>
                  </a:lnTo>
                  <a:lnTo>
                    <a:pt x="1254" y="1456"/>
                  </a:lnTo>
                  <a:lnTo>
                    <a:pt x="1254" y="1454"/>
                  </a:lnTo>
                  <a:lnTo>
                    <a:pt x="1254" y="1456"/>
                  </a:lnTo>
                  <a:lnTo>
                    <a:pt x="1254" y="1456"/>
                  </a:lnTo>
                  <a:lnTo>
                    <a:pt x="1252" y="1458"/>
                  </a:lnTo>
                  <a:lnTo>
                    <a:pt x="1250" y="1458"/>
                  </a:lnTo>
                  <a:lnTo>
                    <a:pt x="1250" y="1458"/>
                  </a:lnTo>
                  <a:lnTo>
                    <a:pt x="1250" y="1460"/>
                  </a:lnTo>
                  <a:lnTo>
                    <a:pt x="1248" y="1462"/>
                  </a:lnTo>
                  <a:lnTo>
                    <a:pt x="1248" y="1460"/>
                  </a:lnTo>
                  <a:lnTo>
                    <a:pt x="1248" y="1460"/>
                  </a:lnTo>
                  <a:lnTo>
                    <a:pt x="1246" y="1460"/>
                  </a:lnTo>
                  <a:lnTo>
                    <a:pt x="1242" y="1460"/>
                  </a:lnTo>
                  <a:lnTo>
                    <a:pt x="1242" y="1460"/>
                  </a:lnTo>
                  <a:lnTo>
                    <a:pt x="1240" y="1460"/>
                  </a:lnTo>
                  <a:lnTo>
                    <a:pt x="1238" y="1462"/>
                  </a:lnTo>
                  <a:lnTo>
                    <a:pt x="1238" y="1462"/>
                  </a:lnTo>
                  <a:lnTo>
                    <a:pt x="1238" y="1464"/>
                  </a:lnTo>
                  <a:lnTo>
                    <a:pt x="1240" y="1466"/>
                  </a:lnTo>
                  <a:lnTo>
                    <a:pt x="1244" y="1466"/>
                  </a:lnTo>
                  <a:lnTo>
                    <a:pt x="1246" y="1468"/>
                  </a:lnTo>
                  <a:lnTo>
                    <a:pt x="1246" y="1468"/>
                  </a:lnTo>
                  <a:lnTo>
                    <a:pt x="1246" y="1468"/>
                  </a:lnTo>
                  <a:lnTo>
                    <a:pt x="1246" y="1470"/>
                  </a:lnTo>
                  <a:lnTo>
                    <a:pt x="1248" y="1470"/>
                  </a:lnTo>
                  <a:lnTo>
                    <a:pt x="1248" y="1470"/>
                  </a:lnTo>
                  <a:lnTo>
                    <a:pt x="1250" y="1470"/>
                  </a:lnTo>
                  <a:lnTo>
                    <a:pt x="1250" y="1470"/>
                  </a:lnTo>
                  <a:lnTo>
                    <a:pt x="1250" y="1472"/>
                  </a:lnTo>
                  <a:lnTo>
                    <a:pt x="1248" y="1474"/>
                  </a:lnTo>
                  <a:lnTo>
                    <a:pt x="1244" y="1476"/>
                  </a:lnTo>
                  <a:lnTo>
                    <a:pt x="1244" y="1476"/>
                  </a:lnTo>
                  <a:lnTo>
                    <a:pt x="1244" y="1476"/>
                  </a:lnTo>
                  <a:lnTo>
                    <a:pt x="1242" y="1478"/>
                  </a:lnTo>
                  <a:lnTo>
                    <a:pt x="1240" y="1480"/>
                  </a:lnTo>
                  <a:lnTo>
                    <a:pt x="1238" y="1482"/>
                  </a:lnTo>
                  <a:lnTo>
                    <a:pt x="1238" y="1482"/>
                  </a:lnTo>
                  <a:lnTo>
                    <a:pt x="1238" y="1482"/>
                  </a:lnTo>
                  <a:lnTo>
                    <a:pt x="1236" y="1484"/>
                  </a:lnTo>
                  <a:lnTo>
                    <a:pt x="1236" y="1484"/>
                  </a:lnTo>
                  <a:lnTo>
                    <a:pt x="1236" y="1486"/>
                  </a:lnTo>
                  <a:lnTo>
                    <a:pt x="1236" y="1488"/>
                  </a:lnTo>
                  <a:lnTo>
                    <a:pt x="1234" y="1492"/>
                  </a:lnTo>
                  <a:lnTo>
                    <a:pt x="1234" y="1498"/>
                  </a:lnTo>
                  <a:lnTo>
                    <a:pt x="1232" y="1504"/>
                  </a:lnTo>
                  <a:lnTo>
                    <a:pt x="1232" y="1512"/>
                  </a:lnTo>
                  <a:lnTo>
                    <a:pt x="1230" y="1518"/>
                  </a:lnTo>
                  <a:lnTo>
                    <a:pt x="1228" y="1520"/>
                  </a:lnTo>
                  <a:lnTo>
                    <a:pt x="1226" y="1522"/>
                  </a:lnTo>
                  <a:lnTo>
                    <a:pt x="1224" y="1526"/>
                  </a:lnTo>
                  <a:lnTo>
                    <a:pt x="1222" y="1526"/>
                  </a:lnTo>
                  <a:lnTo>
                    <a:pt x="1220" y="1528"/>
                  </a:lnTo>
                  <a:lnTo>
                    <a:pt x="1218" y="1528"/>
                  </a:lnTo>
                  <a:lnTo>
                    <a:pt x="1218" y="1528"/>
                  </a:lnTo>
                  <a:lnTo>
                    <a:pt x="1216" y="1528"/>
                  </a:lnTo>
                  <a:lnTo>
                    <a:pt x="1216" y="1530"/>
                  </a:lnTo>
                  <a:lnTo>
                    <a:pt x="1216" y="1530"/>
                  </a:lnTo>
                  <a:lnTo>
                    <a:pt x="1216" y="1530"/>
                  </a:lnTo>
                  <a:lnTo>
                    <a:pt x="1214" y="1530"/>
                  </a:lnTo>
                  <a:lnTo>
                    <a:pt x="1214" y="1530"/>
                  </a:lnTo>
                  <a:lnTo>
                    <a:pt x="1214" y="1532"/>
                  </a:lnTo>
                  <a:lnTo>
                    <a:pt x="1214" y="1534"/>
                  </a:lnTo>
                  <a:lnTo>
                    <a:pt x="1214" y="1534"/>
                  </a:lnTo>
                  <a:lnTo>
                    <a:pt x="1214" y="1534"/>
                  </a:lnTo>
                  <a:lnTo>
                    <a:pt x="1214" y="1536"/>
                  </a:lnTo>
                  <a:lnTo>
                    <a:pt x="1214" y="1536"/>
                  </a:lnTo>
                  <a:lnTo>
                    <a:pt x="1214" y="1536"/>
                  </a:lnTo>
                  <a:lnTo>
                    <a:pt x="1214" y="1538"/>
                  </a:lnTo>
                  <a:lnTo>
                    <a:pt x="1214" y="1538"/>
                  </a:lnTo>
                  <a:lnTo>
                    <a:pt x="1214" y="1540"/>
                  </a:lnTo>
                  <a:lnTo>
                    <a:pt x="1214" y="1540"/>
                  </a:lnTo>
                  <a:lnTo>
                    <a:pt x="1214" y="1540"/>
                  </a:lnTo>
                  <a:lnTo>
                    <a:pt x="1212" y="1542"/>
                  </a:lnTo>
                  <a:lnTo>
                    <a:pt x="1210" y="1542"/>
                  </a:lnTo>
                  <a:lnTo>
                    <a:pt x="1210" y="1542"/>
                  </a:lnTo>
                  <a:lnTo>
                    <a:pt x="1210" y="1544"/>
                  </a:lnTo>
                  <a:lnTo>
                    <a:pt x="1210" y="1546"/>
                  </a:lnTo>
                  <a:lnTo>
                    <a:pt x="1212" y="1548"/>
                  </a:lnTo>
                  <a:lnTo>
                    <a:pt x="1212" y="1548"/>
                  </a:lnTo>
                  <a:lnTo>
                    <a:pt x="1212" y="1550"/>
                  </a:lnTo>
                  <a:lnTo>
                    <a:pt x="1214" y="1550"/>
                  </a:lnTo>
                  <a:lnTo>
                    <a:pt x="1214" y="1550"/>
                  </a:lnTo>
                  <a:lnTo>
                    <a:pt x="1214" y="1552"/>
                  </a:lnTo>
                  <a:lnTo>
                    <a:pt x="1216" y="1552"/>
                  </a:lnTo>
                  <a:lnTo>
                    <a:pt x="1216" y="1552"/>
                  </a:lnTo>
                  <a:lnTo>
                    <a:pt x="1216" y="1552"/>
                  </a:lnTo>
                  <a:lnTo>
                    <a:pt x="1218" y="1554"/>
                  </a:lnTo>
                  <a:lnTo>
                    <a:pt x="1218" y="1554"/>
                  </a:lnTo>
                  <a:lnTo>
                    <a:pt x="1220" y="1554"/>
                  </a:lnTo>
                  <a:lnTo>
                    <a:pt x="1224" y="1554"/>
                  </a:lnTo>
                  <a:lnTo>
                    <a:pt x="1224" y="1554"/>
                  </a:lnTo>
                  <a:lnTo>
                    <a:pt x="1224" y="1554"/>
                  </a:lnTo>
                  <a:lnTo>
                    <a:pt x="1230" y="1554"/>
                  </a:lnTo>
                  <a:lnTo>
                    <a:pt x="1236" y="1552"/>
                  </a:lnTo>
                  <a:lnTo>
                    <a:pt x="1240" y="1552"/>
                  </a:lnTo>
                  <a:lnTo>
                    <a:pt x="1242" y="1554"/>
                  </a:lnTo>
                  <a:lnTo>
                    <a:pt x="1242" y="1554"/>
                  </a:lnTo>
                  <a:lnTo>
                    <a:pt x="1244" y="1554"/>
                  </a:lnTo>
                  <a:lnTo>
                    <a:pt x="1246" y="1556"/>
                  </a:lnTo>
                  <a:lnTo>
                    <a:pt x="1246" y="1556"/>
                  </a:lnTo>
                  <a:lnTo>
                    <a:pt x="1248" y="1560"/>
                  </a:lnTo>
                  <a:lnTo>
                    <a:pt x="1248" y="1560"/>
                  </a:lnTo>
                  <a:lnTo>
                    <a:pt x="1248" y="1562"/>
                  </a:lnTo>
                  <a:lnTo>
                    <a:pt x="1250" y="1566"/>
                  </a:lnTo>
                  <a:lnTo>
                    <a:pt x="1250" y="1566"/>
                  </a:lnTo>
                  <a:lnTo>
                    <a:pt x="1250" y="1566"/>
                  </a:lnTo>
                  <a:lnTo>
                    <a:pt x="1254" y="1570"/>
                  </a:lnTo>
                  <a:lnTo>
                    <a:pt x="1254" y="1570"/>
                  </a:lnTo>
                  <a:lnTo>
                    <a:pt x="1254" y="1570"/>
                  </a:lnTo>
                  <a:lnTo>
                    <a:pt x="1256" y="1572"/>
                  </a:lnTo>
                  <a:lnTo>
                    <a:pt x="1260" y="1574"/>
                  </a:lnTo>
                  <a:lnTo>
                    <a:pt x="1260" y="1574"/>
                  </a:lnTo>
                  <a:lnTo>
                    <a:pt x="1262" y="1574"/>
                  </a:lnTo>
                  <a:lnTo>
                    <a:pt x="1266" y="1572"/>
                  </a:lnTo>
                  <a:lnTo>
                    <a:pt x="1268" y="1572"/>
                  </a:lnTo>
                  <a:lnTo>
                    <a:pt x="1270" y="1570"/>
                  </a:lnTo>
                  <a:lnTo>
                    <a:pt x="1272" y="1568"/>
                  </a:lnTo>
                  <a:lnTo>
                    <a:pt x="1274" y="1568"/>
                  </a:lnTo>
                  <a:lnTo>
                    <a:pt x="1276" y="1566"/>
                  </a:lnTo>
                  <a:lnTo>
                    <a:pt x="1278" y="1566"/>
                  </a:lnTo>
                  <a:lnTo>
                    <a:pt x="1282" y="1566"/>
                  </a:lnTo>
                  <a:lnTo>
                    <a:pt x="1282" y="1566"/>
                  </a:lnTo>
                  <a:lnTo>
                    <a:pt x="1282" y="1564"/>
                  </a:lnTo>
                  <a:lnTo>
                    <a:pt x="1284" y="1564"/>
                  </a:lnTo>
                  <a:lnTo>
                    <a:pt x="1284" y="1564"/>
                  </a:lnTo>
                  <a:lnTo>
                    <a:pt x="1284" y="1564"/>
                  </a:lnTo>
                  <a:lnTo>
                    <a:pt x="1286" y="1566"/>
                  </a:lnTo>
                  <a:lnTo>
                    <a:pt x="1286" y="1568"/>
                  </a:lnTo>
                  <a:lnTo>
                    <a:pt x="1288" y="1572"/>
                  </a:lnTo>
                  <a:lnTo>
                    <a:pt x="1288" y="1572"/>
                  </a:lnTo>
                  <a:lnTo>
                    <a:pt x="1288" y="1574"/>
                  </a:lnTo>
                  <a:lnTo>
                    <a:pt x="1290" y="1576"/>
                  </a:lnTo>
                  <a:lnTo>
                    <a:pt x="1298" y="1576"/>
                  </a:lnTo>
                  <a:lnTo>
                    <a:pt x="1304" y="1576"/>
                  </a:lnTo>
                  <a:lnTo>
                    <a:pt x="1304" y="1576"/>
                  </a:lnTo>
                  <a:lnTo>
                    <a:pt x="1304" y="1576"/>
                  </a:lnTo>
                  <a:lnTo>
                    <a:pt x="1308" y="1574"/>
                  </a:lnTo>
                  <a:lnTo>
                    <a:pt x="1308" y="1574"/>
                  </a:lnTo>
                  <a:lnTo>
                    <a:pt x="1310" y="1574"/>
                  </a:lnTo>
                  <a:lnTo>
                    <a:pt x="1312" y="1572"/>
                  </a:lnTo>
                  <a:lnTo>
                    <a:pt x="1312" y="1572"/>
                  </a:lnTo>
                  <a:lnTo>
                    <a:pt x="1312" y="1572"/>
                  </a:lnTo>
                  <a:lnTo>
                    <a:pt x="1314" y="1570"/>
                  </a:lnTo>
                  <a:lnTo>
                    <a:pt x="1314" y="1570"/>
                  </a:lnTo>
                  <a:lnTo>
                    <a:pt x="1314" y="1570"/>
                  </a:lnTo>
                  <a:lnTo>
                    <a:pt x="1314" y="1568"/>
                  </a:lnTo>
                  <a:lnTo>
                    <a:pt x="1314" y="1566"/>
                  </a:lnTo>
                  <a:lnTo>
                    <a:pt x="1316" y="1564"/>
                  </a:lnTo>
                  <a:lnTo>
                    <a:pt x="1316" y="1562"/>
                  </a:lnTo>
                  <a:lnTo>
                    <a:pt x="1316" y="1562"/>
                  </a:lnTo>
                  <a:lnTo>
                    <a:pt x="1318" y="1560"/>
                  </a:lnTo>
                  <a:lnTo>
                    <a:pt x="1318" y="1560"/>
                  </a:lnTo>
                  <a:lnTo>
                    <a:pt x="1320" y="1558"/>
                  </a:lnTo>
                  <a:lnTo>
                    <a:pt x="1320" y="1556"/>
                  </a:lnTo>
                  <a:lnTo>
                    <a:pt x="1320" y="1556"/>
                  </a:lnTo>
                  <a:close/>
                  <a:moveTo>
                    <a:pt x="756" y="1054"/>
                  </a:moveTo>
                  <a:lnTo>
                    <a:pt x="762" y="1054"/>
                  </a:lnTo>
                  <a:lnTo>
                    <a:pt x="766" y="1054"/>
                  </a:lnTo>
                  <a:lnTo>
                    <a:pt x="772" y="1054"/>
                  </a:lnTo>
                  <a:lnTo>
                    <a:pt x="776" y="1056"/>
                  </a:lnTo>
                  <a:lnTo>
                    <a:pt x="778" y="1056"/>
                  </a:lnTo>
                  <a:lnTo>
                    <a:pt x="780" y="1056"/>
                  </a:lnTo>
                  <a:lnTo>
                    <a:pt x="782" y="1058"/>
                  </a:lnTo>
                  <a:lnTo>
                    <a:pt x="784" y="1060"/>
                  </a:lnTo>
                  <a:lnTo>
                    <a:pt x="786" y="1062"/>
                  </a:lnTo>
                  <a:lnTo>
                    <a:pt x="788" y="1066"/>
                  </a:lnTo>
                  <a:lnTo>
                    <a:pt x="790" y="1070"/>
                  </a:lnTo>
                  <a:lnTo>
                    <a:pt x="790" y="1070"/>
                  </a:lnTo>
                  <a:lnTo>
                    <a:pt x="786" y="1068"/>
                  </a:lnTo>
                  <a:lnTo>
                    <a:pt x="780" y="1066"/>
                  </a:lnTo>
                  <a:lnTo>
                    <a:pt x="778" y="1066"/>
                  </a:lnTo>
                  <a:lnTo>
                    <a:pt x="774" y="1064"/>
                  </a:lnTo>
                  <a:lnTo>
                    <a:pt x="770" y="1060"/>
                  </a:lnTo>
                  <a:lnTo>
                    <a:pt x="764" y="1058"/>
                  </a:lnTo>
                  <a:lnTo>
                    <a:pt x="760" y="1056"/>
                  </a:lnTo>
                  <a:lnTo>
                    <a:pt x="754" y="1054"/>
                  </a:lnTo>
                  <a:lnTo>
                    <a:pt x="754" y="1054"/>
                  </a:lnTo>
                  <a:lnTo>
                    <a:pt x="756" y="1054"/>
                  </a:lnTo>
                  <a:close/>
                  <a:moveTo>
                    <a:pt x="718" y="1120"/>
                  </a:moveTo>
                  <a:lnTo>
                    <a:pt x="722" y="1120"/>
                  </a:lnTo>
                  <a:lnTo>
                    <a:pt x="724" y="1122"/>
                  </a:lnTo>
                  <a:lnTo>
                    <a:pt x="728" y="1122"/>
                  </a:lnTo>
                  <a:lnTo>
                    <a:pt x="724" y="1122"/>
                  </a:lnTo>
                  <a:lnTo>
                    <a:pt x="718" y="1122"/>
                  </a:lnTo>
                  <a:lnTo>
                    <a:pt x="716" y="1120"/>
                  </a:lnTo>
                  <a:lnTo>
                    <a:pt x="718" y="1120"/>
                  </a:lnTo>
                  <a:close/>
                  <a:moveTo>
                    <a:pt x="510" y="744"/>
                  </a:moveTo>
                  <a:lnTo>
                    <a:pt x="510" y="744"/>
                  </a:lnTo>
                  <a:lnTo>
                    <a:pt x="512" y="744"/>
                  </a:lnTo>
                  <a:lnTo>
                    <a:pt x="514" y="746"/>
                  </a:lnTo>
                  <a:lnTo>
                    <a:pt x="516" y="746"/>
                  </a:lnTo>
                  <a:lnTo>
                    <a:pt x="514" y="746"/>
                  </a:lnTo>
                  <a:lnTo>
                    <a:pt x="516" y="748"/>
                  </a:lnTo>
                  <a:lnTo>
                    <a:pt x="518" y="750"/>
                  </a:lnTo>
                  <a:lnTo>
                    <a:pt x="520" y="752"/>
                  </a:lnTo>
                  <a:lnTo>
                    <a:pt x="522" y="756"/>
                  </a:lnTo>
                  <a:lnTo>
                    <a:pt x="522" y="756"/>
                  </a:lnTo>
                  <a:lnTo>
                    <a:pt x="520" y="756"/>
                  </a:lnTo>
                  <a:lnTo>
                    <a:pt x="520" y="756"/>
                  </a:lnTo>
                  <a:lnTo>
                    <a:pt x="518" y="754"/>
                  </a:lnTo>
                  <a:lnTo>
                    <a:pt x="516" y="752"/>
                  </a:lnTo>
                  <a:lnTo>
                    <a:pt x="514" y="750"/>
                  </a:lnTo>
                  <a:lnTo>
                    <a:pt x="512" y="750"/>
                  </a:lnTo>
                  <a:lnTo>
                    <a:pt x="512" y="748"/>
                  </a:lnTo>
                  <a:lnTo>
                    <a:pt x="510" y="744"/>
                  </a:lnTo>
                  <a:lnTo>
                    <a:pt x="508" y="742"/>
                  </a:lnTo>
                  <a:lnTo>
                    <a:pt x="510" y="744"/>
                  </a:lnTo>
                  <a:close/>
                  <a:moveTo>
                    <a:pt x="354" y="758"/>
                  </a:moveTo>
                  <a:lnTo>
                    <a:pt x="350" y="760"/>
                  </a:lnTo>
                  <a:lnTo>
                    <a:pt x="350" y="760"/>
                  </a:lnTo>
                  <a:lnTo>
                    <a:pt x="350" y="762"/>
                  </a:lnTo>
                  <a:lnTo>
                    <a:pt x="352" y="760"/>
                  </a:lnTo>
                  <a:lnTo>
                    <a:pt x="352" y="760"/>
                  </a:lnTo>
                  <a:lnTo>
                    <a:pt x="354" y="758"/>
                  </a:lnTo>
                  <a:lnTo>
                    <a:pt x="354" y="758"/>
                  </a:lnTo>
                  <a:lnTo>
                    <a:pt x="354" y="758"/>
                  </a:lnTo>
                  <a:lnTo>
                    <a:pt x="354" y="758"/>
                  </a:lnTo>
                  <a:lnTo>
                    <a:pt x="354" y="758"/>
                  </a:lnTo>
                  <a:close/>
                  <a:moveTo>
                    <a:pt x="1166" y="1588"/>
                  </a:moveTo>
                  <a:lnTo>
                    <a:pt x="1168" y="1588"/>
                  </a:lnTo>
                  <a:lnTo>
                    <a:pt x="1164" y="1588"/>
                  </a:lnTo>
                  <a:lnTo>
                    <a:pt x="1160" y="1584"/>
                  </a:lnTo>
                  <a:lnTo>
                    <a:pt x="1166" y="1588"/>
                  </a:lnTo>
                  <a:close/>
                  <a:moveTo>
                    <a:pt x="154" y="1440"/>
                  </a:moveTo>
                  <a:lnTo>
                    <a:pt x="152" y="1438"/>
                  </a:lnTo>
                  <a:lnTo>
                    <a:pt x="150" y="1438"/>
                  </a:lnTo>
                  <a:lnTo>
                    <a:pt x="150" y="1438"/>
                  </a:lnTo>
                  <a:lnTo>
                    <a:pt x="150" y="1436"/>
                  </a:lnTo>
                  <a:lnTo>
                    <a:pt x="150" y="1434"/>
                  </a:lnTo>
                  <a:lnTo>
                    <a:pt x="150" y="1430"/>
                  </a:lnTo>
                  <a:lnTo>
                    <a:pt x="150" y="1428"/>
                  </a:lnTo>
                  <a:lnTo>
                    <a:pt x="148" y="1424"/>
                  </a:lnTo>
                  <a:lnTo>
                    <a:pt x="148" y="1424"/>
                  </a:lnTo>
                  <a:lnTo>
                    <a:pt x="148" y="1424"/>
                  </a:lnTo>
                  <a:lnTo>
                    <a:pt x="148" y="1420"/>
                  </a:lnTo>
                  <a:lnTo>
                    <a:pt x="146" y="1418"/>
                  </a:lnTo>
                  <a:lnTo>
                    <a:pt x="146" y="1414"/>
                  </a:lnTo>
                  <a:lnTo>
                    <a:pt x="146" y="1412"/>
                  </a:lnTo>
                  <a:lnTo>
                    <a:pt x="148" y="1406"/>
                  </a:lnTo>
                  <a:lnTo>
                    <a:pt x="148" y="1398"/>
                  </a:lnTo>
                  <a:lnTo>
                    <a:pt x="148" y="1398"/>
                  </a:lnTo>
                  <a:lnTo>
                    <a:pt x="148" y="1396"/>
                  </a:lnTo>
                  <a:lnTo>
                    <a:pt x="146" y="1394"/>
                  </a:lnTo>
                  <a:lnTo>
                    <a:pt x="146" y="1394"/>
                  </a:lnTo>
                  <a:lnTo>
                    <a:pt x="146" y="1394"/>
                  </a:lnTo>
                  <a:lnTo>
                    <a:pt x="144" y="1394"/>
                  </a:lnTo>
                  <a:lnTo>
                    <a:pt x="144" y="1394"/>
                  </a:lnTo>
                  <a:lnTo>
                    <a:pt x="142" y="1394"/>
                  </a:lnTo>
                  <a:lnTo>
                    <a:pt x="140" y="1394"/>
                  </a:lnTo>
                  <a:lnTo>
                    <a:pt x="140" y="1394"/>
                  </a:lnTo>
                  <a:lnTo>
                    <a:pt x="140" y="1394"/>
                  </a:lnTo>
                  <a:lnTo>
                    <a:pt x="136" y="1394"/>
                  </a:lnTo>
                  <a:lnTo>
                    <a:pt x="128" y="1396"/>
                  </a:lnTo>
                  <a:lnTo>
                    <a:pt x="126" y="1396"/>
                  </a:lnTo>
                  <a:lnTo>
                    <a:pt x="122" y="1398"/>
                  </a:lnTo>
                  <a:lnTo>
                    <a:pt x="122" y="1398"/>
                  </a:lnTo>
                  <a:lnTo>
                    <a:pt x="120" y="1398"/>
                  </a:lnTo>
                  <a:lnTo>
                    <a:pt x="118" y="1400"/>
                  </a:lnTo>
                  <a:lnTo>
                    <a:pt x="118" y="1400"/>
                  </a:lnTo>
                  <a:lnTo>
                    <a:pt x="118" y="1402"/>
                  </a:lnTo>
                  <a:lnTo>
                    <a:pt x="116" y="1404"/>
                  </a:lnTo>
                  <a:lnTo>
                    <a:pt x="116" y="1404"/>
                  </a:lnTo>
                  <a:lnTo>
                    <a:pt x="116" y="1404"/>
                  </a:lnTo>
                  <a:lnTo>
                    <a:pt x="116" y="1406"/>
                  </a:lnTo>
                  <a:lnTo>
                    <a:pt x="116" y="1406"/>
                  </a:lnTo>
                  <a:lnTo>
                    <a:pt x="116" y="1408"/>
                  </a:lnTo>
                  <a:lnTo>
                    <a:pt x="116" y="1410"/>
                  </a:lnTo>
                  <a:lnTo>
                    <a:pt x="118" y="1414"/>
                  </a:lnTo>
                  <a:lnTo>
                    <a:pt x="118" y="1416"/>
                  </a:lnTo>
                  <a:lnTo>
                    <a:pt x="120" y="1420"/>
                  </a:lnTo>
                  <a:lnTo>
                    <a:pt x="120" y="1424"/>
                  </a:lnTo>
                  <a:lnTo>
                    <a:pt x="120" y="1424"/>
                  </a:lnTo>
                  <a:lnTo>
                    <a:pt x="120" y="1426"/>
                  </a:lnTo>
                  <a:lnTo>
                    <a:pt x="122" y="1426"/>
                  </a:lnTo>
                  <a:lnTo>
                    <a:pt x="122" y="1428"/>
                  </a:lnTo>
                  <a:lnTo>
                    <a:pt x="124" y="1432"/>
                  </a:lnTo>
                  <a:lnTo>
                    <a:pt x="124" y="1436"/>
                  </a:lnTo>
                  <a:lnTo>
                    <a:pt x="126" y="1440"/>
                  </a:lnTo>
                  <a:lnTo>
                    <a:pt x="126" y="1440"/>
                  </a:lnTo>
                  <a:lnTo>
                    <a:pt x="128" y="1442"/>
                  </a:lnTo>
                  <a:lnTo>
                    <a:pt x="130" y="1442"/>
                  </a:lnTo>
                  <a:lnTo>
                    <a:pt x="132" y="1442"/>
                  </a:lnTo>
                  <a:lnTo>
                    <a:pt x="132" y="1444"/>
                  </a:lnTo>
                  <a:lnTo>
                    <a:pt x="132" y="1444"/>
                  </a:lnTo>
                  <a:lnTo>
                    <a:pt x="134" y="1446"/>
                  </a:lnTo>
                  <a:lnTo>
                    <a:pt x="134" y="1448"/>
                  </a:lnTo>
                  <a:lnTo>
                    <a:pt x="134" y="1450"/>
                  </a:lnTo>
                  <a:lnTo>
                    <a:pt x="134" y="1450"/>
                  </a:lnTo>
                  <a:lnTo>
                    <a:pt x="134" y="1450"/>
                  </a:lnTo>
                  <a:lnTo>
                    <a:pt x="136" y="1454"/>
                  </a:lnTo>
                  <a:lnTo>
                    <a:pt x="136" y="1454"/>
                  </a:lnTo>
                  <a:lnTo>
                    <a:pt x="136" y="1454"/>
                  </a:lnTo>
                  <a:lnTo>
                    <a:pt x="138" y="1456"/>
                  </a:lnTo>
                  <a:lnTo>
                    <a:pt x="138" y="1456"/>
                  </a:lnTo>
                  <a:lnTo>
                    <a:pt x="138" y="1456"/>
                  </a:lnTo>
                  <a:lnTo>
                    <a:pt x="140" y="1458"/>
                  </a:lnTo>
                  <a:lnTo>
                    <a:pt x="140" y="1458"/>
                  </a:lnTo>
                  <a:lnTo>
                    <a:pt x="140" y="1458"/>
                  </a:lnTo>
                  <a:lnTo>
                    <a:pt x="142" y="1458"/>
                  </a:lnTo>
                  <a:lnTo>
                    <a:pt x="142" y="1458"/>
                  </a:lnTo>
                  <a:lnTo>
                    <a:pt x="142" y="1460"/>
                  </a:lnTo>
                  <a:lnTo>
                    <a:pt x="148" y="1460"/>
                  </a:lnTo>
                  <a:lnTo>
                    <a:pt x="150" y="1460"/>
                  </a:lnTo>
                  <a:lnTo>
                    <a:pt x="150" y="1460"/>
                  </a:lnTo>
                  <a:lnTo>
                    <a:pt x="150" y="1460"/>
                  </a:lnTo>
                  <a:lnTo>
                    <a:pt x="152" y="1460"/>
                  </a:lnTo>
                  <a:lnTo>
                    <a:pt x="152" y="1460"/>
                  </a:lnTo>
                  <a:lnTo>
                    <a:pt x="154" y="1460"/>
                  </a:lnTo>
                  <a:lnTo>
                    <a:pt x="156" y="1458"/>
                  </a:lnTo>
                  <a:lnTo>
                    <a:pt x="156" y="1458"/>
                  </a:lnTo>
                  <a:lnTo>
                    <a:pt x="156" y="1458"/>
                  </a:lnTo>
                  <a:lnTo>
                    <a:pt x="158" y="1456"/>
                  </a:lnTo>
                  <a:lnTo>
                    <a:pt x="158" y="1456"/>
                  </a:lnTo>
                  <a:lnTo>
                    <a:pt x="158" y="1456"/>
                  </a:lnTo>
                  <a:lnTo>
                    <a:pt x="158" y="1452"/>
                  </a:lnTo>
                  <a:lnTo>
                    <a:pt x="158" y="1450"/>
                  </a:lnTo>
                  <a:lnTo>
                    <a:pt x="158" y="1444"/>
                  </a:lnTo>
                  <a:lnTo>
                    <a:pt x="158" y="1444"/>
                  </a:lnTo>
                  <a:lnTo>
                    <a:pt x="158" y="1442"/>
                  </a:lnTo>
                  <a:lnTo>
                    <a:pt x="154" y="1440"/>
                  </a:lnTo>
                  <a:close/>
                  <a:moveTo>
                    <a:pt x="650" y="828"/>
                  </a:moveTo>
                  <a:lnTo>
                    <a:pt x="654" y="828"/>
                  </a:lnTo>
                  <a:lnTo>
                    <a:pt x="656" y="826"/>
                  </a:lnTo>
                  <a:lnTo>
                    <a:pt x="656" y="826"/>
                  </a:lnTo>
                  <a:lnTo>
                    <a:pt x="658" y="826"/>
                  </a:lnTo>
                  <a:lnTo>
                    <a:pt x="658" y="826"/>
                  </a:lnTo>
                  <a:lnTo>
                    <a:pt x="658" y="826"/>
                  </a:lnTo>
                  <a:lnTo>
                    <a:pt x="660" y="824"/>
                  </a:lnTo>
                  <a:lnTo>
                    <a:pt x="662" y="824"/>
                  </a:lnTo>
                  <a:lnTo>
                    <a:pt x="662" y="824"/>
                  </a:lnTo>
                  <a:lnTo>
                    <a:pt x="662" y="822"/>
                  </a:lnTo>
                  <a:lnTo>
                    <a:pt x="664" y="820"/>
                  </a:lnTo>
                  <a:lnTo>
                    <a:pt x="666" y="816"/>
                  </a:lnTo>
                  <a:lnTo>
                    <a:pt x="666" y="816"/>
                  </a:lnTo>
                  <a:lnTo>
                    <a:pt x="666" y="816"/>
                  </a:lnTo>
                  <a:lnTo>
                    <a:pt x="666" y="808"/>
                  </a:lnTo>
                  <a:lnTo>
                    <a:pt x="666" y="802"/>
                  </a:lnTo>
                  <a:lnTo>
                    <a:pt x="666" y="796"/>
                  </a:lnTo>
                  <a:lnTo>
                    <a:pt x="666" y="790"/>
                  </a:lnTo>
                  <a:lnTo>
                    <a:pt x="664" y="784"/>
                  </a:lnTo>
                  <a:lnTo>
                    <a:pt x="664" y="780"/>
                  </a:lnTo>
                  <a:lnTo>
                    <a:pt x="664" y="776"/>
                  </a:lnTo>
                  <a:lnTo>
                    <a:pt x="662" y="772"/>
                  </a:lnTo>
                  <a:lnTo>
                    <a:pt x="662" y="772"/>
                  </a:lnTo>
                  <a:lnTo>
                    <a:pt x="662" y="772"/>
                  </a:lnTo>
                  <a:lnTo>
                    <a:pt x="660" y="768"/>
                  </a:lnTo>
                  <a:lnTo>
                    <a:pt x="660" y="768"/>
                  </a:lnTo>
                  <a:lnTo>
                    <a:pt x="660" y="768"/>
                  </a:lnTo>
                  <a:lnTo>
                    <a:pt x="658" y="764"/>
                  </a:lnTo>
                  <a:lnTo>
                    <a:pt x="658" y="764"/>
                  </a:lnTo>
                  <a:lnTo>
                    <a:pt x="658" y="764"/>
                  </a:lnTo>
                  <a:lnTo>
                    <a:pt x="656" y="762"/>
                  </a:lnTo>
                  <a:lnTo>
                    <a:pt x="656" y="762"/>
                  </a:lnTo>
                  <a:lnTo>
                    <a:pt x="656" y="762"/>
                  </a:lnTo>
                  <a:lnTo>
                    <a:pt x="652" y="760"/>
                  </a:lnTo>
                  <a:lnTo>
                    <a:pt x="652" y="760"/>
                  </a:lnTo>
                  <a:lnTo>
                    <a:pt x="652" y="760"/>
                  </a:lnTo>
                  <a:lnTo>
                    <a:pt x="648" y="758"/>
                  </a:lnTo>
                  <a:lnTo>
                    <a:pt x="642" y="756"/>
                  </a:lnTo>
                  <a:lnTo>
                    <a:pt x="636" y="756"/>
                  </a:lnTo>
                  <a:lnTo>
                    <a:pt x="632" y="754"/>
                  </a:lnTo>
                  <a:lnTo>
                    <a:pt x="634" y="754"/>
                  </a:lnTo>
                  <a:lnTo>
                    <a:pt x="634" y="752"/>
                  </a:lnTo>
                  <a:lnTo>
                    <a:pt x="634" y="752"/>
                  </a:lnTo>
                  <a:lnTo>
                    <a:pt x="634" y="752"/>
                  </a:lnTo>
                  <a:lnTo>
                    <a:pt x="636" y="750"/>
                  </a:lnTo>
                  <a:lnTo>
                    <a:pt x="636" y="750"/>
                  </a:lnTo>
                  <a:lnTo>
                    <a:pt x="638" y="748"/>
                  </a:lnTo>
                  <a:lnTo>
                    <a:pt x="642" y="746"/>
                  </a:lnTo>
                  <a:lnTo>
                    <a:pt x="642" y="746"/>
                  </a:lnTo>
                  <a:lnTo>
                    <a:pt x="642" y="746"/>
                  </a:lnTo>
                  <a:lnTo>
                    <a:pt x="644" y="744"/>
                  </a:lnTo>
                  <a:lnTo>
                    <a:pt x="646" y="742"/>
                  </a:lnTo>
                  <a:lnTo>
                    <a:pt x="648" y="740"/>
                  </a:lnTo>
                  <a:lnTo>
                    <a:pt x="648" y="740"/>
                  </a:lnTo>
                  <a:lnTo>
                    <a:pt x="648" y="740"/>
                  </a:lnTo>
                  <a:lnTo>
                    <a:pt x="650" y="736"/>
                  </a:lnTo>
                  <a:lnTo>
                    <a:pt x="650" y="736"/>
                  </a:lnTo>
                  <a:lnTo>
                    <a:pt x="650" y="736"/>
                  </a:lnTo>
                  <a:lnTo>
                    <a:pt x="652" y="734"/>
                  </a:lnTo>
                  <a:lnTo>
                    <a:pt x="652" y="734"/>
                  </a:lnTo>
                  <a:lnTo>
                    <a:pt x="652" y="728"/>
                  </a:lnTo>
                  <a:lnTo>
                    <a:pt x="652" y="730"/>
                  </a:lnTo>
                  <a:lnTo>
                    <a:pt x="652" y="728"/>
                  </a:lnTo>
                  <a:lnTo>
                    <a:pt x="652" y="726"/>
                  </a:lnTo>
                  <a:lnTo>
                    <a:pt x="652" y="726"/>
                  </a:lnTo>
                  <a:lnTo>
                    <a:pt x="654" y="724"/>
                  </a:lnTo>
                  <a:lnTo>
                    <a:pt x="654" y="722"/>
                  </a:lnTo>
                  <a:lnTo>
                    <a:pt x="654" y="722"/>
                  </a:lnTo>
                  <a:lnTo>
                    <a:pt x="654" y="722"/>
                  </a:lnTo>
                  <a:lnTo>
                    <a:pt x="654" y="718"/>
                  </a:lnTo>
                  <a:lnTo>
                    <a:pt x="654" y="716"/>
                  </a:lnTo>
                  <a:lnTo>
                    <a:pt x="654" y="714"/>
                  </a:lnTo>
                  <a:lnTo>
                    <a:pt x="652" y="712"/>
                  </a:lnTo>
                  <a:lnTo>
                    <a:pt x="652" y="712"/>
                  </a:lnTo>
                  <a:lnTo>
                    <a:pt x="652" y="712"/>
                  </a:lnTo>
                  <a:lnTo>
                    <a:pt x="652" y="712"/>
                  </a:lnTo>
                  <a:lnTo>
                    <a:pt x="652" y="712"/>
                  </a:lnTo>
                  <a:lnTo>
                    <a:pt x="652" y="710"/>
                  </a:lnTo>
                  <a:lnTo>
                    <a:pt x="650" y="710"/>
                  </a:lnTo>
                  <a:lnTo>
                    <a:pt x="650" y="710"/>
                  </a:lnTo>
                  <a:lnTo>
                    <a:pt x="650" y="708"/>
                  </a:lnTo>
                  <a:lnTo>
                    <a:pt x="648" y="708"/>
                  </a:lnTo>
                  <a:lnTo>
                    <a:pt x="648" y="708"/>
                  </a:lnTo>
                  <a:lnTo>
                    <a:pt x="648" y="708"/>
                  </a:lnTo>
                  <a:lnTo>
                    <a:pt x="646" y="708"/>
                  </a:lnTo>
                  <a:lnTo>
                    <a:pt x="644" y="710"/>
                  </a:lnTo>
                  <a:lnTo>
                    <a:pt x="642" y="710"/>
                  </a:lnTo>
                  <a:lnTo>
                    <a:pt x="640" y="710"/>
                  </a:lnTo>
                  <a:lnTo>
                    <a:pt x="636" y="712"/>
                  </a:lnTo>
                  <a:lnTo>
                    <a:pt x="632" y="712"/>
                  </a:lnTo>
                  <a:lnTo>
                    <a:pt x="628" y="714"/>
                  </a:lnTo>
                  <a:lnTo>
                    <a:pt x="624" y="714"/>
                  </a:lnTo>
                  <a:lnTo>
                    <a:pt x="618" y="714"/>
                  </a:lnTo>
                  <a:lnTo>
                    <a:pt x="616" y="716"/>
                  </a:lnTo>
                  <a:lnTo>
                    <a:pt x="612" y="716"/>
                  </a:lnTo>
                  <a:lnTo>
                    <a:pt x="608" y="716"/>
                  </a:lnTo>
                  <a:lnTo>
                    <a:pt x="606" y="718"/>
                  </a:lnTo>
                  <a:lnTo>
                    <a:pt x="604" y="718"/>
                  </a:lnTo>
                  <a:lnTo>
                    <a:pt x="602" y="718"/>
                  </a:lnTo>
                  <a:lnTo>
                    <a:pt x="602" y="718"/>
                  </a:lnTo>
                  <a:lnTo>
                    <a:pt x="602" y="718"/>
                  </a:lnTo>
                  <a:lnTo>
                    <a:pt x="600" y="718"/>
                  </a:lnTo>
                  <a:lnTo>
                    <a:pt x="600" y="718"/>
                  </a:lnTo>
                  <a:lnTo>
                    <a:pt x="600" y="720"/>
                  </a:lnTo>
                  <a:lnTo>
                    <a:pt x="602" y="740"/>
                  </a:lnTo>
                  <a:lnTo>
                    <a:pt x="604" y="750"/>
                  </a:lnTo>
                  <a:lnTo>
                    <a:pt x="606" y="758"/>
                  </a:lnTo>
                  <a:lnTo>
                    <a:pt x="606" y="762"/>
                  </a:lnTo>
                  <a:lnTo>
                    <a:pt x="606" y="764"/>
                  </a:lnTo>
                  <a:lnTo>
                    <a:pt x="604" y="764"/>
                  </a:lnTo>
                  <a:lnTo>
                    <a:pt x="604" y="766"/>
                  </a:lnTo>
                  <a:lnTo>
                    <a:pt x="598" y="770"/>
                  </a:lnTo>
                  <a:lnTo>
                    <a:pt x="596" y="772"/>
                  </a:lnTo>
                  <a:lnTo>
                    <a:pt x="594" y="772"/>
                  </a:lnTo>
                  <a:lnTo>
                    <a:pt x="594" y="770"/>
                  </a:lnTo>
                  <a:lnTo>
                    <a:pt x="594" y="768"/>
                  </a:lnTo>
                  <a:lnTo>
                    <a:pt x="592" y="768"/>
                  </a:lnTo>
                  <a:lnTo>
                    <a:pt x="592" y="764"/>
                  </a:lnTo>
                  <a:lnTo>
                    <a:pt x="592" y="762"/>
                  </a:lnTo>
                  <a:lnTo>
                    <a:pt x="590" y="760"/>
                  </a:lnTo>
                  <a:lnTo>
                    <a:pt x="590" y="760"/>
                  </a:lnTo>
                  <a:lnTo>
                    <a:pt x="590" y="758"/>
                  </a:lnTo>
                  <a:lnTo>
                    <a:pt x="590" y="756"/>
                  </a:lnTo>
                  <a:lnTo>
                    <a:pt x="590" y="756"/>
                  </a:lnTo>
                  <a:lnTo>
                    <a:pt x="588" y="756"/>
                  </a:lnTo>
                  <a:lnTo>
                    <a:pt x="586" y="754"/>
                  </a:lnTo>
                  <a:lnTo>
                    <a:pt x="586" y="754"/>
                  </a:lnTo>
                  <a:lnTo>
                    <a:pt x="586" y="754"/>
                  </a:lnTo>
                  <a:lnTo>
                    <a:pt x="582" y="752"/>
                  </a:lnTo>
                  <a:lnTo>
                    <a:pt x="580" y="750"/>
                  </a:lnTo>
                  <a:lnTo>
                    <a:pt x="578" y="750"/>
                  </a:lnTo>
                  <a:lnTo>
                    <a:pt x="578" y="748"/>
                  </a:lnTo>
                  <a:lnTo>
                    <a:pt x="576" y="748"/>
                  </a:lnTo>
                  <a:lnTo>
                    <a:pt x="576" y="748"/>
                  </a:lnTo>
                  <a:lnTo>
                    <a:pt x="574" y="748"/>
                  </a:lnTo>
                  <a:lnTo>
                    <a:pt x="574" y="748"/>
                  </a:lnTo>
                  <a:lnTo>
                    <a:pt x="572" y="752"/>
                  </a:lnTo>
                  <a:lnTo>
                    <a:pt x="574" y="760"/>
                  </a:lnTo>
                  <a:lnTo>
                    <a:pt x="574" y="768"/>
                  </a:lnTo>
                  <a:lnTo>
                    <a:pt x="576" y="776"/>
                  </a:lnTo>
                  <a:lnTo>
                    <a:pt x="578" y="782"/>
                  </a:lnTo>
                  <a:lnTo>
                    <a:pt x="578" y="782"/>
                  </a:lnTo>
                  <a:lnTo>
                    <a:pt x="578" y="784"/>
                  </a:lnTo>
                  <a:lnTo>
                    <a:pt x="582" y="790"/>
                  </a:lnTo>
                  <a:lnTo>
                    <a:pt x="582" y="790"/>
                  </a:lnTo>
                  <a:lnTo>
                    <a:pt x="582" y="790"/>
                  </a:lnTo>
                  <a:lnTo>
                    <a:pt x="586" y="792"/>
                  </a:lnTo>
                  <a:lnTo>
                    <a:pt x="588" y="796"/>
                  </a:lnTo>
                  <a:lnTo>
                    <a:pt x="592" y="798"/>
                  </a:lnTo>
                  <a:lnTo>
                    <a:pt x="596" y="800"/>
                  </a:lnTo>
                  <a:lnTo>
                    <a:pt x="600" y="802"/>
                  </a:lnTo>
                  <a:lnTo>
                    <a:pt x="604" y="804"/>
                  </a:lnTo>
                  <a:lnTo>
                    <a:pt x="606" y="804"/>
                  </a:lnTo>
                  <a:lnTo>
                    <a:pt x="608" y="806"/>
                  </a:lnTo>
                  <a:lnTo>
                    <a:pt x="610" y="808"/>
                  </a:lnTo>
                  <a:lnTo>
                    <a:pt x="610" y="810"/>
                  </a:lnTo>
                  <a:lnTo>
                    <a:pt x="610" y="810"/>
                  </a:lnTo>
                  <a:lnTo>
                    <a:pt x="612" y="812"/>
                  </a:lnTo>
                  <a:lnTo>
                    <a:pt x="612" y="816"/>
                  </a:lnTo>
                  <a:lnTo>
                    <a:pt x="612" y="818"/>
                  </a:lnTo>
                  <a:lnTo>
                    <a:pt x="614" y="824"/>
                  </a:lnTo>
                  <a:lnTo>
                    <a:pt x="616" y="826"/>
                  </a:lnTo>
                  <a:lnTo>
                    <a:pt x="616" y="826"/>
                  </a:lnTo>
                  <a:lnTo>
                    <a:pt x="616" y="826"/>
                  </a:lnTo>
                  <a:lnTo>
                    <a:pt x="616" y="828"/>
                  </a:lnTo>
                  <a:lnTo>
                    <a:pt x="618" y="830"/>
                  </a:lnTo>
                  <a:lnTo>
                    <a:pt x="620" y="832"/>
                  </a:lnTo>
                  <a:lnTo>
                    <a:pt x="624" y="836"/>
                  </a:lnTo>
                  <a:lnTo>
                    <a:pt x="628" y="840"/>
                  </a:lnTo>
                  <a:lnTo>
                    <a:pt x="628" y="840"/>
                  </a:lnTo>
                  <a:lnTo>
                    <a:pt x="632" y="840"/>
                  </a:lnTo>
                  <a:lnTo>
                    <a:pt x="636" y="840"/>
                  </a:lnTo>
                  <a:lnTo>
                    <a:pt x="636" y="840"/>
                  </a:lnTo>
                  <a:lnTo>
                    <a:pt x="636" y="840"/>
                  </a:lnTo>
                  <a:lnTo>
                    <a:pt x="638" y="838"/>
                  </a:lnTo>
                  <a:lnTo>
                    <a:pt x="638" y="838"/>
                  </a:lnTo>
                  <a:lnTo>
                    <a:pt x="640" y="838"/>
                  </a:lnTo>
                  <a:lnTo>
                    <a:pt x="642" y="836"/>
                  </a:lnTo>
                  <a:lnTo>
                    <a:pt x="642" y="836"/>
                  </a:lnTo>
                  <a:lnTo>
                    <a:pt x="642" y="836"/>
                  </a:lnTo>
                  <a:lnTo>
                    <a:pt x="644" y="834"/>
                  </a:lnTo>
                  <a:lnTo>
                    <a:pt x="644" y="834"/>
                  </a:lnTo>
                  <a:lnTo>
                    <a:pt x="644" y="832"/>
                  </a:lnTo>
                  <a:lnTo>
                    <a:pt x="644" y="830"/>
                  </a:lnTo>
                  <a:lnTo>
                    <a:pt x="644" y="830"/>
                  </a:lnTo>
                  <a:lnTo>
                    <a:pt x="644" y="830"/>
                  </a:lnTo>
                  <a:lnTo>
                    <a:pt x="642" y="828"/>
                  </a:lnTo>
                  <a:lnTo>
                    <a:pt x="646" y="828"/>
                  </a:lnTo>
                  <a:lnTo>
                    <a:pt x="650" y="828"/>
                  </a:lnTo>
                  <a:close/>
                  <a:moveTo>
                    <a:pt x="748" y="738"/>
                  </a:moveTo>
                  <a:lnTo>
                    <a:pt x="748" y="738"/>
                  </a:lnTo>
                  <a:lnTo>
                    <a:pt x="748" y="736"/>
                  </a:lnTo>
                  <a:lnTo>
                    <a:pt x="750" y="730"/>
                  </a:lnTo>
                  <a:lnTo>
                    <a:pt x="752" y="726"/>
                  </a:lnTo>
                  <a:lnTo>
                    <a:pt x="754" y="724"/>
                  </a:lnTo>
                  <a:lnTo>
                    <a:pt x="756" y="722"/>
                  </a:lnTo>
                  <a:lnTo>
                    <a:pt x="758" y="720"/>
                  </a:lnTo>
                  <a:lnTo>
                    <a:pt x="758" y="720"/>
                  </a:lnTo>
                  <a:lnTo>
                    <a:pt x="758" y="718"/>
                  </a:lnTo>
                  <a:lnTo>
                    <a:pt x="760" y="716"/>
                  </a:lnTo>
                  <a:lnTo>
                    <a:pt x="760" y="716"/>
                  </a:lnTo>
                  <a:lnTo>
                    <a:pt x="760" y="716"/>
                  </a:lnTo>
                  <a:lnTo>
                    <a:pt x="760" y="714"/>
                  </a:lnTo>
                  <a:lnTo>
                    <a:pt x="760" y="714"/>
                  </a:lnTo>
                  <a:lnTo>
                    <a:pt x="760" y="712"/>
                  </a:lnTo>
                  <a:lnTo>
                    <a:pt x="760" y="712"/>
                  </a:lnTo>
                  <a:lnTo>
                    <a:pt x="760" y="712"/>
                  </a:lnTo>
                  <a:lnTo>
                    <a:pt x="758" y="710"/>
                  </a:lnTo>
                  <a:lnTo>
                    <a:pt x="758" y="708"/>
                  </a:lnTo>
                  <a:lnTo>
                    <a:pt x="758" y="708"/>
                  </a:lnTo>
                  <a:lnTo>
                    <a:pt x="756" y="708"/>
                  </a:lnTo>
                  <a:lnTo>
                    <a:pt x="756" y="708"/>
                  </a:lnTo>
                  <a:lnTo>
                    <a:pt x="756" y="708"/>
                  </a:lnTo>
                  <a:lnTo>
                    <a:pt x="754" y="708"/>
                  </a:lnTo>
                  <a:lnTo>
                    <a:pt x="752" y="706"/>
                  </a:lnTo>
                  <a:lnTo>
                    <a:pt x="748" y="706"/>
                  </a:lnTo>
                  <a:lnTo>
                    <a:pt x="742" y="706"/>
                  </a:lnTo>
                  <a:lnTo>
                    <a:pt x="736" y="706"/>
                  </a:lnTo>
                  <a:lnTo>
                    <a:pt x="730" y="706"/>
                  </a:lnTo>
                  <a:lnTo>
                    <a:pt x="724" y="706"/>
                  </a:lnTo>
                  <a:lnTo>
                    <a:pt x="724" y="706"/>
                  </a:lnTo>
                  <a:lnTo>
                    <a:pt x="724" y="708"/>
                  </a:lnTo>
                  <a:lnTo>
                    <a:pt x="722" y="708"/>
                  </a:lnTo>
                  <a:lnTo>
                    <a:pt x="722" y="708"/>
                  </a:lnTo>
                  <a:lnTo>
                    <a:pt x="722" y="708"/>
                  </a:lnTo>
                  <a:lnTo>
                    <a:pt x="722" y="708"/>
                  </a:lnTo>
                  <a:lnTo>
                    <a:pt x="722" y="708"/>
                  </a:lnTo>
                  <a:lnTo>
                    <a:pt x="720" y="706"/>
                  </a:lnTo>
                  <a:lnTo>
                    <a:pt x="720" y="704"/>
                  </a:lnTo>
                  <a:lnTo>
                    <a:pt x="718" y="700"/>
                  </a:lnTo>
                  <a:lnTo>
                    <a:pt x="718" y="700"/>
                  </a:lnTo>
                  <a:lnTo>
                    <a:pt x="718" y="700"/>
                  </a:lnTo>
                  <a:lnTo>
                    <a:pt x="718" y="698"/>
                  </a:lnTo>
                  <a:lnTo>
                    <a:pt x="718" y="698"/>
                  </a:lnTo>
                  <a:lnTo>
                    <a:pt x="716" y="698"/>
                  </a:lnTo>
                  <a:lnTo>
                    <a:pt x="716" y="696"/>
                  </a:lnTo>
                  <a:lnTo>
                    <a:pt x="716" y="696"/>
                  </a:lnTo>
                  <a:lnTo>
                    <a:pt x="712" y="696"/>
                  </a:lnTo>
                  <a:lnTo>
                    <a:pt x="708" y="696"/>
                  </a:lnTo>
                  <a:lnTo>
                    <a:pt x="704" y="696"/>
                  </a:lnTo>
                  <a:lnTo>
                    <a:pt x="698" y="696"/>
                  </a:lnTo>
                  <a:lnTo>
                    <a:pt x="694" y="696"/>
                  </a:lnTo>
                  <a:lnTo>
                    <a:pt x="694" y="696"/>
                  </a:lnTo>
                  <a:lnTo>
                    <a:pt x="692" y="696"/>
                  </a:lnTo>
                  <a:lnTo>
                    <a:pt x="690" y="698"/>
                  </a:lnTo>
                  <a:lnTo>
                    <a:pt x="690" y="698"/>
                  </a:lnTo>
                  <a:lnTo>
                    <a:pt x="688" y="698"/>
                  </a:lnTo>
                  <a:lnTo>
                    <a:pt x="686" y="700"/>
                  </a:lnTo>
                  <a:lnTo>
                    <a:pt x="686" y="700"/>
                  </a:lnTo>
                  <a:lnTo>
                    <a:pt x="686" y="700"/>
                  </a:lnTo>
                  <a:lnTo>
                    <a:pt x="684" y="702"/>
                  </a:lnTo>
                  <a:lnTo>
                    <a:pt x="682" y="704"/>
                  </a:lnTo>
                  <a:lnTo>
                    <a:pt x="682" y="704"/>
                  </a:lnTo>
                  <a:lnTo>
                    <a:pt x="682" y="708"/>
                  </a:lnTo>
                  <a:lnTo>
                    <a:pt x="684" y="710"/>
                  </a:lnTo>
                  <a:lnTo>
                    <a:pt x="686" y="714"/>
                  </a:lnTo>
                  <a:lnTo>
                    <a:pt x="688" y="716"/>
                  </a:lnTo>
                  <a:lnTo>
                    <a:pt x="690" y="718"/>
                  </a:lnTo>
                  <a:lnTo>
                    <a:pt x="688" y="718"/>
                  </a:lnTo>
                  <a:lnTo>
                    <a:pt x="688" y="720"/>
                  </a:lnTo>
                  <a:lnTo>
                    <a:pt x="686" y="720"/>
                  </a:lnTo>
                  <a:lnTo>
                    <a:pt x="684" y="722"/>
                  </a:lnTo>
                  <a:lnTo>
                    <a:pt x="684" y="722"/>
                  </a:lnTo>
                  <a:lnTo>
                    <a:pt x="682" y="720"/>
                  </a:lnTo>
                  <a:lnTo>
                    <a:pt x="682" y="720"/>
                  </a:lnTo>
                  <a:lnTo>
                    <a:pt x="680" y="718"/>
                  </a:lnTo>
                  <a:lnTo>
                    <a:pt x="680" y="718"/>
                  </a:lnTo>
                  <a:lnTo>
                    <a:pt x="676" y="718"/>
                  </a:lnTo>
                  <a:lnTo>
                    <a:pt x="676" y="718"/>
                  </a:lnTo>
                  <a:lnTo>
                    <a:pt x="674" y="720"/>
                  </a:lnTo>
                  <a:lnTo>
                    <a:pt x="674" y="722"/>
                  </a:lnTo>
                  <a:lnTo>
                    <a:pt x="674" y="724"/>
                  </a:lnTo>
                  <a:lnTo>
                    <a:pt x="674" y="724"/>
                  </a:lnTo>
                  <a:lnTo>
                    <a:pt x="674" y="730"/>
                  </a:lnTo>
                  <a:lnTo>
                    <a:pt x="676" y="734"/>
                  </a:lnTo>
                  <a:lnTo>
                    <a:pt x="676" y="740"/>
                  </a:lnTo>
                  <a:lnTo>
                    <a:pt x="676" y="748"/>
                  </a:lnTo>
                  <a:lnTo>
                    <a:pt x="676" y="756"/>
                  </a:lnTo>
                  <a:lnTo>
                    <a:pt x="676" y="762"/>
                  </a:lnTo>
                  <a:lnTo>
                    <a:pt x="678" y="770"/>
                  </a:lnTo>
                  <a:lnTo>
                    <a:pt x="678" y="778"/>
                  </a:lnTo>
                  <a:lnTo>
                    <a:pt x="680" y="784"/>
                  </a:lnTo>
                  <a:lnTo>
                    <a:pt x="680" y="790"/>
                  </a:lnTo>
                  <a:lnTo>
                    <a:pt x="682" y="796"/>
                  </a:lnTo>
                  <a:lnTo>
                    <a:pt x="684" y="800"/>
                  </a:lnTo>
                  <a:lnTo>
                    <a:pt x="684" y="802"/>
                  </a:lnTo>
                  <a:lnTo>
                    <a:pt x="686" y="804"/>
                  </a:lnTo>
                  <a:lnTo>
                    <a:pt x="686" y="804"/>
                  </a:lnTo>
                  <a:lnTo>
                    <a:pt x="686" y="804"/>
                  </a:lnTo>
                  <a:lnTo>
                    <a:pt x="686" y="806"/>
                  </a:lnTo>
                  <a:lnTo>
                    <a:pt x="686" y="806"/>
                  </a:lnTo>
                  <a:lnTo>
                    <a:pt x="688" y="806"/>
                  </a:lnTo>
                  <a:lnTo>
                    <a:pt x="688" y="806"/>
                  </a:lnTo>
                  <a:lnTo>
                    <a:pt x="688" y="806"/>
                  </a:lnTo>
                  <a:lnTo>
                    <a:pt x="690" y="806"/>
                  </a:lnTo>
                  <a:lnTo>
                    <a:pt x="692" y="806"/>
                  </a:lnTo>
                  <a:lnTo>
                    <a:pt x="694" y="806"/>
                  </a:lnTo>
                  <a:lnTo>
                    <a:pt x="698" y="804"/>
                  </a:lnTo>
                  <a:lnTo>
                    <a:pt x="698" y="804"/>
                  </a:lnTo>
                  <a:lnTo>
                    <a:pt x="698" y="804"/>
                  </a:lnTo>
                  <a:lnTo>
                    <a:pt x="700" y="802"/>
                  </a:lnTo>
                  <a:lnTo>
                    <a:pt x="700" y="802"/>
                  </a:lnTo>
                  <a:lnTo>
                    <a:pt x="702" y="802"/>
                  </a:lnTo>
                  <a:lnTo>
                    <a:pt x="702" y="800"/>
                  </a:lnTo>
                  <a:lnTo>
                    <a:pt x="702" y="800"/>
                  </a:lnTo>
                  <a:lnTo>
                    <a:pt x="702" y="800"/>
                  </a:lnTo>
                  <a:lnTo>
                    <a:pt x="704" y="798"/>
                  </a:lnTo>
                  <a:lnTo>
                    <a:pt x="704" y="796"/>
                  </a:lnTo>
                  <a:lnTo>
                    <a:pt x="706" y="792"/>
                  </a:lnTo>
                  <a:lnTo>
                    <a:pt x="706" y="790"/>
                  </a:lnTo>
                  <a:lnTo>
                    <a:pt x="706" y="790"/>
                  </a:lnTo>
                  <a:lnTo>
                    <a:pt x="708" y="788"/>
                  </a:lnTo>
                  <a:lnTo>
                    <a:pt x="708" y="786"/>
                  </a:lnTo>
                  <a:lnTo>
                    <a:pt x="708" y="782"/>
                  </a:lnTo>
                  <a:lnTo>
                    <a:pt x="708" y="782"/>
                  </a:lnTo>
                  <a:lnTo>
                    <a:pt x="708" y="782"/>
                  </a:lnTo>
                  <a:lnTo>
                    <a:pt x="706" y="778"/>
                  </a:lnTo>
                  <a:lnTo>
                    <a:pt x="706" y="778"/>
                  </a:lnTo>
                  <a:lnTo>
                    <a:pt x="706" y="776"/>
                  </a:lnTo>
                  <a:lnTo>
                    <a:pt x="706" y="774"/>
                  </a:lnTo>
                  <a:lnTo>
                    <a:pt x="704" y="772"/>
                  </a:lnTo>
                  <a:lnTo>
                    <a:pt x="704" y="772"/>
                  </a:lnTo>
                  <a:lnTo>
                    <a:pt x="704" y="772"/>
                  </a:lnTo>
                  <a:lnTo>
                    <a:pt x="702" y="770"/>
                  </a:lnTo>
                  <a:lnTo>
                    <a:pt x="704" y="770"/>
                  </a:lnTo>
                  <a:lnTo>
                    <a:pt x="708" y="768"/>
                  </a:lnTo>
                  <a:lnTo>
                    <a:pt x="712" y="768"/>
                  </a:lnTo>
                  <a:lnTo>
                    <a:pt x="716" y="766"/>
                  </a:lnTo>
                  <a:lnTo>
                    <a:pt x="724" y="766"/>
                  </a:lnTo>
                  <a:lnTo>
                    <a:pt x="734" y="766"/>
                  </a:lnTo>
                  <a:lnTo>
                    <a:pt x="734" y="766"/>
                  </a:lnTo>
                  <a:lnTo>
                    <a:pt x="736" y="764"/>
                  </a:lnTo>
                  <a:lnTo>
                    <a:pt x="736" y="762"/>
                  </a:lnTo>
                  <a:lnTo>
                    <a:pt x="738" y="758"/>
                  </a:lnTo>
                  <a:lnTo>
                    <a:pt x="738" y="754"/>
                  </a:lnTo>
                  <a:lnTo>
                    <a:pt x="738" y="750"/>
                  </a:lnTo>
                  <a:lnTo>
                    <a:pt x="738" y="746"/>
                  </a:lnTo>
                  <a:lnTo>
                    <a:pt x="740" y="744"/>
                  </a:lnTo>
                  <a:lnTo>
                    <a:pt x="742" y="742"/>
                  </a:lnTo>
                  <a:lnTo>
                    <a:pt x="744" y="740"/>
                  </a:lnTo>
                  <a:lnTo>
                    <a:pt x="744" y="740"/>
                  </a:lnTo>
                  <a:lnTo>
                    <a:pt x="748" y="738"/>
                  </a:lnTo>
                  <a:close/>
                  <a:moveTo>
                    <a:pt x="928" y="764"/>
                  </a:moveTo>
                  <a:lnTo>
                    <a:pt x="932" y="764"/>
                  </a:lnTo>
                  <a:lnTo>
                    <a:pt x="954" y="764"/>
                  </a:lnTo>
                  <a:lnTo>
                    <a:pt x="954" y="764"/>
                  </a:lnTo>
                  <a:lnTo>
                    <a:pt x="956" y="762"/>
                  </a:lnTo>
                  <a:lnTo>
                    <a:pt x="958" y="762"/>
                  </a:lnTo>
                  <a:lnTo>
                    <a:pt x="958" y="762"/>
                  </a:lnTo>
                  <a:lnTo>
                    <a:pt x="958" y="762"/>
                  </a:lnTo>
                  <a:lnTo>
                    <a:pt x="960" y="760"/>
                  </a:lnTo>
                  <a:lnTo>
                    <a:pt x="960" y="760"/>
                  </a:lnTo>
                  <a:lnTo>
                    <a:pt x="960" y="760"/>
                  </a:lnTo>
                  <a:lnTo>
                    <a:pt x="960" y="758"/>
                  </a:lnTo>
                  <a:lnTo>
                    <a:pt x="960" y="758"/>
                  </a:lnTo>
                  <a:lnTo>
                    <a:pt x="962" y="758"/>
                  </a:lnTo>
                  <a:lnTo>
                    <a:pt x="962" y="756"/>
                  </a:lnTo>
                  <a:lnTo>
                    <a:pt x="962" y="756"/>
                  </a:lnTo>
                  <a:lnTo>
                    <a:pt x="962" y="756"/>
                  </a:lnTo>
                  <a:lnTo>
                    <a:pt x="962" y="752"/>
                  </a:lnTo>
                  <a:lnTo>
                    <a:pt x="962" y="752"/>
                  </a:lnTo>
                  <a:lnTo>
                    <a:pt x="962" y="752"/>
                  </a:lnTo>
                  <a:lnTo>
                    <a:pt x="960" y="750"/>
                  </a:lnTo>
                  <a:lnTo>
                    <a:pt x="960" y="750"/>
                  </a:lnTo>
                  <a:lnTo>
                    <a:pt x="960" y="748"/>
                  </a:lnTo>
                  <a:lnTo>
                    <a:pt x="958" y="746"/>
                  </a:lnTo>
                  <a:lnTo>
                    <a:pt x="958" y="746"/>
                  </a:lnTo>
                  <a:lnTo>
                    <a:pt x="958" y="746"/>
                  </a:lnTo>
                  <a:lnTo>
                    <a:pt x="956" y="744"/>
                  </a:lnTo>
                  <a:lnTo>
                    <a:pt x="952" y="742"/>
                  </a:lnTo>
                  <a:lnTo>
                    <a:pt x="950" y="740"/>
                  </a:lnTo>
                  <a:lnTo>
                    <a:pt x="948" y="738"/>
                  </a:lnTo>
                  <a:lnTo>
                    <a:pt x="946" y="734"/>
                  </a:lnTo>
                  <a:lnTo>
                    <a:pt x="944" y="732"/>
                  </a:lnTo>
                  <a:lnTo>
                    <a:pt x="942" y="730"/>
                  </a:lnTo>
                  <a:lnTo>
                    <a:pt x="942" y="730"/>
                  </a:lnTo>
                  <a:lnTo>
                    <a:pt x="942" y="730"/>
                  </a:lnTo>
                  <a:lnTo>
                    <a:pt x="936" y="726"/>
                  </a:lnTo>
                  <a:lnTo>
                    <a:pt x="936" y="726"/>
                  </a:lnTo>
                  <a:lnTo>
                    <a:pt x="936" y="726"/>
                  </a:lnTo>
                  <a:lnTo>
                    <a:pt x="932" y="726"/>
                  </a:lnTo>
                  <a:lnTo>
                    <a:pt x="930" y="724"/>
                  </a:lnTo>
                  <a:lnTo>
                    <a:pt x="928" y="724"/>
                  </a:lnTo>
                  <a:lnTo>
                    <a:pt x="928" y="722"/>
                  </a:lnTo>
                  <a:lnTo>
                    <a:pt x="926" y="720"/>
                  </a:lnTo>
                  <a:lnTo>
                    <a:pt x="926" y="720"/>
                  </a:lnTo>
                  <a:lnTo>
                    <a:pt x="926" y="720"/>
                  </a:lnTo>
                  <a:lnTo>
                    <a:pt x="924" y="718"/>
                  </a:lnTo>
                  <a:lnTo>
                    <a:pt x="924" y="718"/>
                  </a:lnTo>
                  <a:lnTo>
                    <a:pt x="924" y="718"/>
                  </a:lnTo>
                  <a:lnTo>
                    <a:pt x="922" y="718"/>
                  </a:lnTo>
                  <a:lnTo>
                    <a:pt x="922" y="718"/>
                  </a:lnTo>
                  <a:lnTo>
                    <a:pt x="922" y="718"/>
                  </a:lnTo>
                  <a:lnTo>
                    <a:pt x="920" y="718"/>
                  </a:lnTo>
                  <a:lnTo>
                    <a:pt x="918" y="716"/>
                  </a:lnTo>
                  <a:lnTo>
                    <a:pt x="916" y="716"/>
                  </a:lnTo>
                  <a:lnTo>
                    <a:pt x="914" y="716"/>
                  </a:lnTo>
                  <a:lnTo>
                    <a:pt x="910" y="716"/>
                  </a:lnTo>
                  <a:lnTo>
                    <a:pt x="906" y="716"/>
                  </a:lnTo>
                  <a:lnTo>
                    <a:pt x="902" y="716"/>
                  </a:lnTo>
                  <a:lnTo>
                    <a:pt x="902" y="716"/>
                  </a:lnTo>
                  <a:lnTo>
                    <a:pt x="900" y="716"/>
                  </a:lnTo>
                  <a:lnTo>
                    <a:pt x="900" y="716"/>
                  </a:lnTo>
                  <a:lnTo>
                    <a:pt x="900" y="718"/>
                  </a:lnTo>
                  <a:lnTo>
                    <a:pt x="900" y="720"/>
                  </a:lnTo>
                  <a:lnTo>
                    <a:pt x="900" y="722"/>
                  </a:lnTo>
                  <a:lnTo>
                    <a:pt x="900" y="726"/>
                  </a:lnTo>
                  <a:lnTo>
                    <a:pt x="900" y="728"/>
                  </a:lnTo>
                  <a:lnTo>
                    <a:pt x="900" y="736"/>
                  </a:lnTo>
                  <a:lnTo>
                    <a:pt x="900" y="744"/>
                  </a:lnTo>
                  <a:lnTo>
                    <a:pt x="902" y="750"/>
                  </a:lnTo>
                  <a:lnTo>
                    <a:pt x="904" y="758"/>
                  </a:lnTo>
                  <a:lnTo>
                    <a:pt x="906" y="760"/>
                  </a:lnTo>
                  <a:lnTo>
                    <a:pt x="906" y="764"/>
                  </a:lnTo>
                  <a:lnTo>
                    <a:pt x="906" y="764"/>
                  </a:lnTo>
                  <a:lnTo>
                    <a:pt x="906" y="764"/>
                  </a:lnTo>
                  <a:lnTo>
                    <a:pt x="908" y="766"/>
                  </a:lnTo>
                  <a:lnTo>
                    <a:pt x="908" y="766"/>
                  </a:lnTo>
                  <a:lnTo>
                    <a:pt x="908" y="766"/>
                  </a:lnTo>
                  <a:lnTo>
                    <a:pt x="910" y="768"/>
                  </a:lnTo>
                  <a:lnTo>
                    <a:pt x="910" y="768"/>
                  </a:lnTo>
                  <a:lnTo>
                    <a:pt x="914" y="768"/>
                  </a:lnTo>
                  <a:lnTo>
                    <a:pt x="918" y="766"/>
                  </a:lnTo>
                  <a:lnTo>
                    <a:pt x="918" y="766"/>
                  </a:lnTo>
                  <a:lnTo>
                    <a:pt x="922" y="766"/>
                  </a:lnTo>
                  <a:lnTo>
                    <a:pt x="928" y="764"/>
                  </a:lnTo>
                  <a:close/>
                  <a:moveTo>
                    <a:pt x="950" y="976"/>
                  </a:moveTo>
                  <a:lnTo>
                    <a:pt x="948" y="980"/>
                  </a:lnTo>
                  <a:lnTo>
                    <a:pt x="944" y="986"/>
                  </a:lnTo>
                  <a:lnTo>
                    <a:pt x="944" y="986"/>
                  </a:lnTo>
                  <a:lnTo>
                    <a:pt x="944" y="986"/>
                  </a:lnTo>
                  <a:lnTo>
                    <a:pt x="944" y="990"/>
                  </a:lnTo>
                  <a:lnTo>
                    <a:pt x="944" y="990"/>
                  </a:lnTo>
                  <a:lnTo>
                    <a:pt x="944" y="990"/>
                  </a:lnTo>
                  <a:lnTo>
                    <a:pt x="942" y="994"/>
                  </a:lnTo>
                  <a:lnTo>
                    <a:pt x="942" y="994"/>
                  </a:lnTo>
                  <a:lnTo>
                    <a:pt x="942" y="996"/>
                  </a:lnTo>
                  <a:lnTo>
                    <a:pt x="942" y="998"/>
                  </a:lnTo>
                  <a:lnTo>
                    <a:pt x="942" y="998"/>
                  </a:lnTo>
                  <a:lnTo>
                    <a:pt x="942" y="998"/>
                  </a:lnTo>
                  <a:lnTo>
                    <a:pt x="944" y="1000"/>
                  </a:lnTo>
                  <a:lnTo>
                    <a:pt x="944" y="1000"/>
                  </a:lnTo>
                  <a:lnTo>
                    <a:pt x="944" y="1000"/>
                  </a:lnTo>
                  <a:lnTo>
                    <a:pt x="944" y="1004"/>
                  </a:lnTo>
                  <a:lnTo>
                    <a:pt x="946" y="1006"/>
                  </a:lnTo>
                  <a:lnTo>
                    <a:pt x="946" y="1006"/>
                  </a:lnTo>
                  <a:lnTo>
                    <a:pt x="946" y="1006"/>
                  </a:lnTo>
                  <a:lnTo>
                    <a:pt x="948" y="1008"/>
                  </a:lnTo>
                  <a:lnTo>
                    <a:pt x="948" y="1008"/>
                  </a:lnTo>
                  <a:lnTo>
                    <a:pt x="950" y="1008"/>
                  </a:lnTo>
                  <a:lnTo>
                    <a:pt x="952" y="1010"/>
                  </a:lnTo>
                  <a:lnTo>
                    <a:pt x="952" y="1010"/>
                  </a:lnTo>
                  <a:lnTo>
                    <a:pt x="952" y="1010"/>
                  </a:lnTo>
                  <a:lnTo>
                    <a:pt x="956" y="1010"/>
                  </a:lnTo>
                  <a:lnTo>
                    <a:pt x="956" y="1010"/>
                  </a:lnTo>
                  <a:lnTo>
                    <a:pt x="956" y="1010"/>
                  </a:lnTo>
                  <a:lnTo>
                    <a:pt x="960" y="1010"/>
                  </a:lnTo>
                  <a:lnTo>
                    <a:pt x="966" y="1008"/>
                  </a:lnTo>
                  <a:lnTo>
                    <a:pt x="968" y="1008"/>
                  </a:lnTo>
                  <a:lnTo>
                    <a:pt x="972" y="1008"/>
                  </a:lnTo>
                  <a:lnTo>
                    <a:pt x="972" y="1008"/>
                  </a:lnTo>
                  <a:lnTo>
                    <a:pt x="974" y="1008"/>
                  </a:lnTo>
                  <a:lnTo>
                    <a:pt x="974" y="1006"/>
                  </a:lnTo>
                  <a:lnTo>
                    <a:pt x="974" y="1006"/>
                  </a:lnTo>
                  <a:lnTo>
                    <a:pt x="974" y="1006"/>
                  </a:lnTo>
                  <a:lnTo>
                    <a:pt x="976" y="1004"/>
                  </a:lnTo>
                  <a:lnTo>
                    <a:pt x="976" y="1002"/>
                  </a:lnTo>
                  <a:lnTo>
                    <a:pt x="978" y="1000"/>
                  </a:lnTo>
                  <a:lnTo>
                    <a:pt x="978" y="998"/>
                  </a:lnTo>
                  <a:lnTo>
                    <a:pt x="980" y="994"/>
                  </a:lnTo>
                  <a:lnTo>
                    <a:pt x="982" y="988"/>
                  </a:lnTo>
                  <a:lnTo>
                    <a:pt x="984" y="980"/>
                  </a:lnTo>
                  <a:lnTo>
                    <a:pt x="984" y="978"/>
                  </a:lnTo>
                  <a:lnTo>
                    <a:pt x="984" y="974"/>
                  </a:lnTo>
                  <a:lnTo>
                    <a:pt x="984" y="972"/>
                  </a:lnTo>
                  <a:lnTo>
                    <a:pt x="984" y="972"/>
                  </a:lnTo>
                  <a:lnTo>
                    <a:pt x="984" y="970"/>
                  </a:lnTo>
                  <a:lnTo>
                    <a:pt x="984" y="968"/>
                  </a:lnTo>
                  <a:lnTo>
                    <a:pt x="984" y="968"/>
                  </a:lnTo>
                  <a:lnTo>
                    <a:pt x="984" y="968"/>
                  </a:lnTo>
                  <a:lnTo>
                    <a:pt x="982" y="966"/>
                  </a:lnTo>
                  <a:lnTo>
                    <a:pt x="982" y="966"/>
                  </a:lnTo>
                  <a:lnTo>
                    <a:pt x="982" y="966"/>
                  </a:lnTo>
                  <a:lnTo>
                    <a:pt x="980" y="966"/>
                  </a:lnTo>
                  <a:lnTo>
                    <a:pt x="980" y="966"/>
                  </a:lnTo>
                  <a:lnTo>
                    <a:pt x="980" y="964"/>
                  </a:lnTo>
                  <a:lnTo>
                    <a:pt x="972" y="964"/>
                  </a:lnTo>
                  <a:lnTo>
                    <a:pt x="966" y="964"/>
                  </a:lnTo>
                  <a:lnTo>
                    <a:pt x="960" y="964"/>
                  </a:lnTo>
                  <a:lnTo>
                    <a:pt x="954" y="962"/>
                  </a:lnTo>
                  <a:lnTo>
                    <a:pt x="954" y="962"/>
                  </a:lnTo>
                  <a:lnTo>
                    <a:pt x="952" y="964"/>
                  </a:lnTo>
                  <a:lnTo>
                    <a:pt x="952" y="964"/>
                  </a:lnTo>
                  <a:lnTo>
                    <a:pt x="952" y="966"/>
                  </a:lnTo>
                  <a:lnTo>
                    <a:pt x="952" y="966"/>
                  </a:lnTo>
                  <a:lnTo>
                    <a:pt x="952" y="968"/>
                  </a:lnTo>
                  <a:lnTo>
                    <a:pt x="952" y="968"/>
                  </a:lnTo>
                  <a:lnTo>
                    <a:pt x="952" y="968"/>
                  </a:lnTo>
                  <a:lnTo>
                    <a:pt x="952" y="970"/>
                  </a:lnTo>
                  <a:lnTo>
                    <a:pt x="952" y="970"/>
                  </a:lnTo>
                  <a:lnTo>
                    <a:pt x="952" y="970"/>
                  </a:lnTo>
                  <a:lnTo>
                    <a:pt x="954" y="970"/>
                  </a:lnTo>
                  <a:lnTo>
                    <a:pt x="954" y="972"/>
                  </a:lnTo>
                  <a:lnTo>
                    <a:pt x="952" y="974"/>
                  </a:lnTo>
                  <a:lnTo>
                    <a:pt x="950" y="976"/>
                  </a:lnTo>
                  <a:close/>
                  <a:moveTo>
                    <a:pt x="882" y="1156"/>
                  </a:moveTo>
                  <a:lnTo>
                    <a:pt x="882" y="1156"/>
                  </a:lnTo>
                  <a:lnTo>
                    <a:pt x="882" y="1156"/>
                  </a:lnTo>
                  <a:lnTo>
                    <a:pt x="880" y="1154"/>
                  </a:lnTo>
                  <a:lnTo>
                    <a:pt x="880" y="1154"/>
                  </a:lnTo>
                  <a:lnTo>
                    <a:pt x="880" y="1154"/>
                  </a:lnTo>
                  <a:lnTo>
                    <a:pt x="880" y="1154"/>
                  </a:lnTo>
                  <a:lnTo>
                    <a:pt x="878" y="1154"/>
                  </a:lnTo>
                  <a:lnTo>
                    <a:pt x="878" y="1154"/>
                  </a:lnTo>
                  <a:lnTo>
                    <a:pt x="878" y="1154"/>
                  </a:lnTo>
                  <a:lnTo>
                    <a:pt x="874" y="1154"/>
                  </a:lnTo>
                  <a:lnTo>
                    <a:pt x="870" y="1154"/>
                  </a:lnTo>
                  <a:lnTo>
                    <a:pt x="866" y="1154"/>
                  </a:lnTo>
                  <a:lnTo>
                    <a:pt x="862" y="1154"/>
                  </a:lnTo>
                  <a:lnTo>
                    <a:pt x="858" y="1154"/>
                  </a:lnTo>
                  <a:lnTo>
                    <a:pt x="854" y="1154"/>
                  </a:lnTo>
                  <a:lnTo>
                    <a:pt x="852" y="1154"/>
                  </a:lnTo>
                  <a:lnTo>
                    <a:pt x="852" y="1154"/>
                  </a:lnTo>
                  <a:lnTo>
                    <a:pt x="850" y="1156"/>
                  </a:lnTo>
                  <a:lnTo>
                    <a:pt x="848" y="1162"/>
                  </a:lnTo>
                  <a:lnTo>
                    <a:pt x="846" y="1164"/>
                  </a:lnTo>
                  <a:lnTo>
                    <a:pt x="846" y="1168"/>
                  </a:lnTo>
                  <a:lnTo>
                    <a:pt x="846" y="1168"/>
                  </a:lnTo>
                  <a:lnTo>
                    <a:pt x="846" y="1168"/>
                  </a:lnTo>
                  <a:lnTo>
                    <a:pt x="846" y="1170"/>
                  </a:lnTo>
                  <a:lnTo>
                    <a:pt x="846" y="1170"/>
                  </a:lnTo>
                  <a:lnTo>
                    <a:pt x="846" y="1172"/>
                  </a:lnTo>
                  <a:lnTo>
                    <a:pt x="848" y="1174"/>
                  </a:lnTo>
                  <a:lnTo>
                    <a:pt x="848" y="1174"/>
                  </a:lnTo>
                  <a:lnTo>
                    <a:pt x="848" y="1174"/>
                  </a:lnTo>
                  <a:lnTo>
                    <a:pt x="850" y="1176"/>
                  </a:lnTo>
                  <a:lnTo>
                    <a:pt x="850" y="1176"/>
                  </a:lnTo>
                  <a:lnTo>
                    <a:pt x="850" y="1176"/>
                  </a:lnTo>
                  <a:lnTo>
                    <a:pt x="854" y="1178"/>
                  </a:lnTo>
                  <a:lnTo>
                    <a:pt x="854" y="1178"/>
                  </a:lnTo>
                  <a:lnTo>
                    <a:pt x="854" y="1178"/>
                  </a:lnTo>
                  <a:lnTo>
                    <a:pt x="856" y="1178"/>
                  </a:lnTo>
                  <a:lnTo>
                    <a:pt x="862" y="1178"/>
                  </a:lnTo>
                  <a:lnTo>
                    <a:pt x="866" y="1178"/>
                  </a:lnTo>
                  <a:lnTo>
                    <a:pt x="868" y="1176"/>
                  </a:lnTo>
                  <a:lnTo>
                    <a:pt x="872" y="1176"/>
                  </a:lnTo>
                  <a:lnTo>
                    <a:pt x="872" y="1176"/>
                  </a:lnTo>
                  <a:lnTo>
                    <a:pt x="872" y="1176"/>
                  </a:lnTo>
                  <a:lnTo>
                    <a:pt x="876" y="1174"/>
                  </a:lnTo>
                  <a:lnTo>
                    <a:pt x="876" y="1174"/>
                  </a:lnTo>
                  <a:lnTo>
                    <a:pt x="876" y="1174"/>
                  </a:lnTo>
                  <a:lnTo>
                    <a:pt x="878" y="1172"/>
                  </a:lnTo>
                  <a:lnTo>
                    <a:pt x="878" y="1172"/>
                  </a:lnTo>
                  <a:lnTo>
                    <a:pt x="878" y="1172"/>
                  </a:lnTo>
                  <a:lnTo>
                    <a:pt x="880" y="1168"/>
                  </a:lnTo>
                  <a:lnTo>
                    <a:pt x="880" y="1168"/>
                  </a:lnTo>
                  <a:lnTo>
                    <a:pt x="880" y="1168"/>
                  </a:lnTo>
                  <a:lnTo>
                    <a:pt x="882" y="1164"/>
                  </a:lnTo>
                  <a:lnTo>
                    <a:pt x="882" y="1164"/>
                  </a:lnTo>
                  <a:lnTo>
                    <a:pt x="882" y="1164"/>
                  </a:lnTo>
                  <a:lnTo>
                    <a:pt x="884" y="1162"/>
                  </a:lnTo>
                  <a:lnTo>
                    <a:pt x="884" y="1162"/>
                  </a:lnTo>
                  <a:lnTo>
                    <a:pt x="884" y="1162"/>
                  </a:lnTo>
                  <a:lnTo>
                    <a:pt x="884" y="1160"/>
                  </a:lnTo>
                  <a:lnTo>
                    <a:pt x="884" y="1160"/>
                  </a:lnTo>
                  <a:lnTo>
                    <a:pt x="884" y="1160"/>
                  </a:lnTo>
                  <a:lnTo>
                    <a:pt x="882" y="1158"/>
                  </a:lnTo>
                  <a:lnTo>
                    <a:pt x="882" y="1158"/>
                  </a:lnTo>
                  <a:lnTo>
                    <a:pt x="882" y="1156"/>
                  </a:lnTo>
                  <a:lnTo>
                    <a:pt x="882" y="1156"/>
                  </a:lnTo>
                  <a:close/>
                  <a:moveTo>
                    <a:pt x="900" y="1196"/>
                  </a:moveTo>
                  <a:lnTo>
                    <a:pt x="900" y="1196"/>
                  </a:lnTo>
                  <a:lnTo>
                    <a:pt x="902" y="1196"/>
                  </a:lnTo>
                  <a:lnTo>
                    <a:pt x="904" y="1196"/>
                  </a:lnTo>
                  <a:lnTo>
                    <a:pt x="904" y="1196"/>
                  </a:lnTo>
                  <a:lnTo>
                    <a:pt x="904" y="1198"/>
                  </a:lnTo>
                  <a:lnTo>
                    <a:pt x="906" y="1198"/>
                  </a:lnTo>
                  <a:lnTo>
                    <a:pt x="908" y="1198"/>
                  </a:lnTo>
                  <a:lnTo>
                    <a:pt x="908" y="1198"/>
                  </a:lnTo>
                  <a:lnTo>
                    <a:pt x="910" y="1198"/>
                  </a:lnTo>
                  <a:lnTo>
                    <a:pt x="912" y="1198"/>
                  </a:lnTo>
                  <a:lnTo>
                    <a:pt x="912" y="1198"/>
                  </a:lnTo>
                  <a:lnTo>
                    <a:pt x="914" y="1198"/>
                  </a:lnTo>
                  <a:lnTo>
                    <a:pt x="916" y="1196"/>
                  </a:lnTo>
                  <a:lnTo>
                    <a:pt x="916" y="1196"/>
                  </a:lnTo>
                  <a:lnTo>
                    <a:pt x="916" y="1196"/>
                  </a:lnTo>
                  <a:lnTo>
                    <a:pt x="918" y="1192"/>
                  </a:lnTo>
                  <a:lnTo>
                    <a:pt x="918" y="1192"/>
                  </a:lnTo>
                  <a:lnTo>
                    <a:pt x="920" y="1192"/>
                  </a:lnTo>
                  <a:lnTo>
                    <a:pt x="922" y="1188"/>
                  </a:lnTo>
                  <a:lnTo>
                    <a:pt x="922" y="1188"/>
                  </a:lnTo>
                  <a:lnTo>
                    <a:pt x="922" y="1188"/>
                  </a:lnTo>
                  <a:lnTo>
                    <a:pt x="922" y="1182"/>
                  </a:lnTo>
                  <a:lnTo>
                    <a:pt x="922" y="1182"/>
                  </a:lnTo>
                  <a:lnTo>
                    <a:pt x="922" y="1182"/>
                  </a:lnTo>
                  <a:lnTo>
                    <a:pt x="920" y="1178"/>
                  </a:lnTo>
                  <a:lnTo>
                    <a:pt x="920" y="1178"/>
                  </a:lnTo>
                  <a:lnTo>
                    <a:pt x="920" y="1176"/>
                  </a:lnTo>
                  <a:lnTo>
                    <a:pt x="918" y="1172"/>
                  </a:lnTo>
                  <a:lnTo>
                    <a:pt x="918" y="1172"/>
                  </a:lnTo>
                  <a:lnTo>
                    <a:pt x="918" y="1172"/>
                  </a:lnTo>
                  <a:lnTo>
                    <a:pt x="914" y="1168"/>
                  </a:lnTo>
                  <a:lnTo>
                    <a:pt x="914" y="1168"/>
                  </a:lnTo>
                  <a:lnTo>
                    <a:pt x="914" y="1168"/>
                  </a:lnTo>
                  <a:lnTo>
                    <a:pt x="912" y="1168"/>
                  </a:lnTo>
                  <a:lnTo>
                    <a:pt x="912" y="1168"/>
                  </a:lnTo>
                  <a:lnTo>
                    <a:pt x="912" y="1166"/>
                  </a:lnTo>
                  <a:lnTo>
                    <a:pt x="910" y="1166"/>
                  </a:lnTo>
                  <a:lnTo>
                    <a:pt x="910" y="1166"/>
                  </a:lnTo>
                  <a:lnTo>
                    <a:pt x="908" y="1166"/>
                  </a:lnTo>
                  <a:lnTo>
                    <a:pt x="908" y="1166"/>
                  </a:lnTo>
                  <a:lnTo>
                    <a:pt x="906" y="1168"/>
                  </a:lnTo>
                  <a:lnTo>
                    <a:pt x="904" y="1170"/>
                  </a:lnTo>
                  <a:lnTo>
                    <a:pt x="904" y="1172"/>
                  </a:lnTo>
                  <a:lnTo>
                    <a:pt x="904" y="1174"/>
                  </a:lnTo>
                  <a:lnTo>
                    <a:pt x="904" y="1176"/>
                  </a:lnTo>
                  <a:lnTo>
                    <a:pt x="904" y="1176"/>
                  </a:lnTo>
                  <a:lnTo>
                    <a:pt x="902" y="1178"/>
                  </a:lnTo>
                  <a:lnTo>
                    <a:pt x="902" y="1182"/>
                  </a:lnTo>
                  <a:lnTo>
                    <a:pt x="902" y="1184"/>
                  </a:lnTo>
                  <a:lnTo>
                    <a:pt x="902" y="1184"/>
                  </a:lnTo>
                  <a:lnTo>
                    <a:pt x="902" y="1186"/>
                  </a:lnTo>
                  <a:lnTo>
                    <a:pt x="900" y="1188"/>
                  </a:lnTo>
                  <a:lnTo>
                    <a:pt x="900" y="1188"/>
                  </a:lnTo>
                  <a:lnTo>
                    <a:pt x="900" y="1188"/>
                  </a:lnTo>
                  <a:lnTo>
                    <a:pt x="900" y="1190"/>
                  </a:lnTo>
                  <a:lnTo>
                    <a:pt x="900" y="1190"/>
                  </a:lnTo>
                  <a:lnTo>
                    <a:pt x="900" y="1192"/>
                  </a:lnTo>
                  <a:lnTo>
                    <a:pt x="900" y="1192"/>
                  </a:lnTo>
                  <a:lnTo>
                    <a:pt x="900" y="1192"/>
                  </a:lnTo>
                  <a:lnTo>
                    <a:pt x="900" y="1194"/>
                  </a:lnTo>
                  <a:lnTo>
                    <a:pt x="900" y="1196"/>
                  </a:lnTo>
                  <a:close/>
                  <a:moveTo>
                    <a:pt x="896" y="1248"/>
                  </a:moveTo>
                  <a:lnTo>
                    <a:pt x="896" y="1248"/>
                  </a:lnTo>
                  <a:lnTo>
                    <a:pt x="896" y="1248"/>
                  </a:lnTo>
                  <a:lnTo>
                    <a:pt x="894" y="1250"/>
                  </a:lnTo>
                  <a:lnTo>
                    <a:pt x="894" y="1250"/>
                  </a:lnTo>
                  <a:lnTo>
                    <a:pt x="892" y="1252"/>
                  </a:lnTo>
                  <a:lnTo>
                    <a:pt x="892" y="1254"/>
                  </a:lnTo>
                  <a:lnTo>
                    <a:pt x="892" y="1254"/>
                  </a:lnTo>
                  <a:lnTo>
                    <a:pt x="892" y="1254"/>
                  </a:lnTo>
                  <a:lnTo>
                    <a:pt x="892" y="1256"/>
                  </a:lnTo>
                  <a:lnTo>
                    <a:pt x="892" y="1256"/>
                  </a:lnTo>
                  <a:lnTo>
                    <a:pt x="892" y="1258"/>
                  </a:lnTo>
                  <a:lnTo>
                    <a:pt x="892" y="1260"/>
                  </a:lnTo>
                  <a:lnTo>
                    <a:pt x="892" y="1264"/>
                  </a:lnTo>
                  <a:lnTo>
                    <a:pt x="894" y="1268"/>
                  </a:lnTo>
                  <a:lnTo>
                    <a:pt x="894" y="1272"/>
                  </a:lnTo>
                  <a:lnTo>
                    <a:pt x="894" y="1272"/>
                  </a:lnTo>
                  <a:lnTo>
                    <a:pt x="896" y="1274"/>
                  </a:lnTo>
                  <a:lnTo>
                    <a:pt x="896" y="1274"/>
                  </a:lnTo>
                  <a:lnTo>
                    <a:pt x="898" y="1274"/>
                  </a:lnTo>
                  <a:lnTo>
                    <a:pt x="902" y="1274"/>
                  </a:lnTo>
                  <a:lnTo>
                    <a:pt x="902" y="1274"/>
                  </a:lnTo>
                  <a:lnTo>
                    <a:pt x="902" y="1274"/>
                  </a:lnTo>
                  <a:lnTo>
                    <a:pt x="906" y="1272"/>
                  </a:lnTo>
                  <a:lnTo>
                    <a:pt x="906" y="1272"/>
                  </a:lnTo>
                  <a:lnTo>
                    <a:pt x="906" y="1270"/>
                  </a:lnTo>
                  <a:lnTo>
                    <a:pt x="908" y="1268"/>
                  </a:lnTo>
                  <a:lnTo>
                    <a:pt x="908" y="1268"/>
                  </a:lnTo>
                  <a:lnTo>
                    <a:pt x="908" y="1266"/>
                  </a:lnTo>
                  <a:lnTo>
                    <a:pt x="910" y="1262"/>
                  </a:lnTo>
                  <a:lnTo>
                    <a:pt x="910" y="1262"/>
                  </a:lnTo>
                  <a:lnTo>
                    <a:pt x="910" y="1262"/>
                  </a:lnTo>
                  <a:lnTo>
                    <a:pt x="908" y="1258"/>
                  </a:lnTo>
                  <a:lnTo>
                    <a:pt x="908" y="1258"/>
                  </a:lnTo>
                  <a:lnTo>
                    <a:pt x="908" y="1258"/>
                  </a:lnTo>
                  <a:lnTo>
                    <a:pt x="908" y="1254"/>
                  </a:lnTo>
                  <a:lnTo>
                    <a:pt x="908" y="1254"/>
                  </a:lnTo>
                  <a:lnTo>
                    <a:pt x="908" y="1254"/>
                  </a:lnTo>
                  <a:lnTo>
                    <a:pt x="906" y="1250"/>
                  </a:lnTo>
                  <a:lnTo>
                    <a:pt x="906" y="1250"/>
                  </a:lnTo>
                  <a:lnTo>
                    <a:pt x="906" y="1250"/>
                  </a:lnTo>
                  <a:lnTo>
                    <a:pt x="904" y="1246"/>
                  </a:lnTo>
                  <a:lnTo>
                    <a:pt x="904" y="1246"/>
                  </a:lnTo>
                  <a:lnTo>
                    <a:pt x="902" y="1244"/>
                  </a:lnTo>
                  <a:lnTo>
                    <a:pt x="902" y="1244"/>
                  </a:lnTo>
                  <a:lnTo>
                    <a:pt x="898" y="1246"/>
                  </a:lnTo>
                  <a:lnTo>
                    <a:pt x="896" y="1248"/>
                  </a:lnTo>
                  <a:close/>
                  <a:moveTo>
                    <a:pt x="902" y="1354"/>
                  </a:moveTo>
                  <a:lnTo>
                    <a:pt x="902" y="1356"/>
                  </a:lnTo>
                  <a:lnTo>
                    <a:pt x="902" y="1358"/>
                  </a:lnTo>
                  <a:lnTo>
                    <a:pt x="904" y="1360"/>
                  </a:lnTo>
                  <a:lnTo>
                    <a:pt x="904" y="1360"/>
                  </a:lnTo>
                  <a:lnTo>
                    <a:pt x="904" y="1362"/>
                  </a:lnTo>
                  <a:lnTo>
                    <a:pt x="908" y="1364"/>
                  </a:lnTo>
                  <a:lnTo>
                    <a:pt x="912" y="1366"/>
                  </a:lnTo>
                  <a:lnTo>
                    <a:pt x="914" y="1368"/>
                  </a:lnTo>
                  <a:lnTo>
                    <a:pt x="914" y="1368"/>
                  </a:lnTo>
                  <a:lnTo>
                    <a:pt x="916" y="1368"/>
                  </a:lnTo>
                  <a:lnTo>
                    <a:pt x="918" y="1368"/>
                  </a:lnTo>
                  <a:lnTo>
                    <a:pt x="918" y="1368"/>
                  </a:lnTo>
                  <a:lnTo>
                    <a:pt x="920" y="1368"/>
                  </a:lnTo>
                  <a:lnTo>
                    <a:pt x="920" y="1366"/>
                  </a:lnTo>
                  <a:lnTo>
                    <a:pt x="920" y="1366"/>
                  </a:lnTo>
                  <a:lnTo>
                    <a:pt x="922" y="1366"/>
                  </a:lnTo>
                  <a:lnTo>
                    <a:pt x="924" y="1364"/>
                  </a:lnTo>
                  <a:lnTo>
                    <a:pt x="924" y="1364"/>
                  </a:lnTo>
                  <a:lnTo>
                    <a:pt x="924" y="1364"/>
                  </a:lnTo>
                  <a:lnTo>
                    <a:pt x="924" y="1362"/>
                  </a:lnTo>
                  <a:lnTo>
                    <a:pt x="924" y="1360"/>
                  </a:lnTo>
                  <a:lnTo>
                    <a:pt x="926" y="1358"/>
                  </a:lnTo>
                  <a:lnTo>
                    <a:pt x="926" y="1356"/>
                  </a:lnTo>
                  <a:lnTo>
                    <a:pt x="926" y="1354"/>
                  </a:lnTo>
                  <a:lnTo>
                    <a:pt x="928" y="1354"/>
                  </a:lnTo>
                  <a:lnTo>
                    <a:pt x="930" y="1352"/>
                  </a:lnTo>
                  <a:lnTo>
                    <a:pt x="934" y="1348"/>
                  </a:lnTo>
                  <a:lnTo>
                    <a:pt x="940" y="1344"/>
                  </a:lnTo>
                  <a:lnTo>
                    <a:pt x="942" y="1342"/>
                  </a:lnTo>
                  <a:lnTo>
                    <a:pt x="942" y="1340"/>
                  </a:lnTo>
                  <a:lnTo>
                    <a:pt x="944" y="1338"/>
                  </a:lnTo>
                  <a:lnTo>
                    <a:pt x="944" y="1338"/>
                  </a:lnTo>
                  <a:lnTo>
                    <a:pt x="944" y="1338"/>
                  </a:lnTo>
                  <a:lnTo>
                    <a:pt x="946" y="1336"/>
                  </a:lnTo>
                  <a:lnTo>
                    <a:pt x="946" y="1336"/>
                  </a:lnTo>
                  <a:lnTo>
                    <a:pt x="946" y="1334"/>
                  </a:lnTo>
                  <a:lnTo>
                    <a:pt x="946" y="1332"/>
                  </a:lnTo>
                  <a:lnTo>
                    <a:pt x="946" y="1332"/>
                  </a:lnTo>
                  <a:lnTo>
                    <a:pt x="946" y="1332"/>
                  </a:lnTo>
                  <a:lnTo>
                    <a:pt x="944" y="1330"/>
                  </a:lnTo>
                  <a:lnTo>
                    <a:pt x="944" y="1330"/>
                  </a:lnTo>
                  <a:lnTo>
                    <a:pt x="944" y="1330"/>
                  </a:lnTo>
                  <a:lnTo>
                    <a:pt x="942" y="1328"/>
                  </a:lnTo>
                  <a:lnTo>
                    <a:pt x="942" y="1328"/>
                  </a:lnTo>
                  <a:lnTo>
                    <a:pt x="942" y="1328"/>
                  </a:lnTo>
                  <a:lnTo>
                    <a:pt x="938" y="1328"/>
                  </a:lnTo>
                  <a:lnTo>
                    <a:pt x="938" y="1328"/>
                  </a:lnTo>
                  <a:lnTo>
                    <a:pt x="938" y="1326"/>
                  </a:lnTo>
                  <a:lnTo>
                    <a:pt x="930" y="1326"/>
                  </a:lnTo>
                  <a:lnTo>
                    <a:pt x="924" y="1326"/>
                  </a:lnTo>
                  <a:lnTo>
                    <a:pt x="916" y="1326"/>
                  </a:lnTo>
                  <a:lnTo>
                    <a:pt x="908" y="1326"/>
                  </a:lnTo>
                  <a:lnTo>
                    <a:pt x="908" y="1326"/>
                  </a:lnTo>
                  <a:lnTo>
                    <a:pt x="906" y="1326"/>
                  </a:lnTo>
                  <a:lnTo>
                    <a:pt x="906" y="1328"/>
                  </a:lnTo>
                  <a:lnTo>
                    <a:pt x="904" y="1334"/>
                  </a:lnTo>
                  <a:lnTo>
                    <a:pt x="904" y="1336"/>
                  </a:lnTo>
                  <a:lnTo>
                    <a:pt x="904" y="1340"/>
                  </a:lnTo>
                  <a:lnTo>
                    <a:pt x="904" y="1342"/>
                  </a:lnTo>
                  <a:lnTo>
                    <a:pt x="904" y="1344"/>
                  </a:lnTo>
                  <a:lnTo>
                    <a:pt x="902" y="1346"/>
                  </a:lnTo>
                  <a:lnTo>
                    <a:pt x="902" y="1350"/>
                  </a:lnTo>
                  <a:lnTo>
                    <a:pt x="902" y="1350"/>
                  </a:lnTo>
                  <a:lnTo>
                    <a:pt x="902" y="1350"/>
                  </a:lnTo>
                  <a:lnTo>
                    <a:pt x="902" y="1352"/>
                  </a:lnTo>
                  <a:lnTo>
                    <a:pt x="902" y="1354"/>
                  </a:lnTo>
                  <a:lnTo>
                    <a:pt x="902" y="1354"/>
                  </a:lnTo>
                  <a:close/>
                  <a:moveTo>
                    <a:pt x="272" y="584"/>
                  </a:moveTo>
                  <a:lnTo>
                    <a:pt x="274" y="590"/>
                  </a:lnTo>
                  <a:lnTo>
                    <a:pt x="274" y="590"/>
                  </a:lnTo>
                  <a:lnTo>
                    <a:pt x="274" y="590"/>
                  </a:lnTo>
                  <a:lnTo>
                    <a:pt x="278" y="596"/>
                  </a:lnTo>
                  <a:lnTo>
                    <a:pt x="280" y="602"/>
                  </a:lnTo>
                  <a:lnTo>
                    <a:pt x="284" y="608"/>
                  </a:lnTo>
                  <a:lnTo>
                    <a:pt x="288" y="614"/>
                  </a:lnTo>
                  <a:lnTo>
                    <a:pt x="288" y="614"/>
                  </a:lnTo>
                  <a:lnTo>
                    <a:pt x="290" y="614"/>
                  </a:lnTo>
                  <a:lnTo>
                    <a:pt x="292" y="614"/>
                  </a:lnTo>
                  <a:lnTo>
                    <a:pt x="294" y="612"/>
                  </a:lnTo>
                  <a:lnTo>
                    <a:pt x="298" y="610"/>
                  </a:lnTo>
                  <a:lnTo>
                    <a:pt x="300" y="610"/>
                  </a:lnTo>
                  <a:lnTo>
                    <a:pt x="302" y="608"/>
                  </a:lnTo>
                  <a:lnTo>
                    <a:pt x="302" y="608"/>
                  </a:lnTo>
                  <a:lnTo>
                    <a:pt x="302" y="608"/>
                  </a:lnTo>
                  <a:lnTo>
                    <a:pt x="304" y="606"/>
                  </a:lnTo>
                  <a:lnTo>
                    <a:pt x="304" y="606"/>
                  </a:lnTo>
                  <a:lnTo>
                    <a:pt x="304" y="604"/>
                  </a:lnTo>
                  <a:lnTo>
                    <a:pt x="304" y="602"/>
                  </a:lnTo>
                  <a:lnTo>
                    <a:pt x="304" y="602"/>
                  </a:lnTo>
                  <a:lnTo>
                    <a:pt x="304" y="602"/>
                  </a:lnTo>
                  <a:lnTo>
                    <a:pt x="306" y="600"/>
                  </a:lnTo>
                  <a:lnTo>
                    <a:pt x="306" y="598"/>
                  </a:lnTo>
                  <a:lnTo>
                    <a:pt x="306" y="600"/>
                  </a:lnTo>
                  <a:lnTo>
                    <a:pt x="306" y="600"/>
                  </a:lnTo>
                  <a:lnTo>
                    <a:pt x="306" y="600"/>
                  </a:lnTo>
                  <a:lnTo>
                    <a:pt x="310" y="602"/>
                  </a:lnTo>
                  <a:lnTo>
                    <a:pt x="312" y="604"/>
                  </a:lnTo>
                  <a:lnTo>
                    <a:pt x="314" y="602"/>
                  </a:lnTo>
                  <a:lnTo>
                    <a:pt x="314" y="602"/>
                  </a:lnTo>
                  <a:lnTo>
                    <a:pt x="316" y="602"/>
                  </a:lnTo>
                  <a:lnTo>
                    <a:pt x="316" y="602"/>
                  </a:lnTo>
                  <a:lnTo>
                    <a:pt x="316" y="602"/>
                  </a:lnTo>
                  <a:lnTo>
                    <a:pt x="318" y="602"/>
                  </a:lnTo>
                  <a:lnTo>
                    <a:pt x="318" y="602"/>
                  </a:lnTo>
                  <a:lnTo>
                    <a:pt x="318" y="602"/>
                  </a:lnTo>
                  <a:lnTo>
                    <a:pt x="320" y="600"/>
                  </a:lnTo>
                  <a:lnTo>
                    <a:pt x="320" y="600"/>
                  </a:lnTo>
                  <a:lnTo>
                    <a:pt x="320" y="600"/>
                  </a:lnTo>
                  <a:lnTo>
                    <a:pt x="320" y="598"/>
                  </a:lnTo>
                  <a:lnTo>
                    <a:pt x="320" y="596"/>
                  </a:lnTo>
                  <a:lnTo>
                    <a:pt x="320" y="594"/>
                  </a:lnTo>
                  <a:lnTo>
                    <a:pt x="320" y="594"/>
                  </a:lnTo>
                  <a:lnTo>
                    <a:pt x="324" y="592"/>
                  </a:lnTo>
                  <a:lnTo>
                    <a:pt x="326" y="590"/>
                  </a:lnTo>
                  <a:lnTo>
                    <a:pt x="328" y="588"/>
                  </a:lnTo>
                  <a:lnTo>
                    <a:pt x="330" y="586"/>
                  </a:lnTo>
                  <a:lnTo>
                    <a:pt x="330" y="586"/>
                  </a:lnTo>
                  <a:lnTo>
                    <a:pt x="330" y="586"/>
                  </a:lnTo>
                  <a:lnTo>
                    <a:pt x="332" y="584"/>
                  </a:lnTo>
                  <a:lnTo>
                    <a:pt x="334" y="582"/>
                  </a:lnTo>
                  <a:lnTo>
                    <a:pt x="334" y="582"/>
                  </a:lnTo>
                  <a:lnTo>
                    <a:pt x="334" y="582"/>
                  </a:lnTo>
                  <a:lnTo>
                    <a:pt x="336" y="578"/>
                  </a:lnTo>
                  <a:lnTo>
                    <a:pt x="336" y="572"/>
                  </a:lnTo>
                  <a:lnTo>
                    <a:pt x="338" y="568"/>
                  </a:lnTo>
                  <a:lnTo>
                    <a:pt x="338" y="564"/>
                  </a:lnTo>
                  <a:lnTo>
                    <a:pt x="340" y="562"/>
                  </a:lnTo>
                  <a:lnTo>
                    <a:pt x="340" y="562"/>
                  </a:lnTo>
                  <a:lnTo>
                    <a:pt x="342" y="562"/>
                  </a:lnTo>
                  <a:lnTo>
                    <a:pt x="342" y="564"/>
                  </a:lnTo>
                  <a:lnTo>
                    <a:pt x="342" y="566"/>
                  </a:lnTo>
                  <a:lnTo>
                    <a:pt x="342" y="570"/>
                  </a:lnTo>
                  <a:lnTo>
                    <a:pt x="344" y="572"/>
                  </a:lnTo>
                  <a:lnTo>
                    <a:pt x="344" y="572"/>
                  </a:lnTo>
                  <a:lnTo>
                    <a:pt x="344" y="572"/>
                  </a:lnTo>
                  <a:lnTo>
                    <a:pt x="344" y="576"/>
                  </a:lnTo>
                  <a:lnTo>
                    <a:pt x="344" y="576"/>
                  </a:lnTo>
                  <a:lnTo>
                    <a:pt x="344" y="576"/>
                  </a:lnTo>
                  <a:lnTo>
                    <a:pt x="346" y="580"/>
                  </a:lnTo>
                  <a:lnTo>
                    <a:pt x="346" y="580"/>
                  </a:lnTo>
                  <a:lnTo>
                    <a:pt x="348" y="580"/>
                  </a:lnTo>
                  <a:lnTo>
                    <a:pt x="350" y="582"/>
                  </a:lnTo>
                  <a:lnTo>
                    <a:pt x="352" y="582"/>
                  </a:lnTo>
                  <a:lnTo>
                    <a:pt x="352" y="582"/>
                  </a:lnTo>
                  <a:lnTo>
                    <a:pt x="352" y="582"/>
                  </a:lnTo>
                  <a:lnTo>
                    <a:pt x="356" y="582"/>
                  </a:lnTo>
                  <a:lnTo>
                    <a:pt x="356" y="582"/>
                  </a:lnTo>
                  <a:lnTo>
                    <a:pt x="358" y="580"/>
                  </a:lnTo>
                  <a:lnTo>
                    <a:pt x="360" y="580"/>
                  </a:lnTo>
                  <a:lnTo>
                    <a:pt x="360" y="580"/>
                  </a:lnTo>
                  <a:lnTo>
                    <a:pt x="360" y="578"/>
                  </a:lnTo>
                  <a:lnTo>
                    <a:pt x="362" y="576"/>
                  </a:lnTo>
                  <a:lnTo>
                    <a:pt x="362" y="576"/>
                  </a:lnTo>
                  <a:lnTo>
                    <a:pt x="362" y="576"/>
                  </a:lnTo>
                  <a:lnTo>
                    <a:pt x="362" y="572"/>
                  </a:lnTo>
                  <a:lnTo>
                    <a:pt x="362" y="568"/>
                  </a:lnTo>
                  <a:lnTo>
                    <a:pt x="362" y="564"/>
                  </a:lnTo>
                  <a:lnTo>
                    <a:pt x="362" y="562"/>
                  </a:lnTo>
                  <a:lnTo>
                    <a:pt x="362" y="562"/>
                  </a:lnTo>
                  <a:lnTo>
                    <a:pt x="364" y="560"/>
                  </a:lnTo>
                  <a:lnTo>
                    <a:pt x="368" y="560"/>
                  </a:lnTo>
                  <a:lnTo>
                    <a:pt x="368" y="560"/>
                  </a:lnTo>
                  <a:lnTo>
                    <a:pt x="368" y="560"/>
                  </a:lnTo>
                  <a:lnTo>
                    <a:pt x="370" y="558"/>
                  </a:lnTo>
                  <a:lnTo>
                    <a:pt x="370" y="558"/>
                  </a:lnTo>
                  <a:lnTo>
                    <a:pt x="372" y="558"/>
                  </a:lnTo>
                  <a:lnTo>
                    <a:pt x="372" y="556"/>
                  </a:lnTo>
                  <a:lnTo>
                    <a:pt x="372" y="556"/>
                  </a:lnTo>
                  <a:lnTo>
                    <a:pt x="374" y="554"/>
                  </a:lnTo>
                  <a:lnTo>
                    <a:pt x="374" y="552"/>
                  </a:lnTo>
                  <a:lnTo>
                    <a:pt x="376" y="550"/>
                  </a:lnTo>
                  <a:lnTo>
                    <a:pt x="376" y="548"/>
                  </a:lnTo>
                  <a:lnTo>
                    <a:pt x="378" y="544"/>
                  </a:lnTo>
                  <a:lnTo>
                    <a:pt x="378" y="544"/>
                  </a:lnTo>
                  <a:lnTo>
                    <a:pt x="378" y="542"/>
                  </a:lnTo>
                  <a:lnTo>
                    <a:pt x="378" y="540"/>
                  </a:lnTo>
                  <a:lnTo>
                    <a:pt x="376" y="540"/>
                  </a:lnTo>
                  <a:lnTo>
                    <a:pt x="374" y="538"/>
                  </a:lnTo>
                  <a:lnTo>
                    <a:pt x="372" y="536"/>
                  </a:lnTo>
                  <a:lnTo>
                    <a:pt x="372" y="534"/>
                  </a:lnTo>
                  <a:lnTo>
                    <a:pt x="372" y="532"/>
                  </a:lnTo>
                  <a:lnTo>
                    <a:pt x="372" y="530"/>
                  </a:lnTo>
                  <a:lnTo>
                    <a:pt x="372" y="528"/>
                  </a:lnTo>
                  <a:lnTo>
                    <a:pt x="372" y="528"/>
                  </a:lnTo>
                  <a:lnTo>
                    <a:pt x="372" y="526"/>
                  </a:lnTo>
                  <a:lnTo>
                    <a:pt x="372" y="524"/>
                  </a:lnTo>
                  <a:lnTo>
                    <a:pt x="372" y="522"/>
                  </a:lnTo>
                  <a:lnTo>
                    <a:pt x="374" y="522"/>
                  </a:lnTo>
                  <a:lnTo>
                    <a:pt x="374" y="520"/>
                  </a:lnTo>
                  <a:lnTo>
                    <a:pt x="374" y="518"/>
                  </a:lnTo>
                  <a:lnTo>
                    <a:pt x="374" y="516"/>
                  </a:lnTo>
                  <a:lnTo>
                    <a:pt x="374" y="514"/>
                  </a:lnTo>
                  <a:lnTo>
                    <a:pt x="374" y="512"/>
                  </a:lnTo>
                  <a:lnTo>
                    <a:pt x="376" y="512"/>
                  </a:lnTo>
                  <a:lnTo>
                    <a:pt x="376" y="512"/>
                  </a:lnTo>
                  <a:lnTo>
                    <a:pt x="376" y="512"/>
                  </a:lnTo>
                  <a:lnTo>
                    <a:pt x="378" y="512"/>
                  </a:lnTo>
                  <a:lnTo>
                    <a:pt x="378" y="512"/>
                  </a:lnTo>
                  <a:lnTo>
                    <a:pt x="380" y="512"/>
                  </a:lnTo>
                  <a:lnTo>
                    <a:pt x="380" y="510"/>
                  </a:lnTo>
                  <a:lnTo>
                    <a:pt x="380" y="510"/>
                  </a:lnTo>
                  <a:lnTo>
                    <a:pt x="382" y="510"/>
                  </a:lnTo>
                  <a:lnTo>
                    <a:pt x="382" y="508"/>
                  </a:lnTo>
                  <a:lnTo>
                    <a:pt x="382" y="508"/>
                  </a:lnTo>
                  <a:lnTo>
                    <a:pt x="382" y="508"/>
                  </a:lnTo>
                  <a:lnTo>
                    <a:pt x="384" y="506"/>
                  </a:lnTo>
                  <a:lnTo>
                    <a:pt x="384" y="506"/>
                  </a:lnTo>
                  <a:lnTo>
                    <a:pt x="382" y="504"/>
                  </a:lnTo>
                  <a:lnTo>
                    <a:pt x="382" y="502"/>
                  </a:lnTo>
                  <a:lnTo>
                    <a:pt x="382" y="502"/>
                  </a:lnTo>
                  <a:lnTo>
                    <a:pt x="382" y="502"/>
                  </a:lnTo>
                  <a:lnTo>
                    <a:pt x="380" y="500"/>
                  </a:lnTo>
                  <a:lnTo>
                    <a:pt x="380" y="500"/>
                  </a:lnTo>
                  <a:lnTo>
                    <a:pt x="380" y="500"/>
                  </a:lnTo>
                  <a:lnTo>
                    <a:pt x="378" y="498"/>
                  </a:lnTo>
                  <a:lnTo>
                    <a:pt x="378" y="498"/>
                  </a:lnTo>
                  <a:lnTo>
                    <a:pt x="376" y="498"/>
                  </a:lnTo>
                  <a:lnTo>
                    <a:pt x="372" y="498"/>
                  </a:lnTo>
                  <a:lnTo>
                    <a:pt x="368" y="498"/>
                  </a:lnTo>
                  <a:lnTo>
                    <a:pt x="366" y="496"/>
                  </a:lnTo>
                  <a:lnTo>
                    <a:pt x="362" y="496"/>
                  </a:lnTo>
                  <a:lnTo>
                    <a:pt x="360" y="496"/>
                  </a:lnTo>
                  <a:lnTo>
                    <a:pt x="360" y="496"/>
                  </a:lnTo>
                  <a:lnTo>
                    <a:pt x="358" y="496"/>
                  </a:lnTo>
                  <a:lnTo>
                    <a:pt x="358" y="496"/>
                  </a:lnTo>
                  <a:lnTo>
                    <a:pt x="358" y="496"/>
                  </a:lnTo>
                  <a:lnTo>
                    <a:pt x="356" y="496"/>
                  </a:lnTo>
                  <a:lnTo>
                    <a:pt x="356" y="496"/>
                  </a:lnTo>
                  <a:lnTo>
                    <a:pt x="356" y="496"/>
                  </a:lnTo>
                  <a:lnTo>
                    <a:pt x="356" y="498"/>
                  </a:lnTo>
                  <a:lnTo>
                    <a:pt x="356" y="498"/>
                  </a:lnTo>
                  <a:lnTo>
                    <a:pt x="354" y="500"/>
                  </a:lnTo>
                  <a:lnTo>
                    <a:pt x="354" y="500"/>
                  </a:lnTo>
                  <a:lnTo>
                    <a:pt x="354" y="500"/>
                  </a:lnTo>
                  <a:lnTo>
                    <a:pt x="354" y="502"/>
                  </a:lnTo>
                  <a:lnTo>
                    <a:pt x="354" y="502"/>
                  </a:lnTo>
                  <a:lnTo>
                    <a:pt x="354" y="502"/>
                  </a:lnTo>
                  <a:lnTo>
                    <a:pt x="354" y="502"/>
                  </a:lnTo>
                  <a:lnTo>
                    <a:pt x="356" y="504"/>
                  </a:lnTo>
                  <a:lnTo>
                    <a:pt x="356" y="504"/>
                  </a:lnTo>
                  <a:lnTo>
                    <a:pt x="352" y="504"/>
                  </a:lnTo>
                  <a:lnTo>
                    <a:pt x="346" y="504"/>
                  </a:lnTo>
                  <a:lnTo>
                    <a:pt x="344" y="504"/>
                  </a:lnTo>
                  <a:lnTo>
                    <a:pt x="340" y="504"/>
                  </a:lnTo>
                  <a:lnTo>
                    <a:pt x="338" y="504"/>
                  </a:lnTo>
                  <a:lnTo>
                    <a:pt x="336" y="504"/>
                  </a:lnTo>
                  <a:lnTo>
                    <a:pt x="334" y="504"/>
                  </a:lnTo>
                  <a:lnTo>
                    <a:pt x="334" y="504"/>
                  </a:lnTo>
                  <a:lnTo>
                    <a:pt x="332" y="504"/>
                  </a:lnTo>
                  <a:lnTo>
                    <a:pt x="330" y="504"/>
                  </a:lnTo>
                  <a:lnTo>
                    <a:pt x="330" y="504"/>
                  </a:lnTo>
                  <a:lnTo>
                    <a:pt x="330" y="506"/>
                  </a:lnTo>
                  <a:lnTo>
                    <a:pt x="328" y="506"/>
                  </a:lnTo>
                  <a:lnTo>
                    <a:pt x="328" y="506"/>
                  </a:lnTo>
                  <a:lnTo>
                    <a:pt x="328" y="506"/>
                  </a:lnTo>
                  <a:lnTo>
                    <a:pt x="328" y="508"/>
                  </a:lnTo>
                  <a:lnTo>
                    <a:pt x="328" y="508"/>
                  </a:lnTo>
                  <a:lnTo>
                    <a:pt x="328" y="508"/>
                  </a:lnTo>
                  <a:lnTo>
                    <a:pt x="326" y="510"/>
                  </a:lnTo>
                  <a:lnTo>
                    <a:pt x="326" y="512"/>
                  </a:lnTo>
                  <a:lnTo>
                    <a:pt x="324" y="514"/>
                  </a:lnTo>
                  <a:lnTo>
                    <a:pt x="322" y="516"/>
                  </a:lnTo>
                  <a:lnTo>
                    <a:pt x="320" y="516"/>
                  </a:lnTo>
                  <a:lnTo>
                    <a:pt x="320" y="516"/>
                  </a:lnTo>
                  <a:lnTo>
                    <a:pt x="320" y="516"/>
                  </a:lnTo>
                  <a:lnTo>
                    <a:pt x="318" y="518"/>
                  </a:lnTo>
                  <a:lnTo>
                    <a:pt x="318" y="518"/>
                  </a:lnTo>
                  <a:lnTo>
                    <a:pt x="318" y="518"/>
                  </a:lnTo>
                  <a:lnTo>
                    <a:pt x="316" y="518"/>
                  </a:lnTo>
                  <a:lnTo>
                    <a:pt x="316" y="518"/>
                  </a:lnTo>
                  <a:lnTo>
                    <a:pt x="316" y="520"/>
                  </a:lnTo>
                  <a:lnTo>
                    <a:pt x="314" y="520"/>
                  </a:lnTo>
                  <a:lnTo>
                    <a:pt x="314" y="520"/>
                  </a:lnTo>
                  <a:lnTo>
                    <a:pt x="314" y="522"/>
                  </a:lnTo>
                  <a:lnTo>
                    <a:pt x="312" y="524"/>
                  </a:lnTo>
                  <a:lnTo>
                    <a:pt x="312" y="524"/>
                  </a:lnTo>
                  <a:lnTo>
                    <a:pt x="312" y="524"/>
                  </a:lnTo>
                  <a:lnTo>
                    <a:pt x="312" y="526"/>
                  </a:lnTo>
                  <a:lnTo>
                    <a:pt x="312" y="526"/>
                  </a:lnTo>
                  <a:lnTo>
                    <a:pt x="312" y="526"/>
                  </a:lnTo>
                  <a:lnTo>
                    <a:pt x="312" y="530"/>
                  </a:lnTo>
                  <a:lnTo>
                    <a:pt x="312" y="534"/>
                  </a:lnTo>
                  <a:lnTo>
                    <a:pt x="312" y="538"/>
                  </a:lnTo>
                  <a:lnTo>
                    <a:pt x="312" y="540"/>
                  </a:lnTo>
                  <a:lnTo>
                    <a:pt x="310" y="542"/>
                  </a:lnTo>
                  <a:lnTo>
                    <a:pt x="310" y="544"/>
                  </a:lnTo>
                  <a:lnTo>
                    <a:pt x="308" y="544"/>
                  </a:lnTo>
                  <a:lnTo>
                    <a:pt x="306" y="546"/>
                  </a:lnTo>
                  <a:lnTo>
                    <a:pt x="306" y="546"/>
                  </a:lnTo>
                  <a:lnTo>
                    <a:pt x="304" y="546"/>
                  </a:lnTo>
                  <a:lnTo>
                    <a:pt x="302" y="546"/>
                  </a:lnTo>
                  <a:lnTo>
                    <a:pt x="302" y="546"/>
                  </a:lnTo>
                  <a:lnTo>
                    <a:pt x="302" y="546"/>
                  </a:lnTo>
                  <a:lnTo>
                    <a:pt x="300" y="548"/>
                  </a:lnTo>
                  <a:lnTo>
                    <a:pt x="300" y="548"/>
                  </a:lnTo>
                  <a:lnTo>
                    <a:pt x="300" y="548"/>
                  </a:lnTo>
                  <a:lnTo>
                    <a:pt x="298" y="550"/>
                  </a:lnTo>
                  <a:lnTo>
                    <a:pt x="298" y="550"/>
                  </a:lnTo>
                  <a:lnTo>
                    <a:pt x="298" y="552"/>
                  </a:lnTo>
                  <a:lnTo>
                    <a:pt x="298" y="554"/>
                  </a:lnTo>
                  <a:lnTo>
                    <a:pt x="298" y="554"/>
                  </a:lnTo>
                  <a:lnTo>
                    <a:pt x="298" y="554"/>
                  </a:lnTo>
                  <a:lnTo>
                    <a:pt x="298" y="556"/>
                  </a:lnTo>
                  <a:lnTo>
                    <a:pt x="298" y="560"/>
                  </a:lnTo>
                  <a:lnTo>
                    <a:pt x="298" y="560"/>
                  </a:lnTo>
                  <a:lnTo>
                    <a:pt x="298" y="560"/>
                  </a:lnTo>
                  <a:lnTo>
                    <a:pt x="296" y="560"/>
                  </a:lnTo>
                  <a:lnTo>
                    <a:pt x="290" y="564"/>
                  </a:lnTo>
                  <a:lnTo>
                    <a:pt x="286" y="566"/>
                  </a:lnTo>
                  <a:lnTo>
                    <a:pt x="284" y="568"/>
                  </a:lnTo>
                  <a:lnTo>
                    <a:pt x="282" y="568"/>
                  </a:lnTo>
                  <a:lnTo>
                    <a:pt x="278" y="568"/>
                  </a:lnTo>
                  <a:lnTo>
                    <a:pt x="278" y="568"/>
                  </a:lnTo>
                  <a:lnTo>
                    <a:pt x="278" y="568"/>
                  </a:lnTo>
                  <a:lnTo>
                    <a:pt x="274" y="570"/>
                  </a:lnTo>
                  <a:lnTo>
                    <a:pt x="274" y="570"/>
                  </a:lnTo>
                  <a:lnTo>
                    <a:pt x="274" y="572"/>
                  </a:lnTo>
                  <a:lnTo>
                    <a:pt x="272" y="574"/>
                  </a:lnTo>
                  <a:lnTo>
                    <a:pt x="272" y="574"/>
                  </a:lnTo>
                  <a:lnTo>
                    <a:pt x="272" y="574"/>
                  </a:lnTo>
                  <a:lnTo>
                    <a:pt x="272" y="576"/>
                  </a:lnTo>
                  <a:lnTo>
                    <a:pt x="272" y="576"/>
                  </a:lnTo>
                  <a:lnTo>
                    <a:pt x="272" y="578"/>
                  </a:lnTo>
                  <a:lnTo>
                    <a:pt x="272" y="580"/>
                  </a:lnTo>
                  <a:lnTo>
                    <a:pt x="272" y="584"/>
                  </a:lnTo>
                  <a:close/>
                  <a:moveTo>
                    <a:pt x="348" y="620"/>
                  </a:moveTo>
                  <a:lnTo>
                    <a:pt x="350" y="618"/>
                  </a:lnTo>
                  <a:lnTo>
                    <a:pt x="352" y="616"/>
                  </a:lnTo>
                  <a:lnTo>
                    <a:pt x="352" y="616"/>
                  </a:lnTo>
                  <a:lnTo>
                    <a:pt x="352" y="616"/>
                  </a:lnTo>
                  <a:lnTo>
                    <a:pt x="354" y="612"/>
                  </a:lnTo>
                  <a:lnTo>
                    <a:pt x="354" y="612"/>
                  </a:lnTo>
                  <a:lnTo>
                    <a:pt x="354" y="610"/>
                  </a:lnTo>
                  <a:lnTo>
                    <a:pt x="356" y="606"/>
                  </a:lnTo>
                  <a:lnTo>
                    <a:pt x="356" y="606"/>
                  </a:lnTo>
                  <a:lnTo>
                    <a:pt x="356" y="606"/>
                  </a:lnTo>
                  <a:lnTo>
                    <a:pt x="356" y="602"/>
                  </a:lnTo>
                  <a:lnTo>
                    <a:pt x="356" y="602"/>
                  </a:lnTo>
                  <a:lnTo>
                    <a:pt x="356" y="600"/>
                  </a:lnTo>
                  <a:lnTo>
                    <a:pt x="354" y="598"/>
                  </a:lnTo>
                  <a:lnTo>
                    <a:pt x="354" y="598"/>
                  </a:lnTo>
                  <a:lnTo>
                    <a:pt x="354" y="598"/>
                  </a:lnTo>
                  <a:lnTo>
                    <a:pt x="354" y="596"/>
                  </a:lnTo>
                  <a:lnTo>
                    <a:pt x="354" y="596"/>
                  </a:lnTo>
                  <a:lnTo>
                    <a:pt x="354" y="596"/>
                  </a:lnTo>
                  <a:lnTo>
                    <a:pt x="352" y="594"/>
                  </a:lnTo>
                  <a:lnTo>
                    <a:pt x="352" y="594"/>
                  </a:lnTo>
                  <a:lnTo>
                    <a:pt x="350" y="594"/>
                  </a:lnTo>
                  <a:lnTo>
                    <a:pt x="350" y="594"/>
                  </a:lnTo>
                  <a:lnTo>
                    <a:pt x="350" y="594"/>
                  </a:lnTo>
                  <a:lnTo>
                    <a:pt x="348" y="594"/>
                  </a:lnTo>
                  <a:lnTo>
                    <a:pt x="346" y="594"/>
                  </a:lnTo>
                  <a:lnTo>
                    <a:pt x="346" y="594"/>
                  </a:lnTo>
                  <a:lnTo>
                    <a:pt x="346" y="594"/>
                  </a:lnTo>
                  <a:lnTo>
                    <a:pt x="344" y="594"/>
                  </a:lnTo>
                  <a:lnTo>
                    <a:pt x="342" y="596"/>
                  </a:lnTo>
                  <a:lnTo>
                    <a:pt x="342" y="596"/>
                  </a:lnTo>
                  <a:lnTo>
                    <a:pt x="340" y="596"/>
                  </a:lnTo>
                  <a:lnTo>
                    <a:pt x="338" y="596"/>
                  </a:lnTo>
                  <a:lnTo>
                    <a:pt x="338" y="596"/>
                  </a:lnTo>
                  <a:lnTo>
                    <a:pt x="338" y="596"/>
                  </a:lnTo>
                  <a:lnTo>
                    <a:pt x="336" y="598"/>
                  </a:lnTo>
                  <a:lnTo>
                    <a:pt x="336" y="598"/>
                  </a:lnTo>
                  <a:lnTo>
                    <a:pt x="336" y="598"/>
                  </a:lnTo>
                  <a:lnTo>
                    <a:pt x="336" y="598"/>
                  </a:lnTo>
                  <a:lnTo>
                    <a:pt x="336" y="598"/>
                  </a:lnTo>
                  <a:lnTo>
                    <a:pt x="334" y="600"/>
                  </a:lnTo>
                  <a:lnTo>
                    <a:pt x="332" y="602"/>
                  </a:lnTo>
                  <a:lnTo>
                    <a:pt x="332" y="604"/>
                  </a:lnTo>
                  <a:lnTo>
                    <a:pt x="332" y="604"/>
                  </a:lnTo>
                  <a:lnTo>
                    <a:pt x="332" y="604"/>
                  </a:lnTo>
                  <a:lnTo>
                    <a:pt x="330" y="604"/>
                  </a:lnTo>
                  <a:lnTo>
                    <a:pt x="330" y="606"/>
                  </a:lnTo>
                  <a:lnTo>
                    <a:pt x="330" y="606"/>
                  </a:lnTo>
                  <a:lnTo>
                    <a:pt x="328" y="606"/>
                  </a:lnTo>
                  <a:lnTo>
                    <a:pt x="328" y="606"/>
                  </a:lnTo>
                  <a:lnTo>
                    <a:pt x="328" y="606"/>
                  </a:lnTo>
                  <a:lnTo>
                    <a:pt x="328" y="608"/>
                  </a:lnTo>
                  <a:lnTo>
                    <a:pt x="328" y="610"/>
                  </a:lnTo>
                  <a:lnTo>
                    <a:pt x="326" y="614"/>
                  </a:lnTo>
                  <a:lnTo>
                    <a:pt x="326" y="614"/>
                  </a:lnTo>
                  <a:lnTo>
                    <a:pt x="326" y="614"/>
                  </a:lnTo>
                  <a:lnTo>
                    <a:pt x="326" y="616"/>
                  </a:lnTo>
                  <a:lnTo>
                    <a:pt x="326" y="616"/>
                  </a:lnTo>
                  <a:lnTo>
                    <a:pt x="326" y="616"/>
                  </a:lnTo>
                  <a:lnTo>
                    <a:pt x="328" y="618"/>
                  </a:lnTo>
                  <a:lnTo>
                    <a:pt x="328" y="618"/>
                  </a:lnTo>
                  <a:lnTo>
                    <a:pt x="328" y="618"/>
                  </a:lnTo>
                  <a:lnTo>
                    <a:pt x="328" y="620"/>
                  </a:lnTo>
                  <a:lnTo>
                    <a:pt x="330" y="620"/>
                  </a:lnTo>
                  <a:lnTo>
                    <a:pt x="330" y="620"/>
                  </a:lnTo>
                  <a:lnTo>
                    <a:pt x="330" y="620"/>
                  </a:lnTo>
                  <a:lnTo>
                    <a:pt x="332" y="622"/>
                  </a:lnTo>
                  <a:lnTo>
                    <a:pt x="334" y="622"/>
                  </a:lnTo>
                  <a:lnTo>
                    <a:pt x="338" y="624"/>
                  </a:lnTo>
                  <a:lnTo>
                    <a:pt x="340" y="624"/>
                  </a:lnTo>
                  <a:lnTo>
                    <a:pt x="340" y="624"/>
                  </a:lnTo>
                  <a:lnTo>
                    <a:pt x="342" y="624"/>
                  </a:lnTo>
                  <a:lnTo>
                    <a:pt x="342" y="624"/>
                  </a:lnTo>
                  <a:lnTo>
                    <a:pt x="344" y="624"/>
                  </a:lnTo>
                  <a:lnTo>
                    <a:pt x="346" y="622"/>
                  </a:lnTo>
                  <a:lnTo>
                    <a:pt x="346" y="622"/>
                  </a:lnTo>
                  <a:lnTo>
                    <a:pt x="346" y="622"/>
                  </a:lnTo>
                  <a:lnTo>
                    <a:pt x="348" y="622"/>
                  </a:lnTo>
                  <a:lnTo>
                    <a:pt x="348" y="622"/>
                  </a:lnTo>
                  <a:lnTo>
                    <a:pt x="348" y="620"/>
                  </a:lnTo>
                  <a:lnTo>
                    <a:pt x="348" y="620"/>
                  </a:lnTo>
                  <a:close/>
                  <a:moveTo>
                    <a:pt x="388" y="470"/>
                  </a:moveTo>
                  <a:lnTo>
                    <a:pt x="390" y="472"/>
                  </a:lnTo>
                  <a:lnTo>
                    <a:pt x="390" y="474"/>
                  </a:lnTo>
                  <a:lnTo>
                    <a:pt x="392" y="476"/>
                  </a:lnTo>
                  <a:lnTo>
                    <a:pt x="392" y="476"/>
                  </a:lnTo>
                  <a:lnTo>
                    <a:pt x="392" y="478"/>
                  </a:lnTo>
                  <a:lnTo>
                    <a:pt x="394" y="478"/>
                  </a:lnTo>
                  <a:lnTo>
                    <a:pt x="394" y="478"/>
                  </a:lnTo>
                  <a:lnTo>
                    <a:pt x="394" y="480"/>
                  </a:lnTo>
                  <a:lnTo>
                    <a:pt x="396" y="480"/>
                  </a:lnTo>
                  <a:lnTo>
                    <a:pt x="396" y="480"/>
                  </a:lnTo>
                  <a:lnTo>
                    <a:pt x="396" y="482"/>
                  </a:lnTo>
                  <a:lnTo>
                    <a:pt x="400" y="482"/>
                  </a:lnTo>
                  <a:lnTo>
                    <a:pt x="400" y="482"/>
                  </a:lnTo>
                  <a:lnTo>
                    <a:pt x="400" y="482"/>
                  </a:lnTo>
                  <a:lnTo>
                    <a:pt x="404" y="484"/>
                  </a:lnTo>
                  <a:lnTo>
                    <a:pt x="404" y="484"/>
                  </a:lnTo>
                  <a:lnTo>
                    <a:pt x="406" y="482"/>
                  </a:lnTo>
                  <a:lnTo>
                    <a:pt x="408" y="478"/>
                  </a:lnTo>
                  <a:lnTo>
                    <a:pt x="408" y="478"/>
                  </a:lnTo>
                  <a:lnTo>
                    <a:pt x="408" y="478"/>
                  </a:lnTo>
                  <a:lnTo>
                    <a:pt x="410" y="474"/>
                  </a:lnTo>
                  <a:lnTo>
                    <a:pt x="410" y="474"/>
                  </a:lnTo>
                  <a:lnTo>
                    <a:pt x="410" y="474"/>
                  </a:lnTo>
                  <a:lnTo>
                    <a:pt x="408" y="470"/>
                  </a:lnTo>
                  <a:lnTo>
                    <a:pt x="408" y="470"/>
                  </a:lnTo>
                  <a:lnTo>
                    <a:pt x="408" y="470"/>
                  </a:lnTo>
                  <a:lnTo>
                    <a:pt x="408" y="468"/>
                  </a:lnTo>
                  <a:lnTo>
                    <a:pt x="408" y="468"/>
                  </a:lnTo>
                  <a:lnTo>
                    <a:pt x="406" y="466"/>
                  </a:lnTo>
                  <a:lnTo>
                    <a:pt x="404" y="464"/>
                  </a:lnTo>
                  <a:lnTo>
                    <a:pt x="404" y="464"/>
                  </a:lnTo>
                  <a:lnTo>
                    <a:pt x="404" y="464"/>
                  </a:lnTo>
                  <a:lnTo>
                    <a:pt x="402" y="462"/>
                  </a:lnTo>
                  <a:lnTo>
                    <a:pt x="402" y="462"/>
                  </a:lnTo>
                  <a:lnTo>
                    <a:pt x="402" y="462"/>
                  </a:lnTo>
                  <a:lnTo>
                    <a:pt x="398" y="460"/>
                  </a:lnTo>
                  <a:lnTo>
                    <a:pt x="398" y="460"/>
                  </a:lnTo>
                  <a:lnTo>
                    <a:pt x="398" y="460"/>
                  </a:lnTo>
                  <a:lnTo>
                    <a:pt x="394" y="458"/>
                  </a:lnTo>
                  <a:lnTo>
                    <a:pt x="394" y="458"/>
                  </a:lnTo>
                  <a:lnTo>
                    <a:pt x="392" y="460"/>
                  </a:lnTo>
                  <a:lnTo>
                    <a:pt x="390" y="460"/>
                  </a:lnTo>
                  <a:lnTo>
                    <a:pt x="390" y="462"/>
                  </a:lnTo>
                  <a:lnTo>
                    <a:pt x="388" y="464"/>
                  </a:lnTo>
                  <a:lnTo>
                    <a:pt x="388" y="464"/>
                  </a:lnTo>
                  <a:lnTo>
                    <a:pt x="388" y="464"/>
                  </a:lnTo>
                  <a:lnTo>
                    <a:pt x="388" y="464"/>
                  </a:lnTo>
                  <a:lnTo>
                    <a:pt x="388" y="464"/>
                  </a:lnTo>
                  <a:lnTo>
                    <a:pt x="386" y="464"/>
                  </a:lnTo>
                  <a:lnTo>
                    <a:pt x="384" y="466"/>
                  </a:lnTo>
                  <a:lnTo>
                    <a:pt x="384" y="466"/>
                  </a:lnTo>
                  <a:lnTo>
                    <a:pt x="384" y="466"/>
                  </a:lnTo>
                  <a:lnTo>
                    <a:pt x="384" y="466"/>
                  </a:lnTo>
                  <a:lnTo>
                    <a:pt x="384" y="468"/>
                  </a:lnTo>
                  <a:lnTo>
                    <a:pt x="384" y="470"/>
                  </a:lnTo>
                  <a:lnTo>
                    <a:pt x="384" y="470"/>
                  </a:lnTo>
                  <a:lnTo>
                    <a:pt x="386" y="472"/>
                  </a:lnTo>
                  <a:lnTo>
                    <a:pt x="388" y="470"/>
                  </a:lnTo>
                  <a:lnTo>
                    <a:pt x="388" y="470"/>
                  </a:lnTo>
                  <a:close/>
                  <a:moveTo>
                    <a:pt x="404" y="442"/>
                  </a:moveTo>
                  <a:lnTo>
                    <a:pt x="404" y="442"/>
                  </a:lnTo>
                  <a:lnTo>
                    <a:pt x="404" y="442"/>
                  </a:lnTo>
                  <a:lnTo>
                    <a:pt x="404" y="444"/>
                  </a:lnTo>
                  <a:lnTo>
                    <a:pt x="406" y="444"/>
                  </a:lnTo>
                  <a:lnTo>
                    <a:pt x="406" y="444"/>
                  </a:lnTo>
                  <a:lnTo>
                    <a:pt x="408" y="444"/>
                  </a:lnTo>
                  <a:lnTo>
                    <a:pt x="416" y="444"/>
                  </a:lnTo>
                  <a:lnTo>
                    <a:pt x="426" y="444"/>
                  </a:lnTo>
                  <a:lnTo>
                    <a:pt x="442" y="444"/>
                  </a:lnTo>
                  <a:lnTo>
                    <a:pt x="450" y="444"/>
                  </a:lnTo>
                  <a:lnTo>
                    <a:pt x="460" y="444"/>
                  </a:lnTo>
                  <a:lnTo>
                    <a:pt x="468" y="444"/>
                  </a:lnTo>
                  <a:lnTo>
                    <a:pt x="476" y="442"/>
                  </a:lnTo>
                  <a:lnTo>
                    <a:pt x="476" y="442"/>
                  </a:lnTo>
                  <a:lnTo>
                    <a:pt x="478" y="442"/>
                  </a:lnTo>
                  <a:lnTo>
                    <a:pt x="480" y="440"/>
                  </a:lnTo>
                  <a:lnTo>
                    <a:pt x="480" y="440"/>
                  </a:lnTo>
                  <a:lnTo>
                    <a:pt x="480" y="440"/>
                  </a:lnTo>
                  <a:lnTo>
                    <a:pt x="482" y="438"/>
                  </a:lnTo>
                  <a:lnTo>
                    <a:pt x="482" y="438"/>
                  </a:lnTo>
                  <a:lnTo>
                    <a:pt x="482" y="436"/>
                  </a:lnTo>
                  <a:lnTo>
                    <a:pt x="482" y="436"/>
                  </a:lnTo>
                  <a:lnTo>
                    <a:pt x="482" y="436"/>
                  </a:lnTo>
                  <a:lnTo>
                    <a:pt x="482" y="434"/>
                  </a:lnTo>
                  <a:lnTo>
                    <a:pt x="480" y="432"/>
                  </a:lnTo>
                  <a:lnTo>
                    <a:pt x="480" y="432"/>
                  </a:lnTo>
                  <a:lnTo>
                    <a:pt x="480" y="432"/>
                  </a:lnTo>
                  <a:lnTo>
                    <a:pt x="480" y="430"/>
                  </a:lnTo>
                  <a:lnTo>
                    <a:pt x="478" y="428"/>
                  </a:lnTo>
                  <a:lnTo>
                    <a:pt x="472" y="422"/>
                  </a:lnTo>
                  <a:lnTo>
                    <a:pt x="468" y="418"/>
                  </a:lnTo>
                  <a:lnTo>
                    <a:pt x="462" y="414"/>
                  </a:lnTo>
                  <a:lnTo>
                    <a:pt x="462" y="412"/>
                  </a:lnTo>
                  <a:lnTo>
                    <a:pt x="460" y="412"/>
                  </a:lnTo>
                  <a:lnTo>
                    <a:pt x="458" y="410"/>
                  </a:lnTo>
                  <a:lnTo>
                    <a:pt x="458" y="410"/>
                  </a:lnTo>
                  <a:lnTo>
                    <a:pt x="458" y="410"/>
                  </a:lnTo>
                  <a:lnTo>
                    <a:pt x="456" y="410"/>
                  </a:lnTo>
                  <a:lnTo>
                    <a:pt x="452" y="410"/>
                  </a:lnTo>
                  <a:lnTo>
                    <a:pt x="448" y="412"/>
                  </a:lnTo>
                  <a:lnTo>
                    <a:pt x="442" y="414"/>
                  </a:lnTo>
                  <a:lnTo>
                    <a:pt x="436" y="416"/>
                  </a:lnTo>
                  <a:lnTo>
                    <a:pt x="432" y="418"/>
                  </a:lnTo>
                  <a:lnTo>
                    <a:pt x="428" y="418"/>
                  </a:lnTo>
                  <a:lnTo>
                    <a:pt x="428" y="418"/>
                  </a:lnTo>
                  <a:lnTo>
                    <a:pt x="428" y="420"/>
                  </a:lnTo>
                  <a:lnTo>
                    <a:pt x="424" y="422"/>
                  </a:lnTo>
                  <a:lnTo>
                    <a:pt x="420" y="426"/>
                  </a:lnTo>
                  <a:lnTo>
                    <a:pt x="416" y="430"/>
                  </a:lnTo>
                  <a:lnTo>
                    <a:pt x="412" y="434"/>
                  </a:lnTo>
                  <a:lnTo>
                    <a:pt x="412" y="434"/>
                  </a:lnTo>
                  <a:lnTo>
                    <a:pt x="412" y="434"/>
                  </a:lnTo>
                  <a:lnTo>
                    <a:pt x="410" y="434"/>
                  </a:lnTo>
                  <a:lnTo>
                    <a:pt x="408" y="434"/>
                  </a:lnTo>
                  <a:lnTo>
                    <a:pt x="408" y="434"/>
                  </a:lnTo>
                  <a:lnTo>
                    <a:pt x="406" y="436"/>
                  </a:lnTo>
                  <a:lnTo>
                    <a:pt x="406" y="436"/>
                  </a:lnTo>
                  <a:lnTo>
                    <a:pt x="406" y="436"/>
                  </a:lnTo>
                  <a:lnTo>
                    <a:pt x="404" y="436"/>
                  </a:lnTo>
                  <a:lnTo>
                    <a:pt x="404" y="438"/>
                  </a:lnTo>
                  <a:lnTo>
                    <a:pt x="404" y="438"/>
                  </a:lnTo>
                  <a:lnTo>
                    <a:pt x="402" y="438"/>
                  </a:lnTo>
                  <a:lnTo>
                    <a:pt x="402" y="438"/>
                  </a:lnTo>
                  <a:lnTo>
                    <a:pt x="402" y="438"/>
                  </a:lnTo>
                  <a:lnTo>
                    <a:pt x="402" y="442"/>
                  </a:lnTo>
                  <a:lnTo>
                    <a:pt x="404" y="442"/>
                  </a:lnTo>
                  <a:close/>
                  <a:moveTo>
                    <a:pt x="466" y="472"/>
                  </a:moveTo>
                  <a:lnTo>
                    <a:pt x="466" y="472"/>
                  </a:lnTo>
                  <a:lnTo>
                    <a:pt x="468" y="470"/>
                  </a:lnTo>
                  <a:lnTo>
                    <a:pt x="468" y="468"/>
                  </a:lnTo>
                  <a:lnTo>
                    <a:pt x="468" y="466"/>
                  </a:lnTo>
                  <a:lnTo>
                    <a:pt x="466" y="464"/>
                  </a:lnTo>
                  <a:lnTo>
                    <a:pt x="466" y="464"/>
                  </a:lnTo>
                  <a:lnTo>
                    <a:pt x="466" y="462"/>
                  </a:lnTo>
                  <a:lnTo>
                    <a:pt x="466" y="462"/>
                  </a:lnTo>
                  <a:lnTo>
                    <a:pt x="466" y="462"/>
                  </a:lnTo>
                  <a:lnTo>
                    <a:pt x="466" y="460"/>
                  </a:lnTo>
                  <a:lnTo>
                    <a:pt x="464" y="460"/>
                  </a:lnTo>
                  <a:lnTo>
                    <a:pt x="464" y="460"/>
                  </a:lnTo>
                  <a:lnTo>
                    <a:pt x="464" y="460"/>
                  </a:lnTo>
                  <a:lnTo>
                    <a:pt x="462" y="458"/>
                  </a:lnTo>
                  <a:lnTo>
                    <a:pt x="462" y="458"/>
                  </a:lnTo>
                  <a:lnTo>
                    <a:pt x="462" y="458"/>
                  </a:lnTo>
                  <a:lnTo>
                    <a:pt x="460" y="458"/>
                  </a:lnTo>
                  <a:lnTo>
                    <a:pt x="460" y="458"/>
                  </a:lnTo>
                  <a:lnTo>
                    <a:pt x="458" y="458"/>
                  </a:lnTo>
                  <a:lnTo>
                    <a:pt x="456" y="456"/>
                  </a:lnTo>
                  <a:lnTo>
                    <a:pt x="454" y="456"/>
                  </a:lnTo>
                  <a:lnTo>
                    <a:pt x="454" y="456"/>
                  </a:lnTo>
                  <a:lnTo>
                    <a:pt x="454" y="456"/>
                  </a:lnTo>
                  <a:lnTo>
                    <a:pt x="448" y="456"/>
                  </a:lnTo>
                  <a:lnTo>
                    <a:pt x="446" y="456"/>
                  </a:lnTo>
                  <a:lnTo>
                    <a:pt x="442" y="456"/>
                  </a:lnTo>
                  <a:lnTo>
                    <a:pt x="440" y="458"/>
                  </a:lnTo>
                  <a:lnTo>
                    <a:pt x="434" y="458"/>
                  </a:lnTo>
                  <a:lnTo>
                    <a:pt x="430" y="458"/>
                  </a:lnTo>
                  <a:lnTo>
                    <a:pt x="426" y="458"/>
                  </a:lnTo>
                  <a:lnTo>
                    <a:pt x="422" y="458"/>
                  </a:lnTo>
                  <a:lnTo>
                    <a:pt x="416" y="460"/>
                  </a:lnTo>
                  <a:lnTo>
                    <a:pt x="410" y="460"/>
                  </a:lnTo>
                  <a:lnTo>
                    <a:pt x="410" y="460"/>
                  </a:lnTo>
                  <a:lnTo>
                    <a:pt x="408" y="462"/>
                  </a:lnTo>
                  <a:lnTo>
                    <a:pt x="408" y="462"/>
                  </a:lnTo>
                  <a:lnTo>
                    <a:pt x="408" y="464"/>
                  </a:lnTo>
                  <a:lnTo>
                    <a:pt x="410" y="466"/>
                  </a:lnTo>
                  <a:lnTo>
                    <a:pt x="410" y="468"/>
                  </a:lnTo>
                  <a:lnTo>
                    <a:pt x="412" y="472"/>
                  </a:lnTo>
                  <a:lnTo>
                    <a:pt x="412" y="472"/>
                  </a:lnTo>
                  <a:lnTo>
                    <a:pt x="412" y="472"/>
                  </a:lnTo>
                  <a:lnTo>
                    <a:pt x="412" y="474"/>
                  </a:lnTo>
                  <a:lnTo>
                    <a:pt x="412" y="474"/>
                  </a:lnTo>
                  <a:lnTo>
                    <a:pt x="412" y="474"/>
                  </a:lnTo>
                  <a:lnTo>
                    <a:pt x="414" y="476"/>
                  </a:lnTo>
                  <a:lnTo>
                    <a:pt x="414" y="476"/>
                  </a:lnTo>
                  <a:lnTo>
                    <a:pt x="414" y="476"/>
                  </a:lnTo>
                  <a:lnTo>
                    <a:pt x="416" y="478"/>
                  </a:lnTo>
                  <a:lnTo>
                    <a:pt x="416" y="478"/>
                  </a:lnTo>
                  <a:lnTo>
                    <a:pt x="416" y="478"/>
                  </a:lnTo>
                  <a:lnTo>
                    <a:pt x="416" y="478"/>
                  </a:lnTo>
                  <a:lnTo>
                    <a:pt x="416" y="484"/>
                  </a:lnTo>
                  <a:lnTo>
                    <a:pt x="416" y="488"/>
                  </a:lnTo>
                  <a:lnTo>
                    <a:pt x="416" y="494"/>
                  </a:lnTo>
                  <a:lnTo>
                    <a:pt x="416" y="494"/>
                  </a:lnTo>
                  <a:lnTo>
                    <a:pt x="418" y="498"/>
                  </a:lnTo>
                  <a:lnTo>
                    <a:pt x="418" y="498"/>
                  </a:lnTo>
                  <a:lnTo>
                    <a:pt x="418" y="498"/>
                  </a:lnTo>
                  <a:lnTo>
                    <a:pt x="420" y="500"/>
                  </a:lnTo>
                  <a:lnTo>
                    <a:pt x="420" y="500"/>
                  </a:lnTo>
                  <a:lnTo>
                    <a:pt x="420" y="502"/>
                  </a:lnTo>
                  <a:lnTo>
                    <a:pt x="422" y="504"/>
                  </a:lnTo>
                  <a:lnTo>
                    <a:pt x="422" y="504"/>
                  </a:lnTo>
                  <a:lnTo>
                    <a:pt x="424" y="504"/>
                  </a:lnTo>
                  <a:lnTo>
                    <a:pt x="426" y="504"/>
                  </a:lnTo>
                  <a:lnTo>
                    <a:pt x="428" y="506"/>
                  </a:lnTo>
                  <a:lnTo>
                    <a:pt x="430" y="506"/>
                  </a:lnTo>
                  <a:lnTo>
                    <a:pt x="434" y="508"/>
                  </a:lnTo>
                  <a:lnTo>
                    <a:pt x="434" y="508"/>
                  </a:lnTo>
                  <a:lnTo>
                    <a:pt x="434" y="508"/>
                  </a:lnTo>
                  <a:lnTo>
                    <a:pt x="438" y="508"/>
                  </a:lnTo>
                  <a:lnTo>
                    <a:pt x="442" y="506"/>
                  </a:lnTo>
                  <a:lnTo>
                    <a:pt x="444" y="506"/>
                  </a:lnTo>
                  <a:lnTo>
                    <a:pt x="446" y="506"/>
                  </a:lnTo>
                  <a:lnTo>
                    <a:pt x="448" y="506"/>
                  </a:lnTo>
                  <a:lnTo>
                    <a:pt x="448" y="506"/>
                  </a:lnTo>
                  <a:lnTo>
                    <a:pt x="452" y="506"/>
                  </a:lnTo>
                  <a:lnTo>
                    <a:pt x="452" y="506"/>
                  </a:lnTo>
                  <a:lnTo>
                    <a:pt x="452" y="506"/>
                  </a:lnTo>
                  <a:lnTo>
                    <a:pt x="454" y="506"/>
                  </a:lnTo>
                  <a:lnTo>
                    <a:pt x="454" y="506"/>
                  </a:lnTo>
                  <a:lnTo>
                    <a:pt x="454" y="504"/>
                  </a:lnTo>
                  <a:lnTo>
                    <a:pt x="456" y="502"/>
                  </a:lnTo>
                  <a:lnTo>
                    <a:pt x="458" y="500"/>
                  </a:lnTo>
                  <a:lnTo>
                    <a:pt x="460" y="496"/>
                  </a:lnTo>
                  <a:lnTo>
                    <a:pt x="460" y="496"/>
                  </a:lnTo>
                  <a:lnTo>
                    <a:pt x="462" y="496"/>
                  </a:lnTo>
                  <a:lnTo>
                    <a:pt x="462" y="492"/>
                  </a:lnTo>
                  <a:lnTo>
                    <a:pt x="462" y="488"/>
                  </a:lnTo>
                  <a:lnTo>
                    <a:pt x="462" y="488"/>
                  </a:lnTo>
                  <a:lnTo>
                    <a:pt x="462" y="488"/>
                  </a:lnTo>
                  <a:lnTo>
                    <a:pt x="462" y="484"/>
                  </a:lnTo>
                  <a:lnTo>
                    <a:pt x="462" y="484"/>
                  </a:lnTo>
                  <a:lnTo>
                    <a:pt x="462" y="484"/>
                  </a:lnTo>
                  <a:lnTo>
                    <a:pt x="462" y="482"/>
                  </a:lnTo>
                  <a:lnTo>
                    <a:pt x="462" y="482"/>
                  </a:lnTo>
                  <a:lnTo>
                    <a:pt x="460" y="482"/>
                  </a:lnTo>
                  <a:lnTo>
                    <a:pt x="460" y="478"/>
                  </a:lnTo>
                  <a:lnTo>
                    <a:pt x="460" y="478"/>
                  </a:lnTo>
                  <a:lnTo>
                    <a:pt x="460" y="478"/>
                  </a:lnTo>
                  <a:lnTo>
                    <a:pt x="458" y="476"/>
                  </a:lnTo>
                  <a:lnTo>
                    <a:pt x="458" y="476"/>
                  </a:lnTo>
                  <a:lnTo>
                    <a:pt x="458" y="476"/>
                  </a:lnTo>
                  <a:lnTo>
                    <a:pt x="456" y="474"/>
                  </a:lnTo>
                  <a:lnTo>
                    <a:pt x="458" y="474"/>
                  </a:lnTo>
                  <a:lnTo>
                    <a:pt x="466" y="472"/>
                  </a:lnTo>
                  <a:close/>
                  <a:moveTo>
                    <a:pt x="404" y="518"/>
                  </a:moveTo>
                  <a:lnTo>
                    <a:pt x="404" y="518"/>
                  </a:lnTo>
                  <a:lnTo>
                    <a:pt x="402" y="520"/>
                  </a:lnTo>
                  <a:lnTo>
                    <a:pt x="402" y="522"/>
                  </a:lnTo>
                  <a:lnTo>
                    <a:pt x="402" y="524"/>
                  </a:lnTo>
                  <a:lnTo>
                    <a:pt x="402" y="524"/>
                  </a:lnTo>
                  <a:lnTo>
                    <a:pt x="402" y="524"/>
                  </a:lnTo>
                  <a:lnTo>
                    <a:pt x="402" y="524"/>
                  </a:lnTo>
                  <a:lnTo>
                    <a:pt x="402" y="526"/>
                  </a:lnTo>
                  <a:lnTo>
                    <a:pt x="402" y="526"/>
                  </a:lnTo>
                  <a:lnTo>
                    <a:pt x="404" y="526"/>
                  </a:lnTo>
                  <a:lnTo>
                    <a:pt x="404" y="526"/>
                  </a:lnTo>
                  <a:lnTo>
                    <a:pt x="404" y="526"/>
                  </a:lnTo>
                  <a:lnTo>
                    <a:pt x="404" y="528"/>
                  </a:lnTo>
                  <a:lnTo>
                    <a:pt x="404" y="528"/>
                  </a:lnTo>
                  <a:lnTo>
                    <a:pt x="406" y="530"/>
                  </a:lnTo>
                  <a:lnTo>
                    <a:pt x="406" y="530"/>
                  </a:lnTo>
                  <a:lnTo>
                    <a:pt x="406" y="530"/>
                  </a:lnTo>
                  <a:lnTo>
                    <a:pt x="408" y="532"/>
                  </a:lnTo>
                  <a:lnTo>
                    <a:pt x="414" y="532"/>
                  </a:lnTo>
                  <a:lnTo>
                    <a:pt x="414" y="532"/>
                  </a:lnTo>
                  <a:lnTo>
                    <a:pt x="414" y="532"/>
                  </a:lnTo>
                  <a:lnTo>
                    <a:pt x="418" y="532"/>
                  </a:lnTo>
                  <a:lnTo>
                    <a:pt x="418" y="532"/>
                  </a:lnTo>
                  <a:lnTo>
                    <a:pt x="418" y="532"/>
                  </a:lnTo>
                  <a:lnTo>
                    <a:pt x="420" y="532"/>
                  </a:lnTo>
                  <a:lnTo>
                    <a:pt x="422" y="530"/>
                  </a:lnTo>
                  <a:lnTo>
                    <a:pt x="422" y="530"/>
                  </a:lnTo>
                  <a:lnTo>
                    <a:pt x="422" y="530"/>
                  </a:lnTo>
                  <a:lnTo>
                    <a:pt x="424" y="530"/>
                  </a:lnTo>
                  <a:lnTo>
                    <a:pt x="424" y="530"/>
                  </a:lnTo>
                  <a:lnTo>
                    <a:pt x="424" y="528"/>
                  </a:lnTo>
                  <a:lnTo>
                    <a:pt x="424" y="528"/>
                  </a:lnTo>
                  <a:lnTo>
                    <a:pt x="424" y="528"/>
                  </a:lnTo>
                  <a:lnTo>
                    <a:pt x="424" y="526"/>
                  </a:lnTo>
                  <a:lnTo>
                    <a:pt x="424" y="526"/>
                  </a:lnTo>
                  <a:lnTo>
                    <a:pt x="424" y="526"/>
                  </a:lnTo>
                  <a:lnTo>
                    <a:pt x="424" y="524"/>
                  </a:lnTo>
                  <a:lnTo>
                    <a:pt x="424" y="524"/>
                  </a:lnTo>
                  <a:lnTo>
                    <a:pt x="424" y="524"/>
                  </a:lnTo>
                  <a:lnTo>
                    <a:pt x="424" y="522"/>
                  </a:lnTo>
                  <a:lnTo>
                    <a:pt x="422" y="522"/>
                  </a:lnTo>
                  <a:lnTo>
                    <a:pt x="422" y="522"/>
                  </a:lnTo>
                  <a:lnTo>
                    <a:pt x="422" y="522"/>
                  </a:lnTo>
                  <a:lnTo>
                    <a:pt x="420" y="520"/>
                  </a:lnTo>
                  <a:lnTo>
                    <a:pt x="418" y="520"/>
                  </a:lnTo>
                  <a:lnTo>
                    <a:pt x="414" y="518"/>
                  </a:lnTo>
                  <a:lnTo>
                    <a:pt x="410" y="518"/>
                  </a:lnTo>
                  <a:lnTo>
                    <a:pt x="406" y="518"/>
                  </a:lnTo>
                  <a:lnTo>
                    <a:pt x="406" y="518"/>
                  </a:lnTo>
                  <a:lnTo>
                    <a:pt x="404" y="518"/>
                  </a:lnTo>
                  <a:lnTo>
                    <a:pt x="404" y="518"/>
                  </a:lnTo>
                  <a:close/>
                  <a:moveTo>
                    <a:pt x="370" y="488"/>
                  </a:moveTo>
                  <a:lnTo>
                    <a:pt x="372" y="488"/>
                  </a:lnTo>
                  <a:lnTo>
                    <a:pt x="372" y="488"/>
                  </a:lnTo>
                  <a:lnTo>
                    <a:pt x="372" y="488"/>
                  </a:lnTo>
                  <a:lnTo>
                    <a:pt x="374" y="490"/>
                  </a:lnTo>
                  <a:lnTo>
                    <a:pt x="376" y="490"/>
                  </a:lnTo>
                  <a:lnTo>
                    <a:pt x="378" y="490"/>
                  </a:lnTo>
                  <a:lnTo>
                    <a:pt x="378" y="490"/>
                  </a:lnTo>
                  <a:lnTo>
                    <a:pt x="380" y="490"/>
                  </a:lnTo>
                  <a:lnTo>
                    <a:pt x="382" y="490"/>
                  </a:lnTo>
                  <a:lnTo>
                    <a:pt x="382" y="486"/>
                  </a:lnTo>
                  <a:lnTo>
                    <a:pt x="382" y="486"/>
                  </a:lnTo>
                  <a:lnTo>
                    <a:pt x="382" y="486"/>
                  </a:lnTo>
                  <a:lnTo>
                    <a:pt x="382" y="484"/>
                  </a:lnTo>
                  <a:lnTo>
                    <a:pt x="384" y="484"/>
                  </a:lnTo>
                  <a:lnTo>
                    <a:pt x="384" y="484"/>
                  </a:lnTo>
                  <a:lnTo>
                    <a:pt x="382" y="482"/>
                  </a:lnTo>
                  <a:lnTo>
                    <a:pt x="382" y="482"/>
                  </a:lnTo>
                  <a:lnTo>
                    <a:pt x="382" y="482"/>
                  </a:lnTo>
                  <a:lnTo>
                    <a:pt x="382" y="480"/>
                  </a:lnTo>
                  <a:lnTo>
                    <a:pt x="382" y="480"/>
                  </a:lnTo>
                  <a:lnTo>
                    <a:pt x="382" y="480"/>
                  </a:lnTo>
                  <a:lnTo>
                    <a:pt x="382" y="478"/>
                  </a:lnTo>
                  <a:lnTo>
                    <a:pt x="380" y="478"/>
                  </a:lnTo>
                  <a:lnTo>
                    <a:pt x="378" y="476"/>
                  </a:lnTo>
                  <a:lnTo>
                    <a:pt x="376" y="474"/>
                  </a:lnTo>
                  <a:lnTo>
                    <a:pt x="376" y="474"/>
                  </a:lnTo>
                  <a:lnTo>
                    <a:pt x="372" y="476"/>
                  </a:lnTo>
                  <a:lnTo>
                    <a:pt x="372" y="476"/>
                  </a:lnTo>
                  <a:lnTo>
                    <a:pt x="372" y="478"/>
                  </a:lnTo>
                  <a:lnTo>
                    <a:pt x="372" y="480"/>
                  </a:lnTo>
                  <a:lnTo>
                    <a:pt x="370" y="480"/>
                  </a:lnTo>
                  <a:lnTo>
                    <a:pt x="370" y="482"/>
                  </a:lnTo>
                  <a:lnTo>
                    <a:pt x="370" y="484"/>
                  </a:lnTo>
                  <a:lnTo>
                    <a:pt x="370" y="484"/>
                  </a:lnTo>
                  <a:lnTo>
                    <a:pt x="370" y="484"/>
                  </a:lnTo>
                  <a:lnTo>
                    <a:pt x="370" y="486"/>
                  </a:lnTo>
                  <a:lnTo>
                    <a:pt x="370" y="486"/>
                  </a:lnTo>
                  <a:lnTo>
                    <a:pt x="370" y="488"/>
                  </a:lnTo>
                  <a:lnTo>
                    <a:pt x="370" y="488"/>
                  </a:lnTo>
                  <a:close/>
                  <a:moveTo>
                    <a:pt x="384" y="542"/>
                  </a:moveTo>
                  <a:lnTo>
                    <a:pt x="386" y="544"/>
                  </a:lnTo>
                  <a:lnTo>
                    <a:pt x="386" y="544"/>
                  </a:lnTo>
                  <a:lnTo>
                    <a:pt x="386" y="544"/>
                  </a:lnTo>
                  <a:lnTo>
                    <a:pt x="386" y="544"/>
                  </a:lnTo>
                  <a:lnTo>
                    <a:pt x="388" y="546"/>
                  </a:lnTo>
                  <a:lnTo>
                    <a:pt x="388" y="546"/>
                  </a:lnTo>
                  <a:lnTo>
                    <a:pt x="390" y="548"/>
                  </a:lnTo>
                  <a:lnTo>
                    <a:pt x="394" y="548"/>
                  </a:lnTo>
                  <a:lnTo>
                    <a:pt x="396" y="550"/>
                  </a:lnTo>
                  <a:lnTo>
                    <a:pt x="400" y="550"/>
                  </a:lnTo>
                  <a:lnTo>
                    <a:pt x="404" y="552"/>
                  </a:lnTo>
                  <a:lnTo>
                    <a:pt x="404" y="552"/>
                  </a:lnTo>
                  <a:lnTo>
                    <a:pt x="406" y="550"/>
                  </a:lnTo>
                  <a:lnTo>
                    <a:pt x="410" y="548"/>
                  </a:lnTo>
                  <a:lnTo>
                    <a:pt x="412" y="546"/>
                  </a:lnTo>
                  <a:lnTo>
                    <a:pt x="412" y="546"/>
                  </a:lnTo>
                  <a:lnTo>
                    <a:pt x="412" y="546"/>
                  </a:lnTo>
                  <a:lnTo>
                    <a:pt x="414" y="544"/>
                  </a:lnTo>
                  <a:lnTo>
                    <a:pt x="414" y="544"/>
                  </a:lnTo>
                  <a:lnTo>
                    <a:pt x="414" y="544"/>
                  </a:lnTo>
                  <a:lnTo>
                    <a:pt x="414" y="542"/>
                  </a:lnTo>
                  <a:lnTo>
                    <a:pt x="414" y="542"/>
                  </a:lnTo>
                  <a:lnTo>
                    <a:pt x="414" y="542"/>
                  </a:lnTo>
                  <a:lnTo>
                    <a:pt x="416" y="540"/>
                  </a:lnTo>
                  <a:lnTo>
                    <a:pt x="416" y="540"/>
                  </a:lnTo>
                  <a:lnTo>
                    <a:pt x="414" y="540"/>
                  </a:lnTo>
                  <a:lnTo>
                    <a:pt x="414" y="538"/>
                  </a:lnTo>
                  <a:lnTo>
                    <a:pt x="414" y="538"/>
                  </a:lnTo>
                  <a:lnTo>
                    <a:pt x="414" y="538"/>
                  </a:lnTo>
                  <a:lnTo>
                    <a:pt x="412" y="536"/>
                  </a:lnTo>
                  <a:lnTo>
                    <a:pt x="412" y="536"/>
                  </a:lnTo>
                  <a:lnTo>
                    <a:pt x="412" y="536"/>
                  </a:lnTo>
                  <a:lnTo>
                    <a:pt x="410" y="536"/>
                  </a:lnTo>
                  <a:lnTo>
                    <a:pt x="410" y="536"/>
                  </a:lnTo>
                  <a:lnTo>
                    <a:pt x="410" y="536"/>
                  </a:lnTo>
                  <a:lnTo>
                    <a:pt x="406" y="534"/>
                  </a:lnTo>
                  <a:lnTo>
                    <a:pt x="402" y="534"/>
                  </a:lnTo>
                  <a:lnTo>
                    <a:pt x="398" y="532"/>
                  </a:lnTo>
                  <a:lnTo>
                    <a:pt x="392" y="532"/>
                  </a:lnTo>
                  <a:lnTo>
                    <a:pt x="392" y="532"/>
                  </a:lnTo>
                  <a:lnTo>
                    <a:pt x="390" y="534"/>
                  </a:lnTo>
                  <a:lnTo>
                    <a:pt x="388" y="536"/>
                  </a:lnTo>
                  <a:lnTo>
                    <a:pt x="386" y="536"/>
                  </a:lnTo>
                  <a:lnTo>
                    <a:pt x="386" y="538"/>
                  </a:lnTo>
                  <a:lnTo>
                    <a:pt x="384" y="538"/>
                  </a:lnTo>
                  <a:lnTo>
                    <a:pt x="384" y="538"/>
                  </a:lnTo>
                  <a:lnTo>
                    <a:pt x="384" y="540"/>
                  </a:lnTo>
                  <a:lnTo>
                    <a:pt x="384" y="542"/>
                  </a:lnTo>
                  <a:lnTo>
                    <a:pt x="384" y="542"/>
                  </a:lnTo>
                  <a:lnTo>
                    <a:pt x="384" y="542"/>
                  </a:lnTo>
                  <a:lnTo>
                    <a:pt x="384" y="542"/>
                  </a:lnTo>
                  <a:close/>
                  <a:moveTo>
                    <a:pt x="480" y="540"/>
                  </a:moveTo>
                  <a:lnTo>
                    <a:pt x="478" y="540"/>
                  </a:lnTo>
                  <a:lnTo>
                    <a:pt x="478" y="540"/>
                  </a:lnTo>
                  <a:lnTo>
                    <a:pt x="476" y="540"/>
                  </a:lnTo>
                  <a:lnTo>
                    <a:pt x="474" y="540"/>
                  </a:lnTo>
                  <a:lnTo>
                    <a:pt x="474" y="540"/>
                  </a:lnTo>
                  <a:lnTo>
                    <a:pt x="472" y="542"/>
                  </a:lnTo>
                  <a:lnTo>
                    <a:pt x="470" y="544"/>
                  </a:lnTo>
                  <a:lnTo>
                    <a:pt x="466" y="548"/>
                  </a:lnTo>
                  <a:lnTo>
                    <a:pt x="466" y="548"/>
                  </a:lnTo>
                  <a:lnTo>
                    <a:pt x="466" y="548"/>
                  </a:lnTo>
                  <a:lnTo>
                    <a:pt x="466" y="550"/>
                  </a:lnTo>
                  <a:lnTo>
                    <a:pt x="466" y="550"/>
                  </a:lnTo>
                  <a:lnTo>
                    <a:pt x="466" y="550"/>
                  </a:lnTo>
                  <a:lnTo>
                    <a:pt x="464" y="552"/>
                  </a:lnTo>
                  <a:lnTo>
                    <a:pt x="462" y="554"/>
                  </a:lnTo>
                  <a:lnTo>
                    <a:pt x="460" y="558"/>
                  </a:lnTo>
                  <a:lnTo>
                    <a:pt x="458" y="560"/>
                  </a:lnTo>
                  <a:lnTo>
                    <a:pt x="456" y="564"/>
                  </a:lnTo>
                  <a:lnTo>
                    <a:pt x="456" y="564"/>
                  </a:lnTo>
                  <a:lnTo>
                    <a:pt x="456" y="564"/>
                  </a:lnTo>
                  <a:lnTo>
                    <a:pt x="454" y="566"/>
                  </a:lnTo>
                  <a:lnTo>
                    <a:pt x="454" y="566"/>
                  </a:lnTo>
                  <a:lnTo>
                    <a:pt x="454" y="568"/>
                  </a:lnTo>
                  <a:lnTo>
                    <a:pt x="454" y="570"/>
                  </a:lnTo>
                  <a:lnTo>
                    <a:pt x="454" y="570"/>
                  </a:lnTo>
                  <a:lnTo>
                    <a:pt x="454" y="572"/>
                  </a:lnTo>
                  <a:lnTo>
                    <a:pt x="454" y="576"/>
                  </a:lnTo>
                  <a:lnTo>
                    <a:pt x="454" y="576"/>
                  </a:lnTo>
                  <a:lnTo>
                    <a:pt x="454" y="576"/>
                  </a:lnTo>
                  <a:lnTo>
                    <a:pt x="456" y="578"/>
                  </a:lnTo>
                  <a:lnTo>
                    <a:pt x="456" y="578"/>
                  </a:lnTo>
                  <a:lnTo>
                    <a:pt x="456" y="578"/>
                  </a:lnTo>
                  <a:lnTo>
                    <a:pt x="456" y="580"/>
                  </a:lnTo>
                  <a:lnTo>
                    <a:pt x="456" y="580"/>
                  </a:lnTo>
                  <a:lnTo>
                    <a:pt x="458" y="580"/>
                  </a:lnTo>
                  <a:lnTo>
                    <a:pt x="460" y="582"/>
                  </a:lnTo>
                  <a:lnTo>
                    <a:pt x="464" y="584"/>
                  </a:lnTo>
                  <a:lnTo>
                    <a:pt x="466" y="586"/>
                  </a:lnTo>
                  <a:lnTo>
                    <a:pt x="468" y="586"/>
                  </a:lnTo>
                  <a:lnTo>
                    <a:pt x="468" y="586"/>
                  </a:lnTo>
                  <a:lnTo>
                    <a:pt x="466" y="588"/>
                  </a:lnTo>
                  <a:lnTo>
                    <a:pt x="464" y="590"/>
                  </a:lnTo>
                  <a:lnTo>
                    <a:pt x="464" y="590"/>
                  </a:lnTo>
                  <a:lnTo>
                    <a:pt x="464" y="590"/>
                  </a:lnTo>
                  <a:lnTo>
                    <a:pt x="464" y="592"/>
                  </a:lnTo>
                  <a:lnTo>
                    <a:pt x="464" y="592"/>
                  </a:lnTo>
                  <a:lnTo>
                    <a:pt x="464" y="592"/>
                  </a:lnTo>
                  <a:lnTo>
                    <a:pt x="464" y="594"/>
                  </a:lnTo>
                  <a:lnTo>
                    <a:pt x="464" y="594"/>
                  </a:lnTo>
                  <a:lnTo>
                    <a:pt x="464" y="594"/>
                  </a:lnTo>
                  <a:lnTo>
                    <a:pt x="464" y="596"/>
                  </a:lnTo>
                  <a:lnTo>
                    <a:pt x="464" y="596"/>
                  </a:lnTo>
                  <a:lnTo>
                    <a:pt x="464" y="598"/>
                  </a:lnTo>
                  <a:lnTo>
                    <a:pt x="464" y="600"/>
                  </a:lnTo>
                  <a:lnTo>
                    <a:pt x="466" y="602"/>
                  </a:lnTo>
                  <a:lnTo>
                    <a:pt x="466" y="602"/>
                  </a:lnTo>
                  <a:lnTo>
                    <a:pt x="466" y="602"/>
                  </a:lnTo>
                  <a:lnTo>
                    <a:pt x="466" y="602"/>
                  </a:lnTo>
                  <a:lnTo>
                    <a:pt x="468" y="604"/>
                  </a:lnTo>
                  <a:lnTo>
                    <a:pt x="470" y="606"/>
                  </a:lnTo>
                  <a:lnTo>
                    <a:pt x="472" y="608"/>
                  </a:lnTo>
                  <a:lnTo>
                    <a:pt x="474" y="610"/>
                  </a:lnTo>
                  <a:lnTo>
                    <a:pt x="476" y="610"/>
                  </a:lnTo>
                  <a:lnTo>
                    <a:pt x="478" y="614"/>
                  </a:lnTo>
                  <a:lnTo>
                    <a:pt x="478" y="616"/>
                  </a:lnTo>
                  <a:lnTo>
                    <a:pt x="478" y="616"/>
                  </a:lnTo>
                  <a:lnTo>
                    <a:pt x="476" y="618"/>
                  </a:lnTo>
                  <a:lnTo>
                    <a:pt x="474" y="622"/>
                  </a:lnTo>
                  <a:lnTo>
                    <a:pt x="470" y="622"/>
                  </a:lnTo>
                  <a:lnTo>
                    <a:pt x="466" y="624"/>
                  </a:lnTo>
                  <a:lnTo>
                    <a:pt x="462" y="622"/>
                  </a:lnTo>
                  <a:lnTo>
                    <a:pt x="458" y="620"/>
                  </a:lnTo>
                  <a:lnTo>
                    <a:pt x="454" y="618"/>
                  </a:lnTo>
                  <a:lnTo>
                    <a:pt x="454" y="616"/>
                  </a:lnTo>
                  <a:lnTo>
                    <a:pt x="452" y="614"/>
                  </a:lnTo>
                  <a:lnTo>
                    <a:pt x="452" y="614"/>
                  </a:lnTo>
                  <a:lnTo>
                    <a:pt x="452" y="614"/>
                  </a:lnTo>
                  <a:lnTo>
                    <a:pt x="450" y="608"/>
                  </a:lnTo>
                  <a:lnTo>
                    <a:pt x="446" y="604"/>
                  </a:lnTo>
                  <a:lnTo>
                    <a:pt x="442" y="600"/>
                  </a:lnTo>
                  <a:lnTo>
                    <a:pt x="440" y="596"/>
                  </a:lnTo>
                  <a:lnTo>
                    <a:pt x="440" y="596"/>
                  </a:lnTo>
                  <a:lnTo>
                    <a:pt x="438" y="596"/>
                  </a:lnTo>
                  <a:lnTo>
                    <a:pt x="434" y="594"/>
                  </a:lnTo>
                  <a:lnTo>
                    <a:pt x="432" y="594"/>
                  </a:lnTo>
                  <a:lnTo>
                    <a:pt x="430" y="592"/>
                  </a:lnTo>
                  <a:lnTo>
                    <a:pt x="430" y="590"/>
                  </a:lnTo>
                  <a:lnTo>
                    <a:pt x="426" y="584"/>
                  </a:lnTo>
                  <a:lnTo>
                    <a:pt x="424" y="580"/>
                  </a:lnTo>
                  <a:lnTo>
                    <a:pt x="422" y="576"/>
                  </a:lnTo>
                  <a:lnTo>
                    <a:pt x="422" y="576"/>
                  </a:lnTo>
                  <a:lnTo>
                    <a:pt x="420" y="576"/>
                  </a:lnTo>
                  <a:lnTo>
                    <a:pt x="418" y="574"/>
                  </a:lnTo>
                  <a:lnTo>
                    <a:pt x="414" y="574"/>
                  </a:lnTo>
                  <a:lnTo>
                    <a:pt x="410" y="574"/>
                  </a:lnTo>
                  <a:lnTo>
                    <a:pt x="408" y="574"/>
                  </a:lnTo>
                  <a:lnTo>
                    <a:pt x="406" y="574"/>
                  </a:lnTo>
                  <a:lnTo>
                    <a:pt x="406" y="572"/>
                  </a:lnTo>
                  <a:lnTo>
                    <a:pt x="406" y="572"/>
                  </a:lnTo>
                  <a:lnTo>
                    <a:pt x="406" y="572"/>
                  </a:lnTo>
                  <a:lnTo>
                    <a:pt x="406" y="572"/>
                  </a:lnTo>
                  <a:lnTo>
                    <a:pt x="406" y="572"/>
                  </a:lnTo>
                  <a:lnTo>
                    <a:pt x="406" y="570"/>
                  </a:lnTo>
                  <a:lnTo>
                    <a:pt x="404" y="570"/>
                  </a:lnTo>
                  <a:lnTo>
                    <a:pt x="404" y="570"/>
                  </a:lnTo>
                  <a:lnTo>
                    <a:pt x="404" y="570"/>
                  </a:lnTo>
                  <a:lnTo>
                    <a:pt x="404" y="568"/>
                  </a:lnTo>
                  <a:lnTo>
                    <a:pt x="404" y="568"/>
                  </a:lnTo>
                  <a:lnTo>
                    <a:pt x="402" y="568"/>
                  </a:lnTo>
                  <a:lnTo>
                    <a:pt x="402" y="566"/>
                  </a:lnTo>
                  <a:lnTo>
                    <a:pt x="402" y="566"/>
                  </a:lnTo>
                  <a:lnTo>
                    <a:pt x="400" y="566"/>
                  </a:lnTo>
                  <a:lnTo>
                    <a:pt x="398" y="566"/>
                  </a:lnTo>
                  <a:lnTo>
                    <a:pt x="394" y="564"/>
                  </a:lnTo>
                  <a:lnTo>
                    <a:pt x="392" y="564"/>
                  </a:lnTo>
                  <a:lnTo>
                    <a:pt x="390" y="564"/>
                  </a:lnTo>
                  <a:lnTo>
                    <a:pt x="388" y="564"/>
                  </a:lnTo>
                  <a:lnTo>
                    <a:pt x="388" y="564"/>
                  </a:lnTo>
                  <a:lnTo>
                    <a:pt x="388" y="564"/>
                  </a:lnTo>
                  <a:lnTo>
                    <a:pt x="382" y="564"/>
                  </a:lnTo>
                  <a:lnTo>
                    <a:pt x="382" y="564"/>
                  </a:lnTo>
                  <a:lnTo>
                    <a:pt x="380" y="566"/>
                  </a:lnTo>
                  <a:lnTo>
                    <a:pt x="378" y="566"/>
                  </a:lnTo>
                  <a:lnTo>
                    <a:pt x="376" y="568"/>
                  </a:lnTo>
                  <a:lnTo>
                    <a:pt x="376" y="568"/>
                  </a:lnTo>
                  <a:lnTo>
                    <a:pt x="376" y="568"/>
                  </a:lnTo>
                  <a:lnTo>
                    <a:pt x="374" y="568"/>
                  </a:lnTo>
                  <a:lnTo>
                    <a:pt x="374" y="568"/>
                  </a:lnTo>
                  <a:lnTo>
                    <a:pt x="374" y="570"/>
                  </a:lnTo>
                  <a:lnTo>
                    <a:pt x="374" y="572"/>
                  </a:lnTo>
                  <a:lnTo>
                    <a:pt x="374" y="572"/>
                  </a:lnTo>
                  <a:lnTo>
                    <a:pt x="374" y="574"/>
                  </a:lnTo>
                  <a:lnTo>
                    <a:pt x="374" y="576"/>
                  </a:lnTo>
                  <a:lnTo>
                    <a:pt x="374" y="576"/>
                  </a:lnTo>
                  <a:lnTo>
                    <a:pt x="374" y="576"/>
                  </a:lnTo>
                  <a:lnTo>
                    <a:pt x="374" y="578"/>
                  </a:lnTo>
                  <a:lnTo>
                    <a:pt x="374" y="578"/>
                  </a:lnTo>
                  <a:lnTo>
                    <a:pt x="374" y="578"/>
                  </a:lnTo>
                  <a:lnTo>
                    <a:pt x="372" y="578"/>
                  </a:lnTo>
                  <a:lnTo>
                    <a:pt x="370" y="582"/>
                  </a:lnTo>
                  <a:lnTo>
                    <a:pt x="370" y="582"/>
                  </a:lnTo>
                  <a:lnTo>
                    <a:pt x="368" y="582"/>
                  </a:lnTo>
                  <a:lnTo>
                    <a:pt x="368" y="586"/>
                  </a:lnTo>
                  <a:lnTo>
                    <a:pt x="366" y="590"/>
                  </a:lnTo>
                  <a:lnTo>
                    <a:pt x="366" y="592"/>
                  </a:lnTo>
                  <a:lnTo>
                    <a:pt x="366" y="596"/>
                  </a:lnTo>
                  <a:lnTo>
                    <a:pt x="364" y="598"/>
                  </a:lnTo>
                  <a:lnTo>
                    <a:pt x="362" y="598"/>
                  </a:lnTo>
                  <a:lnTo>
                    <a:pt x="362" y="600"/>
                  </a:lnTo>
                  <a:lnTo>
                    <a:pt x="360" y="600"/>
                  </a:lnTo>
                  <a:lnTo>
                    <a:pt x="358" y="602"/>
                  </a:lnTo>
                  <a:lnTo>
                    <a:pt x="358" y="602"/>
                  </a:lnTo>
                  <a:lnTo>
                    <a:pt x="356" y="604"/>
                  </a:lnTo>
                  <a:lnTo>
                    <a:pt x="356" y="608"/>
                  </a:lnTo>
                  <a:lnTo>
                    <a:pt x="358" y="610"/>
                  </a:lnTo>
                  <a:lnTo>
                    <a:pt x="358" y="614"/>
                  </a:lnTo>
                  <a:lnTo>
                    <a:pt x="358" y="614"/>
                  </a:lnTo>
                  <a:lnTo>
                    <a:pt x="358" y="614"/>
                  </a:lnTo>
                  <a:lnTo>
                    <a:pt x="360" y="616"/>
                  </a:lnTo>
                  <a:lnTo>
                    <a:pt x="360" y="616"/>
                  </a:lnTo>
                  <a:lnTo>
                    <a:pt x="360" y="616"/>
                  </a:lnTo>
                  <a:lnTo>
                    <a:pt x="362" y="618"/>
                  </a:lnTo>
                  <a:lnTo>
                    <a:pt x="360" y="618"/>
                  </a:lnTo>
                  <a:lnTo>
                    <a:pt x="360" y="618"/>
                  </a:lnTo>
                  <a:lnTo>
                    <a:pt x="360" y="618"/>
                  </a:lnTo>
                  <a:lnTo>
                    <a:pt x="358" y="620"/>
                  </a:lnTo>
                  <a:lnTo>
                    <a:pt x="358" y="620"/>
                  </a:lnTo>
                  <a:lnTo>
                    <a:pt x="356" y="620"/>
                  </a:lnTo>
                  <a:lnTo>
                    <a:pt x="356" y="622"/>
                  </a:lnTo>
                  <a:lnTo>
                    <a:pt x="354" y="624"/>
                  </a:lnTo>
                  <a:lnTo>
                    <a:pt x="352" y="624"/>
                  </a:lnTo>
                  <a:lnTo>
                    <a:pt x="352" y="624"/>
                  </a:lnTo>
                  <a:lnTo>
                    <a:pt x="352" y="624"/>
                  </a:lnTo>
                  <a:lnTo>
                    <a:pt x="350" y="626"/>
                  </a:lnTo>
                  <a:lnTo>
                    <a:pt x="350" y="626"/>
                  </a:lnTo>
                  <a:lnTo>
                    <a:pt x="350" y="626"/>
                  </a:lnTo>
                  <a:lnTo>
                    <a:pt x="350" y="628"/>
                  </a:lnTo>
                  <a:lnTo>
                    <a:pt x="350" y="628"/>
                  </a:lnTo>
                  <a:lnTo>
                    <a:pt x="348" y="628"/>
                  </a:lnTo>
                  <a:lnTo>
                    <a:pt x="348" y="632"/>
                  </a:lnTo>
                  <a:lnTo>
                    <a:pt x="348" y="632"/>
                  </a:lnTo>
                  <a:lnTo>
                    <a:pt x="348" y="632"/>
                  </a:lnTo>
                  <a:lnTo>
                    <a:pt x="348" y="634"/>
                  </a:lnTo>
                  <a:lnTo>
                    <a:pt x="348" y="636"/>
                  </a:lnTo>
                  <a:lnTo>
                    <a:pt x="348" y="636"/>
                  </a:lnTo>
                  <a:lnTo>
                    <a:pt x="348" y="638"/>
                  </a:lnTo>
                  <a:lnTo>
                    <a:pt x="348" y="638"/>
                  </a:lnTo>
                  <a:lnTo>
                    <a:pt x="350" y="640"/>
                  </a:lnTo>
                  <a:lnTo>
                    <a:pt x="354" y="640"/>
                  </a:lnTo>
                  <a:lnTo>
                    <a:pt x="358" y="640"/>
                  </a:lnTo>
                  <a:lnTo>
                    <a:pt x="362" y="640"/>
                  </a:lnTo>
                  <a:lnTo>
                    <a:pt x="366" y="642"/>
                  </a:lnTo>
                  <a:lnTo>
                    <a:pt x="370" y="642"/>
                  </a:lnTo>
                  <a:lnTo>
                    <a:pt x="372" y="644"/>
                  </a:lnTo>
                  <a:lnTo>
                    <a:pt x="374" y="646"/>
                  </a:lnTo>
                  <a:lnTo>
                    <a:pt x="376" y="648"/>
                  </a:lnTo>
                  <a:lnTo>
                    <a:pt x="378" y="652"/>
                  </a:lnTo>
                  <a:lnTo>
                    <a:pt x="382" y="654"/>
                  </a:lnTo>
                  <a:lnTo>
                    <a:pt x="384" y="656"/>
                  </a:lnTo>
                  <a:lnTo>
                    <a:pt x="384" y="656"/>
                  </a:lnTo>
                  <a:lnTo>
                    <a:pt x="384" y="656"/>
                  </a:lnTo>
                  <a:lnTo>
                    <a:pt x="388" y="656"/>
                  </a:lnTo>
                  <a:lnTo>
                    <a:pt x="388" y="656"/>
                  </a:lnTo>
                  <a:lnTo>
                    <a:pt x="390" y="656"/>
                  </a:lnTo>
                  <a:lnTo>
                    <a:pt x="394" y="654"/>
                  </a:lnTo>
                  <a:lnTo>
                    <a:pt x="394" y="654"/>
                  </a:lnTo>
                  <a:lnTo>
                    <a:pt x="394" y="652"/>
                  </a:lnTo>
                  <a:lnTo>
                    <a:pt x="394" y="652"/>
                  </a:lnTo>
                  <a:lnTo>
                    <a:pt x="396" y="652"/>
                  </a:lnTo>
                  <a:lnTo>
                    <a:pt x="396" y="650"/>
                  </a:lnTo>
                  <a:lnTo>
                    <a:pt x="396" y="650"/>
                  </a:lnTo>
                  <a:lnTo>
                    <a:pt x="396" y="650"/>
                  </a:lnTo>
                  <a:lnTo>
                    <a:pt x="398" y="648"/>
                  </a:lnTo>
                  <a:lnTo>
                    <a:pt x="398" y="648"/>
                  </a:lnTo>
                  <a:lnTo>
                    <a:pt x="398" y="648"/>
                  </a:lnTo>
                  <a:lnTo>
                    <a:pt x="398" y="646"/>
                  </a:lnTo>
                  <a:lnTo>
                    <a:pt x="398" y="644"/>
                  </a:lnTo>
                  <a:lnTo>
                    <a:pt x="398" y="640"/>
                  </a:lnTo>
                  <a:lnTo>
                    <a:pt x="398" y="638"/>
                  </a:lnTo>
                  <a:lnTo>
                    <a:pt x="400" y="636"/>
                  </a:lnTo>
                  <a:lnTo>
                    <a:pt x="402" y="634"/>
                  </a:lnTo>
                  <a:lnTo>
                    <a:pt x="402" y="634"/>
                  </a:lnTo>
                  <a:lnTo>
                    <a:pt x="402" y="634"/>
                  </a:lnTo>
                  <a:lnTo>
                    <a:pt x="402" y="634"/>
                  </a:lnTo>
                  <a:lnTo>
                    <a:pt x="404" y="636"/>
                  </a:lnTo>
                  <a:lnTo>
                    <a:pt x="404" y="640"/>
                  </a:lnTo>
                  <a:lnTo>
                    <a:pt x="404" y="640"/>
                  </a:lnTo>
                  <a:lnTo>
                    <a:pt x="406" y="642"/>
                  </a:lnTo>
                  <a:lnTo>
                    <a:pt x="412" y="642"/>
                  </a:lnTo>
                  <a:lnTo>
                    <a:pt x="416" y="642"/>
                  </a:lnTo>
                  <a:lnTo>
                    <a:pt x="422" y="642"/>
                  </a:lnTo>
                  <a:lnTo>
                    <a:pt x="426" y="642"/>
                  </a:lnTo>
                  <a:lnTo>
                    <a:pt x="430" y="642"/>
                  </a:lnTo>
                  <a:lnTo>
                    <a:pt x="430" y="642"/>
                  </a:lnTo>
                  <a:lnTo>
                    <a:pt x="434" y="642"/>
                  </a:lnTo>
                  <a:lnTo>
                    <a:pt x="436" y="644"/>
                  </a:lnTo>
                  <a:lnTo>
                    <a:pt x="438" y="644"/>
                  </a:lnTo>
                  <a:lnTo>
                    <a:pt x="436" y="646"/>
                  </a:lnTo>
                  <a:lnTo>
                    <a:pt x="434" y="648"/>
                  </a:lnTo>
                  <a:lnTo>
                    <a:pt x="432" y="650"/>
                  </a:lnTo>
                  <a:lnTo>
                    <a:pt x="428" y="650"/>
                  </a:lnTo>
                  <a:lnTo>
                    <a:pt x="422" y="654"/>
                  </a:lnTo>
                  <a:lnTo>
                    <a:pt x="418" y="654"/>
                  </a:lnTo>
                  <a:lnTo>
                    <a:pt x="416" y="656"/>
                  </a:lnTo>
                  <a:lnTo>
                    <a:pt x="412" y="658"/>
                  </a:lnTo>
                  <a:lnTo>
                    <a:pt x="408" y="658"/>
                  </a:lnTo>
                  <a:lnTo>
                    <a:pt x="408" y="658"/>
                  </a:lnTo>
                  <a:lnTo>
                    <a:pt x="408" y="658"/>
                  </a:lnTo>
                  <a:lnTo>
                    <a:pt x="404" y="660"/>
                  </a:lnTo>
                  <a:lnTo>
                    <a:pt x="404" y="660"/>
                  </a:lnTo>
                  <a:lnTo>
                    <a:pt x="404" y="660"/>
                  </a:lnTo>
                  <a:lnTo>
                    <a:pt x="402" y="662"/>
                  </a:lnTo>
                  <a:lnTo>
                    <a:pt x="402" y="662"/>
                  </a:lnTo>
                  <a:lnTo>
                    <a:pt x="402" y="662"/>
                  </a:lnTo>
                  <a:lnTo>
                    <a:pt x="400" y="666"/>
                  </a:lnTo>
                  <a:lnTo>
                    <a:pt x="400" y="666"/>
                  </a:lnTo>
                  <a:lnTo>
                    <a:pt x="400" y="666"/>
                  </a:lnTo>
                  <a:lnTo>
                    <a:pt x="400" y="668"/>
                  </a:lnTo>
                  <a:lnTo>
                    <a:pt x="398" y="672"/>
                  </a:lnTo>
                  <a:lnTo>
                    <a:pt x="398" y="676"/>
                  </a:lnTo>
                  <a:lnTo>
                    <a:pt x="398" y="676"/>
                  </a:lnTo>
                  <a:lnTo>
                    <a:pt x="398" y="678"/>
                  </a:lnTo>
                  <a:lnTo>
                    <a:pt x="400" y="680"/>
                  </a:lnTo>
                  <a:lnTo>
                    <a:pt x="404" y="680"/>
                  </a:lnTo>
                  <a:lnTo>
                    <a:pt x="408" y="682"/>
                  </a:lnTo>
                  <a:lnTo>
                    <a:pt x="414" y="684"/>
                  </a:lnTo>
                  <a:lnTo>
                    <a:pt x="416" y="686"/>
                  </a:lnTo>
                  <a:lnTo>
                    <a:pt x="416" y="686"/>
                  </a:lnTo>
                  <a:lnTo>
                    <a:pt x="418" y="686"/>
                  </a:lnTo>
                  <a:lnTo>
                    <a:pt x="420" y="688"/>
                  </a:lnTo>
                  <a:lnTo>
                    <a:pt x="420" y="688"/>
                  </a:lnTo>
                  <a:lnTo>
                    <a:pt x="422" y="688"/>
                  </a:lnTo>
                  <a:lnTo>
                    <a:pt x="424" y="688"/>
                  </a:lnTo>
                  <a:lnTo>
                    <a:pt x="424" y="688"/>
                  </a:lnTo>
                  <a:lnTo>
                    <a:pt x="426" y="688"/>
                  </a:lnTo>
                  <a:lnTo>
                    <a:pt x="426" y="688"/>
                  </a:lnTo>
                  <a:lnTo>
                    <a:pt x="426" y="688"/>
                  </a:lnTo>
                  <a:lnTo>
                    <a:pt x="428" y="686"/>
                  </a:lnTo>
                  <a:lnTo>
                    <a:pt x="428" y="686"/>
                  </a:lnTo>
                  <a:lnTo>
                    <a:pt x="432" y="686"/>
                  </a:lnTo>
                  <a:lnTo>
                    <a:pt x="432" y="686"/>
                  </a:lnTo>
                  <a:lnTo>
                    <a:pt x="432" y="686"/>
                  </a:lnTo>
                  <a:lnTo>
                    <a:pt x="438" y="682"/>
                  </a:lnTo>
                  <a:lnTo>
                    <a:pt x="442" y="680"/>
                  </a:lnTo>
                  <a:lnTo>
                    <a:pt x="448" y="676"/>
                  </a:lnTo>
                  <a:lnTo>
                    <a:pt x="452" y="672"/>
                  </a:lnTo>
                  <a:lnTo>
                    <a:pt x="456" y="668"/>
                  </a:lnTo>
                  <a:lnTo>
                    <a:pt x="460" y="664"/>
                  </a:lnTo>
                  <a:lnTo>
                    <a:pt x="460" y="662"/>
                  </a:lnTo>
                  <a:lnTo>
                    <a:pt x="464" y="662"/>
                  </a:lnTo>
                  <a:lnTo>
                    <a:pt x="468" y="660"/>
                  </a:lnTo>
                  <a:lnTo>
                    <a:pt x="470" y="660"/>
                  </a:lnTo>
                  <a:lnTo>
                    <a:pt x="474" y="658"/>
                  </a:lnTo>
                  <a:lnTo>
                    <a:pt x="478" y="658"/>
                  </a:lnTo>
                  <a:lnTo>
                    <a:pt x="482" y="656"/>
                  </a:lnTo>
                  <a:lnTo>
                    <a:pt x="486" y="656"/>
                  </a:lnTo>
                  <a:lnTo>
                    <a:pt x="488" y="654"/>
                  </a:lnTo>
                  <a:lnTo>
                    <a:pt x="492" y="654"/>
                  </a:lnTo>
                  <a:lnTo>
                    <a:pt x="494" y="654"/>
                  </a:lnTo>
                  <a:lnTo>
                    <a:pt x="498" y="656"/>
                  </a:lnTo>
                  <a:lnTo>
                    <a:pt x="502" y="656"/>
                  </a:lnTo>
                  <a:lnTo>
                    <a:pt x="508" y="658"/>
                  </a:lnTo>
                  <a:lnTo>
                    <a:pt x="512" y="658"/>
                  </a:lnTo>
                  <a:lnTo>
                    <a:pt x="512" y="658"/>
                  </a:lnTo>
                  <a:lnTo>
                    <a:pt x="514" y="658"/>
                  </a:lnTo>
                  <a:lnTo>
                    <a:pt x="518" y="658"/>
                  </a:lnTo>
                  <a:lnTo>
                    <a:pt x="518" y="658"/>
                  </a:lnTo>
                  <a:lnTo>
                    <a:pt x="518" y="658"/>
                  </a:lnTo>
                  <a:lnTo>
                    <a:pt x="520" y="658"/>
                  </a:lnTo>
                  <a:lnTo>
                    <a:pt x="520" y="658"/>
                  </a:lnTo>
                  <a:lnTo>
                    <a:pt x="520" y="658"/>
                  </a:lnTo>
                  <a:lnTo>
                    <a:pt x="522" y="656"/>
                  </a:lnTo>
                  <a:lnTo>
                    <a:pt x="522" y="656"/>
                  </a:lnTo>
                  <a:lnTo>
                    <a:pt x="522" y="656"/>
                  </a:lnTo>
                  <a:lnTo>
                    <a:pt x="524" y="654"/>
                  </a:lnTo>
                  <a:lnTo>
                    <a:pt x="524" y="654"/>
                  </a:lnTo>
                  <a:lnTo>
                    <a:pt x="524" y="654"/>
                  </a:lnTo>
                  <a:lnTo>
                    <a:pt x="524" y="652"/>
                  </a:lnTo>
                  <a:lnTo>
                    <a:pt x="524" y="652"/>
                  </a:lnTo>
                  <a:lnTo>
                    <a:pt x="524" y="652"/>
                  </a:lnTo>
                  <a:lnTo>
                    <a:pt x="526" y="650"/>
                  </a:lnTo>
                  <a:lnTo>
                    <a:pt x="526" y="646"/>
                  </a:lnTo>
                  <a:lnTo>
                    <a:pt x="526" y="642"/>
                  </a:lnTo>
                  <a:lnTo>
                    <a:pt x="528" y="638"/>
                  </a:lnTo>
                  <a:lnTo>
                    <a:pt x="528" y="634"/>
                  </a:lnTo>
                  <a:lnTo>
                    <a:pt x="530" y="630"/>
                  </a:lnTo>
                  <a:lnTo>
                    <a:pt x="530" y="620"/>
                  </a:lnTo>
                  <a:lnTo>
                    <a:pt x="532" y="614"/>
                  </a:lnTo>
                  <a:lnTo>
                    <a:pt x="530" y="610"/>
                  </a:lnTo>
                  <a:lnTo>
                    <a:pt x="530" y="604"/>
                  </a:lnTo>
                  <a:lnTo>
                    <a:pt x="530" y="604"/>
                  </a:lnTo>
                  <a:lnTo>
                    <a:pt x="530" y="604"/>
                  </a:lnTo>
                  <a:lnTo>
                    <a:pt x="530" y="600"/>
                  </a:lnTo>
                  <a:lnTo>
                    <a:pt x="530" y="600"/>
                  </a:lnTo>
                  <a:lnTo>
                    <a:pt x="530" y="600"/>
                  </a:lnTo>
                  <a:lnTo>
                    <a:pt x="528" y="596"/>
                  </a:lnTo>
                  <a:lnTo>
                    <a:pt x="528" y="596"/>
                  </a:lnTo>
                  <a:lnTo>
                    <a:pt x="526" y="596"/>
                  </a:lnTo>
                  <a:lnTo>
                    <a:pt x="524" y="592"/>
                  </a:lnTo>
                  <a:lnTo>
                    <a:pt x="524" y="592"/>
                  </a:lnTo>
                  <a:lnTo>
                    <a:pt x="524" y="592"/>
                  </a:lnTo>
                  <a:lnTo>
                    <a:pt x="520" y="590"/>
                  </a:lnTo>
                  <a:lnTo>
                    <a:pt x="520" y="590"/>
                  </a:lnTo>
                  <a:lnTo>
                    <a:pt x="520" y="590"/>
                  </a:lnTo>
                  <a:lnTo>
                    <a:pt x="516" y="588"/>
                  </a:lnTo>
                  <a:lnTo>
                    <a:pt x="516" y="588"/>
                  </a:lnTo>
                  <a:lnTo>
                    <a:pt x="514" y="590"/>
                  </a:lnTo>
                  <a:lnTo>
                    <a:pt x="512" y="590"/>
                  </a:lnTo>
                  <a:lnTo>
                    <a:pt x="510" y="592"/>
                  </a:lnTo>
                  <a:lnTo>
                    <a:pt x="506" y="594"/>
                  </a:lnTo>
                  <a:lnTo>
                    <a:pt x="506" y="594"/>
                  </a:lnTo>
                  <a:lnTo>
                    <a:pt x="506" y="594"/>
                  </a:lnTo>
                  <a:lnTo>
                    <a:pt x="504" y="598"/>
                  </a:lnTo>
                  <a:lnTo>
                    <a:pt x="502" y="600"/>
                  </a:lnTo>
                  <a:lnTo>
                    <a:pt x="502" y="600"/>
                  </a:lnTo>
                  <a:lnTo>
                    <a:pt x="500" y="600"/>
                  </a:lnTo>
                  <a:lnTo>
                    <a:pt x="498" y="600"/>
                  </a:lnTo>
                  <a:lnTo>
                    <a:pt x="498" y="600"/>
                  </a:lnTo>
                  <a:lnTo>
                    <a:pt x="496" y="598"/>
                  </a:lnTo>
                  <a:lnTo>
                    <a:pt x="496" y="598"/>
                  </a:lnTo>
                  <a:lnTo>
                    <a:pt x="496" y="594"/>
                  </a:lnTo>
                  <a:lnTo>
                    <a:pt x="496" y="590"/>
                  </a:lnTo>
                  <a:lnTo>
                    <a:pt x="494" y="586"/>
                  </a:lnTo>
                  <a:lnTo>
                    <a:pt x="494" y="586"/>
                  </a:lnTo>
                  <a:lnTo>
                    <a:pt x="494" y="584"/>
                  </a:lnTo>
                  <a:lnTo>
                    <a:pt x="492" y="580"/>
                  </a:lnTo>
                  <a:lnTo>
                    <a:pt x="490" y="572"/>
                  </a:lnTo>
                  <a:lnTo>
                    <a:pt x="490" y="566"/>
                  </a:lnTo>
                  <a:lnTo>
                    <a:pt x="488" y="558"/>
                  </a:lnTo>
                  <a:lnTo>
                    <a:pt x="488" y="552"/>
                  </a:lnTo>
                  <a:lnTo>
                    <a:pt x="486" y="550"/>
                  </a:lnTo>
                  <a:lnTo>
                    <a:pt x="486" y="546"/>
                  </a:lnTo>
                  <a:lnTo>
                    <a:pt x="484" y="544"/>
                  </a:lnTo>
                  <a:lnTo>
                    <a:pt x="484" y="544"/>
                  </a:lnTo>
                  <a:lnTo>
                    <a:pt x="484" y="544"/>
                  </a:lnTo>
                  <a:lnTo>
                    <a:pt x="482" y="542"/>
                  </a:lnTo>
                  <a:lnTo>
                    <a:pt x="482" y="542"/>
                  </a:lnTo>
                  <a:lnTo>
                    <a:pt x="482" y="542"/>
                  </a:lnTo>
                  <a:lnTo>
                    <a:pt x="480" y="540"/>
                  </a:lnTo>
                  <a:lnTo>
                    <a:pt x="480" y="540"/>
                  </a:lnTo>
                  <a:lnTo>
                    <a:pt x="480" y="540"/>
                  </a:lnTo>
                  <a:lnTo>
                    <a:pt x="480" y="540"/>
                  </a:lnTo>
                  <a:close/>
                  <a:moveTo>
                    <a:pt x="558" y="630"/>
                  </a:moveTo>
                  <a:lnTo>
                    <a:pt x="558" y="630"/>
                  </a:lnTo>
                  <a:lnTo>
                    <a:pt x="558" y="630"/>
                  </a:lnTo>
                  <a:lnTo>
                    <a:pt x="558" y="628"/>
                  </a:lnTo>
                  <a:lnTo>
                    <a:pt x="558" y="628"/>
                  </a:lnTo>
                  <a:lnTo>
                    <a:pt x="556" y="626"/>
                  </a:lnTo>
                  <a:lnTo>
                    <a:pt x="554" y="626"/>
                  </a:lnTo>
                  <a:lnTo>
                    <a:pt x="552" y="626"/>
                  </a:lnTo>
                  <a:lnTo>
                    <a:pt x="552" y="626"/>
                  </a:lnTo>
                  <a:lnTo>
                    <a:pt x="550" y="624"/>
                  </a:lnTo>
                  <a:lnTo>
                    <a:pt x="548" y="626"/>
                  </a:lnTo>
                  <a:lnTo>
                    <a:pt x="548" y="626"/>
                  </a:lnTo>
                  <a:lnTo>
                    <a:pt x="548" y="626"/>
                  </a:lnTo>
                  <a:lnTo>
                    <a:pt x="546" y="626"/>
                  </a:lnTo>
                  <a:lnTo>
                    <a:pt x="546" y="626"/>
                  </a:lnTo>
                  <a:lnTo>
                    <a:pt x="546" y="626"/>
                  </a:lnTo>
                  <a:lnTo>
                    <a:pt x="544" y="628"/>
                  </a:lnTo>
                  <a:lnTo>
                    <a:pt x="542" y="628"/>
                  </a:lnTo>
                  <a:lnTo>
                    <a:pt x="538" y="630"/>
                  </a:lnTo>
                  <a:lnTo>
                    <a:pt x="538" y="630"/>
                  </a:lnTo>
                  <a:lnTo>
                    <a:pt x="538" y="632"/>
                  </a:lnTo>
                  <a:lnTo>
                    <a:pt x="536" y="634"/>
                  </a:lnTo>
                  <a:lnTo>
                    <a:pt x="536" y="638"/>
                  </a:lnTo>
                  <a:lnTo>
                    <a:pt x="536" y="638"/>
                  </a:lnTo>
                  <a:lnTo>
                    <a:pt x="536" y="642"/>
                  </a:lnTo>
                  <a:lnTo>
                    <a:pt x="536" y="642"/>
                  </a:lnTo>
                  <a:lnTo>
                    <a:pt x="536" y="642"/>
                  </a:lnTo>
                  <a:lnTo>
                    <a:pt x="536" y="644"/>
                  </a:lnTo>
                  <a:lnTo>
                    <a:pt x="536" y="644"/>
                  </a:lnTo>
                  <a:lnTo>
                    <a:pt x="536" y="646"/>
                  </a:lnTo>
                  <a:lnTo>
                    <a:pt x="538" y="646"/>
                  </a:lnTo>
                  <a:lnTo>
                    <a:pt x="538" y="646"/>
                  </a:lnTo>
                  <a:lnTo>
                    <a:pt x="538" y="648"/>
                  </a:lnTo>
                  <a:lnTo>
                    <a:pt x="542" y="650"/>
                  </a:lnTo>
                  <a:lnTo>
                    <a:pt x="544" y="652"/>
                  </a:lnTo>
                  <a:lnTo>
                    <a:pt x="544" y="652"/>
                  </a:lnTo>
                  <a:lnTo>
                    <a:pt x="544" y="652"/>
                  </a:lnTo>
                  <a:lnTo>
                    <a:pt x="546" y="652"/>
                  </a:lnTo>
                  <a:lnTo>
                    <a:pt x="546" y="652"/>
                  </a:lnTo>
                  <a:lnTo>
                    <a:pt x="548" y="652"/>
                  </a:lnTo>
                  <a:lnTo>
                    <a:pt x="550" y="652"/>
                  </a:lnTo>
                  <a:lnTo>
                    <a:pt x="550" y="652"/>
                  </a:lnTo>
                  <a:lnTo>
                    <a:pt x="550" y="652"/>
                  </a:lnTo>
                  <a:lnTo>
                    <a:pt x="552" y="652"/>
                  </a:lnTo>
                  <a:lnTo>
                    <a:pt x="552" y="652"/>
                  </a:lnTo>
                  <a:lnTo>
                    <a:pt x="554" y="652"/>
                  </a:lnTo>
                  <a:lnTo>
                    <a:pt x="554" y="652"/>
                  </a:lnTo>
                  <a:lnTo>
                    <a:pt x="554" y="652"/>
                  </a:lnTo>
                  <a:lnTo>
                    <a:pt x="556" y="650"/>
                  </a:lnTo>
                  <a:lnTo>
                    <a:pt x="556" y="650"/>
                  </a:lnTo>
                  <a:lnTo>
                    <a:pt x="556" y="650"/>
                  </a:lnTo>
                  <a:lnTo>
                    <a:pt x="556" y="648"/>
                  </a:lnTo>
                  <a:lnTo>
                    <a:pt x="558" y="648"/>
                  </a:lnTo>
                  <a:lnTo>
                    <a:pt x="558" y="648"/>
                  </a:lnTo>
                  <a:lnTo>
                    <a:pt x="558" y="646"/>
                  </a:lnTo>
                  <a:lnTo>
                    <a:pt x="560" y="642"/>
                  </a:lnTo>
                  <a:lnTo>
                    <a:pt x="560" y="642"/>
                  </a:lnTo>
                  <a:lnTo>
                    <a:pt x="560" y="642"/>
                  </a:lnTo>
                  <a:lnTo>
                    <a:pt x="560" y="638"/>
                  </a:lnTo>
                  <a:lnTo>
                    <a:pt x="560" y="638"/>
                  </a:lnTo>
                  <a:lnTo>
                    <a:pt x="560" y="636"/>
                  </a:lnTo>
                  <a:lnTo>
                    <a:pt x="560" y="632"/>
                  </a:lnTo>
                  <a:lnTo>
                    <a:pt x="560" y="632"/>
                  </a:lnTo>
                  <a:lnTo>
                    <a:pt x="560" y="632"/>
                  </a:lnTo>
                  <a:lnTo>
                    <a:pt x="558" y="630"/>
                  </a:lnTo>
                  <a:close/>
                  <a:moveTo>
                    <a:pt x="518" y="482"/>
                  </a:moveTo>
                  <a:lnTo>
                    <a:pt x="520" y="486"/>
                  </a:lnTo>
                  <a:lnTo>
                    <a:pt x="522" y="494"/>
                  </a:lnTo>
                  <a:lnTo>
                    <a:pt x="524" y="504"/>
                  </a:lnTo>
                  <a:lnTo>
                    <a:pt x="526" y="512"/>
                  </a:lnTo>
                  <a:lnTo>
                    <a:pt x="526" y="512"/>
                  </a:lnTo>
                  <a:lnTo>
                    <a:pt x="526" y="514"/>
                  </a:lnTo>
                  <a:lnTo>
                    <a:pt x="528" y="516"/>
                  </a:lnTo>
                  <a:lnTo>
                    <a:pt x="528" y="516"/>
                  </a:lnTo>
                  <a:lnTo>
                    <a:pt x="528" y="516"/>
                  </a:lnTo>
                  <a:lnTo>
                    <a:pt x="530" y="520"/>
                  </a:lnTo>
                  <a:lnTo>
                    <a:pt x="532" y="522"/>
                  </a:lnTo>
                  <a:lnTo>
                    <a:pt x="536" y="526"/>
                  </a:lnTo>
                  <a:lnTo>
                    <a:pt x="536" y="526"/>
                  </a:lnTo>
                  <a:lnTo>
                    <a:pt x="536" y="526"/>
                  </a:lnTo>
                  <a:lnTo>
                    <a:pt x="540" y="528"/>
                  </a:lnTo>
                  <a:lnTo>
                    <a:pt x="544" y="528"/>
                  </a:lnTo>
                  <a:lnTo>
                    <a:pt x="546" y="528"/>
                  </a:lnTo>
                  <a:lnTo>
                    <a:pt x="548" y="528"/>
                  </a:lnTo>
                  <a:lnTo>
                    <a:pt x="550" y="528"/>
                  </a:lnTo>
                  <a:lnTo>
                    <a:pt x="550" y="528"/>
                  </a:lnTo>
                  <a:lnTo>
                    <a:pt x="552" y="528"/>
                  </a:lnTo>
                  <a:lnTo>
                    <a:pt x="554" y="528"/>
                  </a:lnTo>
                  <a:lnTo>
                    <a:pt x="554" y="528"/>
                  </a:lnTo>
                  <a:lnTo>
                    <a:pt x="556" y="524"/>
                  </a:lnTo>
                  <a:lnTo>
                    <a:pt x="556" y="520"/>
                  </a:lnTo>
                  <a:lnTo>
                    <a:pt x="554" y="516"/>
                  </a:lnTo>
                  <a:lnTo>
                    <a:pt x="554" y="514"/>
                  </a:lnTo>
                  <a:lnTo>
                    <a:pt x="554" y="512"/>
                  </a:lnTo>
                  <a:lnTo>
                    <a:pt x="552" y="508"/>
                  </a:lnTo>
                  <a:lnTo>
                    <a:pt x="550" y="506"/>
                  </a:lnTo>
                  <a:lnTo>
                    <a:pt x="550" y="502"/>
                  </a:lnTo>
                  <a:lnTo>
                    <a:pt x="550" y="502"/>
                  </a:lnTo>
                  <a:lnTo>
                    <a:pt x="548" y="502"/>
                  </a:lnTo>
                  <a:lnTo>
                    <a:pt x="546" y="500"/>
                  </a:lnTo>
                  <a:lnTo>
                    <a:pt x="546" y="500"/>
                  </a:lnTo>
                  <a:lnTo>
                    <a:pt x="546" y="500"/>
                  </a:lnTo>
                  <a:lnTo>
                    <a:pt x="544" y="500"/>
                  </a:lnTo>
                  <a:lnTo>
                    <a:pt x="544" y="500"/>
                  </a:lnTo>
                  <a:lnTo>
                    <a:pt x="544" y="500"/>
                  </a:lnTo>
                  <a:lnTo>
                    <a:pt x="540" y="500"/>
                  </a:lnTo>
                  <a:lnTo>
                    <a:pt x="536" y="500"/>
                  </a:lnTo>
                  <a:lnTo>
                    <a:pt x="536" y="500"/>
                  </a:lnTo>
                  <a:lnTo>
                    <a:pt x="536" y="500"/>
                  </a:lnTo>
                  <a:lnTo>
                    <a:pt x="534" y="500"/>
                  </a:lnTo>
                  <a:lnTo>
                    <a:pt x="534" y="500"/>
                  </a:lnTo>
                  <a:lnTo>
                    <a:pt x="534" y="500"/>
                  </a:lnTo>
                  <a:lnTo>
                    <a:pt x="534" y="500"/>
                  </a:lnTo>
                  <a:lnTo>
                    <a:pt x="534" y="498"/>
                  </a:lnTo>
                  <a:lnTo>
                    <a:pt x="534" y="496"/>
                  </a:lnTo>
                  <a:lnTo>
                    <a:pt x="534" y="496"/>
                  </a:lnTo>
                  <a:lnTo>
                    <a:pt x="536" y="496"/>
                  </a:lnTo>
                  <a:lnTo>
                    <a:pt x="536" y="494"/>
                  </a:lnTo>
                  <a:lnTo>
                    <a:pt x="536" y="492"/>
                  </a:lnTo>
                  <a:lnTo>
                    <a:pt x="536" y="492"/>
                  </a:lnTo>
                  <a:lnTo>
                    <a:pt x="534" y="490"/>
                  </a:lnTo>
                  <a:lnTo>
                    <a:pt x="534" y="488"/>
                  </a:lnTo>
                  <a:lnTo>
                    <a:pt x="534" y="488"/>
                  </a:lnTo>
                  <a:lnTo>
                    <a:pt x="534" y="486"/>
                  </a:lnTo>
                  <a:lnTo>
                    <a:pt x="530" y="484"/>
                  </a:lnTo>
                  <a:lnTo>
                    <a:pt x="528" y="480"/>
                  </a:lnTo>
                  <a:lnTo>
                    <a:pt x="524" y="478"/>
                  </a:lnTo>
                  <a:lnTo>
                    <a:pt x="524" y="478"/>
                  </a:lnTo>
                  <a:lnTo>
                    <a:pt x="524" y="478"/>
                  </a:lnTo>
                  <a:lnTo>
                    <a:pt x="520" y="476"/>
                  </a:lnTo>
                  <a:lnTo>
                    <a:pt x="520" y="476"/>
                  </a:lnTo>
                  <a:lnTo>
                    <a:pt x="518" y="476"/>
                  </a:lnTo>
                  <a:lnTo>
                    <a:pt x="518" y="476"/>
                  </a:lnTo>
                  <a:lnTo>
                    <a:pt x="516" y="478"/>
                  </a:lnTo>
                  <a:lnTo>
                    <a:pt x="518" y="482"/>
                  </a:lnTo>
                  <a:close/>
                  <a:moveTo>
                    <a:pt x="530" y="388"/>
                  </a:moveTo>
                  <a:lnTo>
                    <a:pt x="530" y="388"/>
                  </a:lnTo>
                  <a:lnTo>
                    <a:pt x="530" y="390"/>
                  </a:lnTo>
                  <a:lnTo>
                    <a:pt x="530" y="392"/>
                  </a:lnTo>
                  <a:lnTo>
                    <a:pt x="530" y="392"/>
                  </a:lnTo>
                  <a:lnTo>
                    <a:pt x="532" y="392"/>
                  </a:lnTo>
                  <a:lnTo>
                    <a:pt x="532" y="394"/>
                  </a:lnTo>
                  <a:lnTo>
                    <a:pt x="532" y="394"/>
                  </a:lnTo>
                  <a:lnTo>
                    <a:pt x="532" y="394"/>
                  </a:lnTo>
                  <a:lnTo>
                    <a:pt x="534" y="396"/>
                  </a:lnTo>
                  <a:lnTo>
                    <a:pt x="534" y="396"/>
                  </a:lnTo>
                  <a:lnTo>
                    <a:pt x="534" y="396"/>
                  </a:lnTo>
                  <a:lnTo>
                    <a:pt x="536" y="396"/>
                  </a:lnTo>
                  <a:lnTo>
                    <a:pt x="536" y="396"/>
                  </a:lnTo>
                  <a:lnTo>
                    <a:pt x="536" y="396"/>
                  </a:lnTo>
                  <a:lnTo>
                    <a:pt x="538" y="396"/>
                  </a:lnTo>
                  <a:lnTo>
                    <a:pt x="538" y="396"/>
                  </a:lnTo>
                  <a:lnTo>
                    <a:pt x="538" y="396"/>
                  </a:lnTo>
                  <a:lnTo>
                    <a:pt x="540" y="396"/>
                  </a:lnTo>
                  <a:lnTo>
                    <a:pt x="542" y="396"/>
                  </a:lnTo>
                  <a:lnTo>
                    <a:pt x="542" y="396"/>
                  </a:lnTo>
                  <a:lnTo>
                    <a:pt x="540" y="400"/>
                  </a:lnTo>
                  <a:lnTo>
                    <a:pt x="540" y="400"/>
                  </a:lnTo>
                  <a:lnTo>
                    <a:pt x="540" y="400"/>
                  </a:lnTo>
                  <a:lnTo>
                    <a:pt x="538" y="400"/>
                  </a:lnTo>
                  <a:lnTo>
                    <a:pt x="538" y="400"/>
                  </a:lnTo>
                  <a:lnTo>
                    <a:pt x="538" y="400"/>
                  </a:lnTo>
                  <a:lnTo>
                    <a:pt x="536" y="400"/>
                  </a:lnTo>
                  <a:lnTo>
                    <a:pt x="536" y="400"/>
                  </a:lnTo>
                  <a:lnTo>
                    <a:pt x="534" y="402"/>
                  </a:lnTo>
                  <a:lnTo>
                    <a:pt x="534" y="402"/>
                  </a:lnTo>
                  <a:lnTo>
                    <a:pt x="536" y="406"/>
                  </a:lnTo>
                  <a:lnTo>
                    <a:pt x="540" y="406"/>
                  </a:lnTo>
                  <a:lnTo>
                    <a:pt x="540" y="406"/>
                  </a:lnTo>
                  <a:lnTo>
                    <a:pt x="540" y="406"/>
                  </a:lnTo>
                  <a:lnTo>
                    <a:pt x="544" y="408"/>
                  </a:lnTo>
                  <a:lnTo>
                    <a:pt x="546" y="408"/>
                  </a:lnTo>
                  <a:lnTo>
                    <a:pt x="546" y="408"/>
                  </a:lnTo>
                  <a:lnTo>
                    <a:pt x="548" y="408"/>
                  </a:lnTo>
                  <a:lnTo>
                    <a:pt x="548" y="408"/>
                  </a:lnTo>
                  <a:lnTo>
                    <a:pt x="548" y="410"/>
                  </a:lnTo>
                  <a:lnTo>
                    <a:pt x="546" y="412"/>
                  </a:lnTo>
                  <a:lnTo>
                    <a:pt x="546" y="414"/>
                  </a:lnTo>
                  <a:lnTo>
                    <a:pt x="544" y="416"/>
                  </a:lnTo>
                  <a:lnTo>
                    <a:pt x="544" y="418"/>
                  </a:lnTo>
                  <a:lnTo>
                    <a:pt x="542" y="420"/>
                  </a:lnTo>
                  <a:lnTo>
                    <a:pt x="540" y="420"/>
                  </a:lnTo>
                  <a:lnTo>
                    <a:pt x="540" y="420"/>
                  </a:lnTo>
                  <a:lnTo>
                    <a:pt x="540" y="422"/>
                  </a:lnTo>
                  <a:lnTo>
                    <a:pt x="538" y="426"/>
                  </a:lnTo>
                  <a:lnTo>
                    <a:pt x="536" y="428"/>
                  </a:lnTo>
                  <a:lnTo>
                    <a:pt x="536" y="428"/>
                  </a:lnTo>
                  <a:lnTo>
                    <a:pt x="536" y="430"/>
                  </a:lnTo>
                  <a:lnTo>
                    <a:pt x="534" y="432"/>
                  </a:lnTo>
                  <a:lnTo>
                    <a:pt x="534" y="432"/>
                  </a:lnTo>
                  <a:lnTo>
                    <a:pt x="534" y="432"/>
                  </a:lnTo>
                  <a:lnTo>
                    <a:pt x="534" y="434"/>
                  </a:lnTo>
                  <a:lnTo>
                    <a:pt x="534" y="434"/>
                  </a:lnTo>
                  <a:lnTo>
                    <a:pt x="534" y="436"/>
                  </a:lnTo>
                  <a:lnTo>
                    <a:pt x="534" y="438"/>
                  </a:lnTo>
                  <a:lnTo>
                    <a:pt x="534" y="438"/>
                  </a:lnTo>
                  <a:lnTo>
                    <a:pt x="536" y="438"/>
                  </a:lnTo>
                  <a:lnTo>
                    <a:pt x="536" y="440"/>
                  </a:lnTo>
                  <a:lnTo>
                    <a:pt x="536" y="440"/>
                  </a:lnTo>
                  <a:lnTo>
                    <a:pt x="536" y="440"/>
                  </a:lnTo>
                  <a:lnTo>
                    <a:pt x="538" y="442"/>
                  </a:lnTo>
                  <a:lnTo>
                    <a:pt x="538" y="442"/>
                  </a:lnTo>
                  <a:lnTo>
                    <a:pt x="538" y="444"/>
                  </a:lnTo>
                  <a:lnTo>
                    <a:pt x="540" y="444"/>
                  </a:lnTo>
                  <a:lnTo>
                    <a:pt x="540" y="444"/>
                  </a:lnTo>
                  <a:lnTo>
                    <a:pt x="540" y="444"/>
                  </a:lnTo>
                  <a:lnTo>
                    <a:pt x="544" y="446"/>
                  </a:lnTo>
                  <a:lnTo>
                    <a:pt x="544" y="446"/>
                  </a:lnTo>
                  <a:lnTo>
                    <a:pt x="546" y="446"/>
                  </a:lnTo>
                  <a:lnTo>
                    <a:pt x="550" y="448"/>
                  </a:lnTo>
                  <a:lnTo>
                    <a:pt x="556" y="450"/>
                  </a:lnTo>
                  <a:lnTo>
                    <a:pt x="560" y="450"/>
                  </a:lnTo>
                  <a:lnTo>
                    <a:pt x="560" y="452"/>
                  </a:lnTo>
                  <a:lnTo>
                    <a:pt x="560" y="452"/>
                  </a:lnTo>
                  <a:lnTo>
                    <a:pt x="562" y="452"/>
                  </a:lnTo>
                  <a:lnTo>
                    <a:pt x="564" y="454"/>
                  </a:lnTo>
                  <a:lnTo>
                    <a:pt x="564" y="454"/>
                  </a:lnTo>
                  <a:lnTo>
                    <a:pt x="566" y="456"/>
                  </a:lnTo>
                  <a:lnTo>
                    <a:pt x="568" y="456"/>
                  </a:lnTo>
                  <a:lnTo>
                    <a:pt x="568" y="456"/>
                  </a:lnTo>
                  <a:lnTo>
                    <a:pt x="568" y="456"/>
                  </a:lnTo>
                  <a:lnTo>
                    <a:pt x="572" y="458"/>
                  </a:lnTo>
                  <a:lnTo>
                    <a:pt x="578" y="458"/>
                  </a:lnTo>
                  <a:lnTo>
                    <a:pt x="582" y="458"/>
                  </a:lnTo>
                  <a:lnTo>
                    <a:pt x="586" y="458"/>
                  </a:lnTo>
                  <a:lnTo>
                    <a:pt x="588" y="458"/>
                  </a:lnTo>
                  <a:lnTo>
                    <a:pt x="590" y="460"/>
                  </a:lnTo>
                  <a:lnTo>
                    <a:pt x="592" y="462"/>
                  </a:lnTo>
                  <a:lnTo>
                    <a:pt x="592" y="464"/>
                  </a:lnTo>
                  <a:lnTo>
                    <a:pt x="592" y="466"/>
                  </a:lnTo>
                  <a:lnTo>
                    <a:pt x="592" y="466"/>
                  </a:lnTo>
                  <a:lnTo>
                    <a:pt x="592" y="468"/>
                  </a:lnTo>
                  <a:lnTo>
                    <a:pt x="590" y="468"/>
                  </a:lnTo>
                  <a:lnTo>
                    <a:pt x="590" y="468"/>
                  </a:lnTo>
                  <a:lnTo>
                    <a:pt x="586" y="470"/>
                  </a:lnTo>
                  <a:lnTo>
                    <a:pt x="582" y="470"/>
                  </a:lnTo>
                  <a:lnTo>
                    <a:pt x="578" y="472"/>
                  </a:lnTo>
                  <a:lnTo>
                    <a:pt x="572" y="472"/>
                  </a:lnTo>
                  <a:lnTo>
                    <a:pt x="572" y="472"/>
                  </a:lnTo>
                  <a:lnTo>
                    <a:pt x="570" y="472"/>
                  </a:lnTo>
                  <a:lnTo>
                    <a:pt x="570" y="472"/>
                  </a:lnTo>
                  <a:lnTo>
                    <a:pt x="570" y="476"/>
                  </a:lnTo>
                  <a:lnTo>
                    <a:pt x="570" y="478"/>
                  </a:lnTo>
                  <a:lnTo>
                    <a:pt x="570" y="478"/>
                  </a:lnTo>
                  <a:lnTo>
                    <a:pt x="570" y="478"/>
                  </a:lnTo>
                  <a:lnTo>
                    <a:pt x="572" y="480"/>
                  </a:lnTo>
                  <a:lnTo>
                    <a:pt x="572" y="480"/>
                  </a:lnTo>
                  <a:lnTo>
                    <a:pt x="572" y="482"/>
                  </a:lnTo>
                  <a:lnTo>
                    <a:pt x="574" y="482"/>
                  </a:lnTo>
                  <a:lnTo>
                    <a:pt x="574" y="482"/>
                  </a:lnTo>
                  <a:lnTo>
                    <a:pt x="574" y="484"/>
                  </a:lnTo>
                  <a:lnTo>
                    <a:pt x="576" y="484"/>
                  </a:lnTo>
                  <a:lnTo>
                    <a:pt x="576" y="484"/>
                  </a:lnTo>
                  <a:lnTo>
                    <a:pt x="576" y="484"/>
                  </a:lnTo>
                  <a:lnTo>
                    <a:pt x="578" y="486"/>
                  </a:lnTo>
                  <a:lnTo>
                    <a:pt x="578" y="486"/>
                  </a:lnTo>
                  <a:lnTo>
                    <a:pt x="578" y="486"/>
                  </a:lnTo>
                  <a:lnTo>
                    <a:pt x="582" y="486"/>
                  </a:lnTo>
                  <a:lnTo>
                    <a:pt x="584" y="486"/>
                  </a:lnTo>
                  <a:lnTo>
                    <a:pt x="586" y="486"/>
                  </a:lnTo>
                  <a:lnTo>
                    <a:pt x="590" y="488"/>
                  </a:lnTo>
                  <a:lnTo>
                    <a:pt x="590" y="488"/>
                  </a:lnTo>
                  <a:lnTo>
                    <a:pt x="590" y="488"/>
                  </a:lnTo>
                  <a:lnTo>
                    <a:pt x="594" y="488"/>
                  </a:lnTo>
                  <a:lnTo>
                    <a:pt x="594" y="488"/>
                  </a:lnTo>
                  <a:lnTo>
                    <a:pt x="596" y="488"/>
                  </a:lnTo>
                  <a:lnTo>
                    <a:pt x="598" y="488"/>
                  </a:lnTo>
                  <a:lnTo>
                    <a:pt x="604" y="486"/>
                  </a:lnTo>
                  <a:lnTo>
                    <a:pt x="612" y="484"/>
                  </a:lnTo>
                  <a:lnTo>
                    <a:pt x="616" y="482"/>
                  </a:lnTo>
                  <a:lnTo>
                    <a:pt x="620" y="482"/>
                  </a:lnTo>
                  <a:lnTo>
                    <a:pt x="620" y="482"/>
                  </a:lnTo>
                  <a:lnTo>
                    <a:pt x="620" y="482"/>
                  </a:lnTo>
                  <a:lnTo>
                    <a:pt x="622" y="480"/>
                  </a:lnTo>
                  <a:lnTo>
                    <a:pt x="624" y="478"/>
                  </a:lnTo>
                  <a:lnTo>
                    <a:pt x="624" y="478"/>
                  </a:lnTo>
                  <a:lnTo>
                    <a:pt x="626" y="478"/>
                  </a:lnTo>
                  <a:lnTo>
                    <a:pt x="626" y="478"/>
                  </a:lnTo>
                  <a:lnTo>
                    <a:pt x="626" y="476"/>
                  </a:lnTo>
                  <a:lnTo>
                    <a:pt x="626" y="476"/>
                  </a:lnTo>
                  <a:lnTo>
                    <a:pt x="628" y="472"/>
                  </a:lnTo>
                  <a:lnTo>
                    <a:pt x="628" y="470"/>
                  </a:lnTo>
                  <a:lnTo>
                    <a:pt x="630" y="468"/>
                  </a:lnTo>
                  <a:lnTo>
                    <a:pt x="630" y="468"/>
                  </a:lnTo>
                  <a:lnTo>
                    <a:pt x="630" y="468"/>
                  </a:lnTo>
                  <a:lnTo>
                    <a:pt x="628" y="462"/>
                  </a:lnTo>
                  <a:lnTo>
                    <a:pt x="628" y="458"/>
                  </a:lnTo>
                  <a:lnTo>
                    <a:pt x="628" y="454"/>
                  </a:lnTo>
                  <a:lnTo>
                    <a:pt x="628" y="450"/>
                  </a:lnTo>
                  <a:lnTo>
                    <a:pt x="628" y="450"/>
                  </a:lnTo>
                  <a:lnTo>
                    <a:pt x="628" y="450"/>
                  </a:lnTo>
                  <a:lnTo>
                    <a:pt x="626" y="448"/>
                  </a:lnTo>
                  <a:lnTo>
                    <a:pt x="626" y="448"/>
                  </a:lnTo>
                  <a:lnTo>
                    <a:pt x="626" y="448"/>
                  </a:lnTo>
                  <a:lnTo>
                    <a:pt x="626" y="444"/>
                  </a:lnTo>
                  <a:lnTo>
                    <a:pt x="626" y="444"/>
                  </a:lnTo>
                  <a:lnTo>
                    <a:pt x="626" y="444"/>
                  </a:lnTo>
                  <a:lnTo>
                    <a:pt x="622" y="442"/>
                  </a:lnTo>
                  <a:lnTo>
                    <a:pt x="620" y="440"/>
                  </a:lnTo>
                  <a:lnTo>
                    <a:pt x="620" y="436"/>
                  </a:lnTo>
                  <a:lnTo>
                    <a:pt x="620" y="430"/>
                  </a:lnTo>
                  <a:lnTo>
                    <a:pt x="620" y="424"/>
                  </a:lnTo>
                  <a:lnTo>
                    <a:pt x="620" y="420"/>
                  </a:lnTo>
                  <a:lnTo>
                    <a:pt x="620" y="420"/>
                  </a:lnTo>
                  <a:lnTo>
                    <a:pt x="620" y="418"/>
                  </a:lnTo>
                  <a:lnTo>
                    <a:pt x="618" y="414"/>
                  </a:lnTo>
                  <a:lnTo>
                    <a:pt x="618" y="414"/>
                  </a:lnTo>
                  <a:lnTo>
                    <a:pt x="618" y="414"/>
                  </a:lnTo>
                  <a:lnTo>
                    <a:pt x="616" y="410"/>
                  </a:lnTo>
                  <a:lnTo>
                    <a:pt x="616" y="410"/>
                  </a:lnTo>
                  <a:lnTo>
                    <a:pt x="614" y="408"/>
                  </a:lnTo>
                  <a:lnTo>
                    <a:pt x="614" y="406"/>
                  </a:lnTo>
                  <a:lnTo>
                    <a:pt x="614" y="406"/>
                  </a:lnTo>
                  <a:lnTo>
                    <a:pt x="612" y="406"/>
                  </a:lnTo>
                  <a:lnTo>
                    <a:pt x="610" y="406"/>
                  </a:lnTo>
                  <a:lnTo>
                    <a:pt x="610" y="406"/>
                  </a:lnTo>
                  <a:lnTo>
                    <a:pt x="610" y="404"/>
                  </a:lnTo>
                  <a:lnTo>
                    <a:pt x="608" y="404"/>
                  </a:lnTo>
                  <a:lnTo>
                    <a:pt x="608" y="404"/>
                  </a:lnTo>
                  <a:lnTo>
                    <a:pt x="608" y="404"/>
                  </a:lnTo>
                  <a:lnTo>
                    <a:pt x="604" y="402"/>
                  </a:lnTo>
                  <a:lnTo>
                    <a:pt x="604" y="402"/>
                  </a:lnTo>
                  <a:lnTo>
                    <a:pt x="604" y="402"/>
                  </a:lnTo>
                  <a:lnTo>
                    <a:pt x="602" y="404"/>
                  </a:lnTo>
                  <a:lnTo>
                    <a:pt x="600" y="402"/>
                  </a:lnTo>
                  <a:lnTo>
                    <a:pt x="600" y="402"/>
                  </a:lnTo>
                  <a:lnTo>
                    <a:pt x="598" y="402"/>
                  </a:lnTo>
                  <a:lnTo>
                    <a:pt x="598" y="400"/>
                  </a:lnTo>
                  <a:lnTo>
                    <a:pt x="598" y="400"/>
                  </a:lnTo>
                  <a:lnTo>
                    <a:pt x="598" y="396"/>
                  </a:lnTo>
                  <a:lnTo>
                    <a:pt x="598" y="394"/>
                  </a:lnTo>
                  <a:lnTo>
                    <a:pt x="598" y="390"/>
                  </a:lnTo>
                  <a:lnTo>
                    <a:pt x="598" y="390"/>
                  </a:lnTo>
                  <a:lnTo>
                    <a:pt x="598" y="388"/>
                  </a:lnTo>
                  <a:lnTo>
                    <a:pt x="598" y="386"/>
                  </a:lnTo>
                  <a:lnTo>
                    <a:pt x="598" y="386"/>
                  </a:lnTo>
                  <a:lnTo>
                    <a:pt x="596" y="384"/>
                  </a:lnTo>
                  <a:lnTo>
                    <a:pt x="594" y="384"/>
                  </a:lnTo>
                  <a:lnTo>
                    <a:pt x="590" y="384"/>
                  </a:lnTo>
                  <a:lnTo>
                    <a:pt x="586" y="384"/>
                  </a:lnTo>
                  <a:lnTo>
                    <a:pt x="584" y="386"/>
                  </a:lnTo>
                  <a:lnTo>
                    <a:pt x="582" y="386"/>
                  </a:lnTo>
                  <a:lnTo>
                    <a:pt x="580" y="388"/>
                  </a:lnTo>
                  <a:lnTo>
                    <a:pt x="578" y="388"/>
                  </a:lnTo>
                  <a:lnTo>
                    <a:pt x="576" y="390"/>
                  </a:lnTo>
                  <a:lnTo>
                    <a:pt x="576" y="386"/>
                  </a:lnTo>
                  <a:lnTo>
                    <a:pt x="576" y="382"/>
                  </a:lnTo>
                  <a:lnTo>
                    <a:pt x="574" y="380"/>
                  </a:lnTo>
                  <a:lnTo>
                    <a:pt x="574" y="380"/>
                  </a:lnTo>
                  <a:lnTo>
                    <a:pt x="574" y="378"/>
                  </a:lnTo>
                  <a:lnTo>
                    <a:pt x="574" y="376"/>
                  </a:lnTo>
                  <a:lnTo>
                    <a:pt x="574" y="376"/>
                  </a:lnTo>
                  <a:lnTo>
                    <a:pt x="574" y="374"/>
                  </a:lnTo>
                  <a:lnTo>
                    <a:pt x="570" y="372"/>
                  </a:lnTo>
                  <a:lnTo>
                    <a:pt x="570" y="372"/>
                  </a:lnTo>
                  <a:lnTo>
                    <a:pt x="570" y="372"/>
                  </a:lnTo>
                  <a:lnTo>
                    <a:pt x="568" y="370"/>
                  </a:lnTo>
                  <a:lnTo>
                    <a:pt x="568" y="370"/>
                  </a:lnTo>
                  <a:lnTo>
                    <a:pt x="566" y="370"/>
                  </a:lnTo>
                  <a:lnTo>
                    <a:pt x="564" y="368"/>
                  </a:lnTo>
                  <a:lnTo>
                    <a:pt x="560" y="366"/>
                  </a:lnTo>
                  <a:lnTo>
                    <a:pt x="558" y="362"/>
                  </a:lnTo>
                  <a:lnTo>
                    <a:pt x="554" y="360"/>
                  </a:lnTo>
                  <a:lnTo>
                    <a:pt x="552" y="358"/>
                  </a:lnTo>
                  <a:lnTo>
                    <a:pt x="552" y="358"/>
                  </a:lnTo>
                  <a:lnTo>
                    <a:pt x="550" y="356"/>
                  </a:lnTo>
                  <a:lnTo>
                    <a:pt x="546" y="358"/>
                  </a:lnTo>
                  <a:lnTo>
                    <a:pt x="544" y="358"/>
                  </a:lnTo>
                  <a:lnTo>
                    <a:pt x="538" y="360"/>
                  </a:lnTo>
                  <a:lnTo>
                    <a:pt x="534" y="362"/>
                  </a:lnTo>
                  <a:lnTo>
                    <a:pt x="532" y="362"/>
                  </a:lnTo>
                  <a:lnTo>
                    <a:pt x="532" y="362"/>
                  </a:lnTo>
                  <a:lnTo>
                    <a:pt x="532" y="362"/>
                  </a:lnTo>
                  <a:lnTo>
                    <a:pt x="530" y="364"/>
                  </a:lnTo>
                  <a:lnTo>
                    <a:pt x="528" y="366"/>
                  </a:lnTo>
                  <a:lnTo>
                    <a:pt x="528" y="370"/>
                  </a:lnTo>
                  <a:lnTo>
                    <a:pt x="528" y="372"/>
                  </a:lnTo>
                  <a:lnTo>
                    <a:pt x="528" y="378"/>
                  </a:lnTo>
                  <a:lnTo>
                    <a:pt x="528" y="382"/>
                  </a:lnTo>
                  <a:lnTo>
                    <a:pt x="528" y="386"/>
                  </a:lnTo>
                  <a:lnTo>
                    <a:pt x="530" y="388"/>
                  </a:lnTo>
                  <a:close/>
                  <a:moveTo>
                    <a:pt x="610" y="308"/>
                  </a:moveTo>
                  <a:lnTo>
                    <a:pt x="610" y="312"/>
                  </a:lnTo>
                  <a:lnTo>
                    <a:pt x="610" y="316"/>
                  </a:lnTo>
                  <a:lnTo>
                    <a:pt x="612" y="318"/>
                  </a:lnTo>
                  <a:lnTo>
                    <a:pt x="612" y="320"/>
                  </a:lnTo>
                  <a:lnTo>
                    <a:pt x="612" y="320"/>
                  </a:lnTo>
                  <a:lnTo>
                    <a:pt x="612" y="320"/>
                  </a:lnTo>
                  <a:lnTo>
                    <a:pt x="614" y="324"/>
                  </a:lnTo>
                  <a:lnTo>
                    <a:pt x="614" y="324"/>
                  </a:lnTo>
                  <a:lnTo>
                    <a:pt x="614" y="324"/>
                  </a:lnTo>
                  <a:lnTo>
                    <a:pt x="616" y="328"/>
                  </a:lnTo>
                  <a:lnTo>
                    <a:pt x="616" y="328"/>
                  </a:lnTo>
                  <a:lnTo>
                    <a:pt x="616" y="328"/>
                  </a:lnTo>
                  <a:lnTo>
                    <a:pt x="620" y="330"/>
                  </a:lnTo>
                  <a:lnTo>
                    <a:pt x="622" y="332"/>
                  </a:lnTo>
                  <a:lnTo>
                    <a:pt x="624" y="332"/>
                  </a:lnTo>
                  <a:lnTo>
                    <a:pt x="628" y="334"/>
                  </a:lnTo>
                  <a:lnTo>
                    <a:pt x="630" y="336"/>
                  </a:lnTo>
                  <a:lnTo>
                    <a:pt x="630" y="336"/>
                  </a:lnTo>
                  <a:lnTo>
                    <a:pt x="634" y="336"/>
                  </a:lnTo>
                  <a:lnTo>
                    <a:pt x="634" y="336"/>
                  </a:lnTo>
                  <a:lnTo>
                    <a:pt x="636" y="334"/>
                  </a:lnTo>
                  <a:lnTo>
                    <a:pt x="636" y="326"/>
                  </a:lnTo>
                  <a:lnTo>
                    <a:pt x="636" y="320"/>
                  </a:lnTo>
                  <a:lnTo>
                    <a:pt x="634" y="314"/>
                  </a:lnTo>
                  <a:lnTo>
                    <a:pt x="634" y="314"/>
                  </a:lnTo>
                  <a:lnTo>
                    <a:pt x="634" y="314"/>
                  </a:lnTo>
                  <a:lnTo>
                    <a:pt x="634" y="308"/>
                  </a:lnTo>
                  <a:lnTo>
                    <a:pt x="634" y="308"/>
                  </a:lnTo>
                  <a:lnTo>
                    <a:pt x="634" y="308"/>
                  </a:lnTo>
                  <a:lnTo>
                    <a:pt x="630" y="304"/>
                  </a:lnTo>
                  <a:lnTo>
                    <a:pt x="630" y="304"/>
                  </a:lnTo>
                  <a:lnTo>
                    <a:pt x="630" y="302"/>
                  </a:lnTo>
                  <a:lnTo>
                    <a:pt x="628" y="302"/>
                  </a:lnTo>
                  <a:lnTo>
                    <a:pt x="628" y="302"/>
                  </a:lnTo>
                  <a:lnTo>
                    <a:pt x="628" y="300"/>
                  </a:lnTo>
                  <a:lnTo>
                    <a:pt x="626" y="300"/>
                  </a:lnTo>
                  <a:lnTo>
                    <a:pt x="626" y="300"/>
                  </a:lnTo>
                  <a:lnTo>
                    <a:pt x="626" y="300"/>
                  </a:lnTo>
                  <a:lnTo>
                    <a:pt x="624" y="298"/>
                  </a:lnTo>
                  <a:lnTo>
                    <a:pt x="624" y="298"/>
                  </a:lnTo>
                  <a:lnTo>
                    <a:pt x="622" y="298"/>
                  </a:lnTo>
                  <a:lnTo>
                    <a:pt x="620" y="298"/>
                  </a:lnTo>
                  <a:lnTo>
                    <a:pt x="616" y="296"/>
                  </a:lnTo>
                  <a:lnTo>
                    <a:pt x="612" y="296"/>
                  </a:lnTo>
                  <a:lnTo>
                    <a:pt x="612" y="296"/>
                  </a:lnTo>
                  <a:lnTo>
                    <a:pt x="610" y="298"/>
                  </a:lnTo>
                  <a:lnTo>
                    <a:pt x="610" y="298"/>
                  </a:lnTo>
                  <a:lnTo>
                    <a:pt x="610" y="300"/>
                  </a:lnTo>
                  <a:lnTo>
                    <a:pt x="610" y="304"/>
                  </a:lnTo>
                  <a:lnTo>
                    <a:pt x="610" y="308"/>
                  </a:lnTo>
                  <a:close/>
                  <a:moveTo>
                    <a:pt x="638" y="342"/>
                  </a:moveTo>
                  <a:lnTo>
                    <a:pt x="642" y="344"/>
                  </a:lnTo>
                  <a:lnTo>
                    <a:pt x="646" y="344"/>
                  </a:lnTo>
                  <a:lnTo>
                    <a:pt x="650" y="346"/>
                  </a:lnTo>
                  <a:lnTo>
                    <a:pt x="652" y="346"/>
                  </a:lnTo>
                  <a:lnTo>
                    <a:pt x="652" y="346"/>
                  </a:lnTo>
                  <a:lnTo>
                    <a:pt x="654" y="346"/>
                  </a:lnTo>
                  <a:lnTo>
                    <a:pt x="654" y="346"/>
                  </a:lnTo>
                  <a:lnTo>
                    <a:pt x="656" y="344"/>
                  </a:lnTo>
                  <a:lnTo>
                    <a:pt x="656" y="344"/>
                  </a:lnTo>
                  <a:lnTo>
                    <a:pt x="656" y="344"/>
                  </a:lnTo>
                  <a:lnTo>
                    <a:pt x="654" y="340"/>
                  </a:lnTo>
                  <a:lnTo>
                    <a:pt x="654" y="340"/>
                  </a:lnTo>
                  <a:lnTo>
                    <a:pt x="654" y="340"/>
                  </a:lnTo>
                  <a:lnTo>
                    <a:pt x="654" y="340"/>
                  </a:lnTo>
                  <a:lnTo>
                    <a:pt x="652" y="338"/>
                  </a:lnTo>
                  <a:lnTo>
                    <a:pt x="650" y="338"/>
                  </a:lnTo>
                  <a:lnTo>
                    <a:pt x="648" y="338"/>
                  </a:lnTo>
                  <a:lnTo>
                    <a:pt x="644" y="338"/>
                  </a:lnTo>
                  <a:lnTo>
                    <a:pt x="640" y="336"/>
                  </a:lnTo>
                  <a:lnTo>
                    <a:pt x="640" y="336"/>
                  </a:lnTo>
                  <a:lnTo>
                    <a:pt x="638" y="338"/>
                  </a:lnTo>
                  <a:lnTo>
                    <a:pt x="636" y="338"/>
                  </a:lnTo>
                  <a:lnTo>
                    <a:pt x="636" y="338"/>
                  </a:lnTo>
                  <a:lnTo>
                    <a:pt x="636" y="340"/>
                  </a:lnTo>
                  <a:lnTo>
                    <a:pt x="638" y="342"/>
                  </a:lnTo>
                  <a:lnTo>
                    <a:pt x="638" y="342"/>
                  </a:lnTo>
                  <a:close/>
                  <a:moveTo>
                    <a:pt x="654" y="358"/>
                  </a:moveTo>
                  <a:lnTo>
                    <a:pt x="654" y="358"/>
                  </a:lnTo>
                  <a:lnTo>
                    <a:pt x="652" y="356"/>
                  </a:lnTo>
                  <a:lnTo>
                    <a:pt x="650" y="356"/>
                  </a:lnTo>
                  <a:lnTo>
                    <a:pt x="650" y="356"/>
                  </a:lnTo>
                  <a:lnTo>
                    <a:pt x="650" y="356"/>
                  </a:lnTo>
                  <a:lnTo>
                    <a:pt x="648" y="356"/>
                  </a:lnTo>
                  <a:lnTo>
                    <a:pt x="648" y="356"/>
                  </a:lnTo>
                  <a:lnTo>
                    <a:pt x="646" y="356"/>
                  </a:lnTo>
                  <a:lnTo>
                    <a:pt x="642" y="356"/>
                  </a:lnTo>
                  <a:lnTo>
                    <a:pt x="642" y="356"/>
                  </a:lnTo>
                  <a:lnTo>
                    <a:pt x="640" y="358"/>
                  </a:lnTo>
                  <a:lnTo>
                    <a:pt x="640" y="358"/>
                  </a:lnTo>
                  <a:lnTo>
                    <a:pt x="640" y="360"/>
                  </a:lnTo>
                  <a:lnTo>
                    <a:pt x="640" y="360"/>
                  </a:lnTo>
                  <a:lnTo>
                    <a:pt x="640" y="360"/>
                  </a:lnTo>
                  <a:lnTo>
                    <a:pt x="642" y="362"/>
                  </a:lnTo>
                  <a:lnTo>
                    <a:pt x="644" y="362"/>
                  </a:lnTo>
                  <a:lnTo>
                    <a:pt x="644" y="362"/>
                  </a:lnTo>
                  <a:lnTo>
                    <a:pt x="644" y="364"/>
                  </a:lnTo>
                  <a:lnTo>
                    <a:pt x="646" y="364"/>
                  </a:lnTo>
                  <a:lnTo>
                    <a:pt x="646" y="364"/>
                  </a:lnTo>
                  <a:lnTo>
                    <a:pt x="646" y="364"/>
                  </a:lnTo>
                  <a:lnTo>
                    <a:pt x="648" y="364"/>
                  </a:lnTo>
                  <a:lnTo>
                    <a:pt x="650" y="364"/>
                  </a:lnTo>
                  <a:lnTo>
                    <a:pt x="652" y="364"/>
                  </a:lnTo>
                  <a:lnTo>
                    <a:pt x="652" y="364"/>
                  </a:lnTo>
                  <a:lnTo>
                    <a:pt x="654" y="362"/>
                  </a:lnTo>
                  <a:lnTo>
                    <a:pt x="654" y="362"/>
                  </a:lnTo>
                  <a:lnTo>
                    <a:pt x="654" y="362"/>
                  </a:lnTo>
                  <a:lnTo>
                    <a:pt x="654" y="360"/>
                  </a:lnTo>
                  <a:lnTo>
                    <a:pt x="654" y="358"/>
                  </a:lnTo>
                  <a:lnTo>
                    <a:pt x="654" y="358"/>
                  </a:lnTo>
                  <a:close/>
                  <a:moveTo>
                    <a:pt x="634" y="408"/>
                  </a:moveTo>
                  <a:lnTo>
                    <a:pt x="634" y="420"/>
                  </a:lnTo>
                  <a:lnTo>
                    <a:pt x="634" y="426"/>
                  </a:lnTo>
                  <a:lnTo>
                    <a:pt x="636" y="432"/>
                  </a:lnTo>
                  <a:lnTo>
                    <a:pt x="636" y="432"/>
                  </a:lnTo>
                  <a:lnTo>
                    <a:pt x="636" y="432"/>
                  </a:lnTo>
                  <a:lnTo>
                    <a:pt x="638" y="436"/>
                  </a:lnTo>
                  <a:lnTo>
                    <a:pt x="638" y="436"/>
                  </a:lnTo>
                  <a:lnTo>
                    <a:pt x="638" y="438"/>
                  </a:lnTo>
                  <a:lnTo>
                    <a:pt x="642" y="442"/>
                  </a:lnTo>
                  <a:lnTo>
                    <a:pt x="642" y="442"/>
                  </a:lnTo>
                  <a:lnTo>
                    <a:pt x="642" y="442"/>
                  </a:lnTo>
                  <a:lnTo>
                    <a:pt x="644" y="444"/>
                  </a:lnTo>
                  <a:lnTo>
                    <a:pt x="646" y="446"/>
                  </a:lnTo>
                  <a:lnTo>
                    <a:pt x="648" y="448"/>
                  </a:lnTo>
                  <a:lnTo>
                    <a:pt x="652" y="450"/>
                  </a:lnTo>
                  <a:lnTo>
                    <a:pt x="654" y="452"/>
                  </a:lnTo>
                  <a:lnTo>
                    <a:pt x="654" y="454"/>
                  </a:lnTo>
                  <a:lnTo>
                    <a:pt x="652" y="454"/>
                  </a:lnTo>
                  <a:lnTo>
                    <a:pt x="650" y="454"/>
                  </a:lnTo>
                  <a:lnTo>
                    <a:pt x="648" y="456"/>
                  </a:lnTo>
                  <a:lnTo>
                    <a:pt x="644" y="456"/>
                  </a:lnTo>
                  <a:lnTo>
                    <a:pt x="644" y="456"/>
                  </a:lnTo>
                  <a:lnTo>
                    <a:pt x="642" y="458"/>
                  </a:lnTo>
                  <a:lnTo>
                    <a:pt x="640" y="460"/>
                  </a:lnTo>
                  <a:lnTo>
                    <a:pt x="640" y="460"/>
                  </a:lnTo>
                  <a:lnTo>
                    <a:pt x="640" y="460"/>
                  </a:lnTo>
                  <a:lnTo>
                    <a:pt x="640" y="462"/>
                  </a:lnTo>
                  <a:lnTo>
                    <a:pt x="640" y="462"/>
                  </a:lnTo>
                  <a:lnTo>
                    <a:pt x="640" y="464"/>
                  </a:lnTo>
                  <a:lnTo>
                    <a:pt x="640" y="466"/>
                  </a:lnTo>
                  <a:lnTo>
                    <a:pt x="640" y="466"/>
                  </a:lnTo>
                  <a:lnTo>
                    <a:pt x="640" y="466"/>
                  </a:lnTo>
                  <a:lnTo>
                    <a:pt x="640" y="468"/>
                  </a:lnTo>
                  <a:lnTo>
                    <a:pt x="640" y="468"/>
                  </a:lnTo>
                  <a:lnTo>
                    <a:pt x="642" y="468"/>
                  </a:lnTo>
                  <a:lnTo>
                    <a:pt x="642" y="470"/>
                  </a:lnTo>
                  <a:lnTo>
                    <a:pt x="642" y="470"/>
                  </a:lnTo>
                  <a:lnTo>
                    <a:pt x="644" y="470"/>
                  </a:lnTo>
                  <a:lnTo>
                    <a:pt x="644" y="470"/>
                  </a:lnTo>
                  <a:lnTo>
                    <a:pt x="644" y="470"/>
                  </a:lnTo>
                  <a:lnTo>
                    <a:pt x="646" y="470"/>
                  </a:lnTo>
                  <a:lnTo>
                    <a:pt x="648" y="472"/>
                  </a:lnTo>
                  <a:lnTo>
                    <a:pt x="650" y="472"/>
                  </a:lnTo>
                  <a:lnTo>
                    <a:pt x="652" y="472"/>
                  </a:lnTo>
                  <a:lnTo>
                    <a:pt x="654" y="474"/>
                  </a:lnTo>
                  <a:lnTo>
                    <a:pt x="656" y="476"/>
                  </a:lnTo>
                  <a:lnTo>
                    <a:pt x="658" y="476"/>
                  </a:lnTo>
                  <a:lnTo>
                    <a:pt x="658" y="476"/>
                  </a:lnTo>
                  <a:lnTo>
                    <a:pt x="660" y="476"/>
                  </a:lnTo>
                  <a:lnTo>
                    <a:pt x="662" y="476"/>
                  </a:lnTo>
                  <a:lnTo>
                    <a:pt x="662" y="476"/>
                  </a:lnTo>
                  <a:lnTo>
                    <a:pt x="662" y="476"/>
                  </a:lnTo>
                  <a:lnTo>
                    <a:pt x="664" y="476"/>
                  </a:lnTo>
                  <a:lnTo>
                    <a:pt x="666" y="476"/>
                  </a:lnTo>
                  <a:lnTo>
                    <a:pt x="668" y="476"/>
                  </a:lnTo>
                  <a:lnTo>
                    <a:pt x="672" y="476"/>
                  </a:lnTo>
                  <a:lnTo>
                    <a:pt x="674" y="476"/>
                  </a:lnTo>
                  <a:lnTo>
                    <a:pt x="678" y="474"/>
                  </a:lnTo>
                  <a:lnTo>
                    <a:pt x="680" y="474"/>
                  </a:lnTo>
                  <a:lnTo>
                    <a:pt x="680" y="474"/>
                  </a:lnTo>
                  <a:lnTo>
                    <a:pt x="682" y="474"/>
                  </a:lnTo>
                  <a:lnTo>
                    <a:pt x="684" y="472"/>
                  </a:lnTo>
                  <a:lnTo>
                    <a:pt x="686" y="470"/>
                  </a:lnTo>
                  <a:lnTo>
                    <a:pt x="686" y="470"/>
                  </a:lnTo>
                  <a:lnTo>
                    <a:pt x="688" y="470"/>
                  </a:lnTo>
                  <a:lnTo>
                    <a:pt x="688" y="468"/>
                  </a:lnTo>
                  <a:lnTo>
                    <a:pt x="688" y="468"/>
                  </a:lnTo>
                  <a:lnTo>
                    <a:pt x="688" y="468"/>
                  </a:lnTo>
                  <a:lnTo>
                    <a:pt x="690" y="466"/>
                  </a:lnTo>
                  <a:lnTo>
                    <a:pt x="690" y="466"/>
                  </a:lnTo>
                  <a:lnTo>
                    <a:pt x="690" y="464"/>
                  </a:lnTo>
                  <a:lnTo>
                    <a:pt x="690" y="462"/>
                  </a:lnTo>
                  <a:lnTo>
                    <a:pt x="688" y="460"/>
                  </a:lnTo>
                  <a:lnTo>
                    <a:pt x="688" y="458"/>
                  </a:lnTo>
                  <a:lnTo>
                    <a:pt x="688" y="454"/>
                  </a:lnTo>
                  <a:lnTo>
                    <a:pt x="688" y="454"/>
                  </a:lnTo>
                  <a:lnTo>
                    <a:pt x="690" y="454"/>
                  </a:lnTo>
                  <a:lnTo>
                    <a:pt x="692" y="452"/>
                  </a:lnTo>
                  <a:lnTo>
                    <a:pt x="692" y="452"/>
                  </a:lnTo>
                  <a:lnTo>
                    <a:pt x="692" y="452"/>
                  </a:lnTo>
                  <a:lnTo>
                    <a:pt x="692" y="450"/>
                  </a:lnTo>
                  <a:lnTo>
                    <a:pt x="692" y="450"/>
                  </a:lnTo>
                  <a:lnTo>
                    <a:pt x="694" y="448"/>
                  </a:lnTo>
                  <a:lnTo>
                    <a:pt x="694" y="446"/>
                  </a:lnTo>
                  <a:lnTo>
                    <a:pt x="694" y="446"/>
                  </a:lnTo>
                  <a:lnTo>
                    <a:pt x="694" y="446"/>
                  </a:lnTo>
                  <a:lnTo>
                    <a:pt x="694" y="444"/>
                  </a:lnTo>
                  <a:lnTo>
                    <a:pt x="694" y="444"/>
                  </a:lnTo>
                  <a:lnTo>
                    <a:pt x="694" y="444"/>
                  </a:lnTo>
                  <a:lnTo>
                    <a:pt x="694" y="442"/>
                  </a:lnTo>
                  <a:lnTo>
                    <a:pt x="694" y="442"/>
                  </a:lnTo>
                  <a:lnTo>
                    <a:pt x="694" y="440"/>
                  </a:lnTo>
                  <a:lnTo>
                    <a:pt x="694" y="438"/>
                  </a:lnTo>
                  <a:lnTo>
                    <a:pt x="694" y="438"/>
                  </a:lnTo>
                  <a:lnTo>
                    <a:pt x="692" y="438"/>
                  </a:lnTo>
                  <a:lnTo>
                    <a:pt x="690" y="434"/>
                  </a:lnTo>
                  <a:lnTo>
                    <a:pt x="690" y="434"/>
                  </a:lnTo>
                  <a:lnTo>
                    <a:pt x="690" y="434"/>
                  </a:lnTo>
                  <a:lnTo>
                    <a:pt x="688" y="432"/>
                  </a:lnTo>
                  <a:lnTo>
                    <a:pt x="688" y="432"/>
                  </a:lnTo>
                  <a:lnTo>
                    <a:pt x="686" y="432"/>
                  </a:lnTo>
                  <a:lnTo>
                    <a:pt x="682" y="430"/>
                  </a:lnTo>
                  <a:lnTo>
                    <a:pt x="682" y="430"/>
                  </a:lnTo>
                  <a:lnTo>
                    <a:pt x="682" y="430"/>
                  </a:lnTo>
                  <a:lnTo>
                    <a:pt x="678" y="428"/>
                  </a:lnTo>
                  <a:lnTo>
                    <a:pt x="674" y="428"/>
                  </a:lnTo>
                  <a:lnTo>
                    <a:pt x="672" y="428"/>
                  </a:lnTo>
                  <a:lnTo>
                    <a:pt x="670" y="424"/>
                  </a:lnTo>
                  <a:lnTo>
                    <a:pt x="670" y="424"/>
                  </a:lnTo>
                  <a:lnTo>
                    <a:pt x="670" y="424"/>
                  </a:lnTo>
                  <a:lnTo>
                    <a:pt x="668" y="420"/>
                  </a:lnTo>
                  <a:lnTo>
                    <a:pt x="668" y="420"/>
                  </a:lnTo>
                  <a:lnTo>
                    <a:pt x="668" y="420"/>
                  </a:lnTo>
                  <a:lnTo>
                    <a:pt x="666" y="416"/>
                  </a:lnTo>
                  <a:lnTo>
                    <a:pt x="666" y="416"/>
                  </a:lnTo>
                  <a:lnTo>
                    <a:pt x="666" y="416"/>
                  </a:lnTo>
                  <a:lnTo>
                    <a:pt x="662" y="414"/>
                  </a:lnTo>
                  <a:lnTo>
                    <a:pt x="658" y="410"/>
                  </a:lnTo>
                  <a:lnTo>
                    <a:pt x="654" y="408"/>
                  </a:lnTo>
                  <a:lnTo>
                    <a:pt x="650" y="404"/>
                  </a:lnTo>
                  <a:lnTo>
                    <a:pt x="646" y="402"/>
                  </a:lnTo>
                  <a:lnTo>
                    <a:pt x="646" y="402"/>
                  </a:lnTo>
                  <a:lnTo>
                    <a:pt x="644" y="402"/>
                  </a:lnTo>
                  <a:lnTo>
                    <a:pt x="642" y="402"/>
                  </a:lnTo>
                  <a:lnTo>
                    <a:pt x="640" y="402"/>
                  </a:lnTo>
                  <a:lnTo>
                    <a:pt x="638" y="404"/>
                  </a:lnTo>
                  <a:lnTo>
                    <a:pt x="638" y="404"/>
                  </a:lnTo>
                  <a:lnTo>
                    <a:pt x="636" y="404"/>
                  </a:lnTo>
                  <a:lnTo>
                    <a:pt x="636" y="404"/>
                  </a:lnTo>
                  <a:lnTo>
                    <a:pt x="634" y="406"/>
                  </a:lnTo>
                  <a:lnTo>
                    <a:pt x="634" y="406"/>
                  </a:lnTo>
                  <a:lnTo>
                    <a:pt x="634" y="408"/>
                  </a:lnTo>
                  <a:lnTo>
                    <a:pt x="634" y="408"/>
                  </a:lnTo>
                  <a:close/>
                  <a:moveTo>
                    <a:pt x="666" y="488"/>
                  </a:moveTo>
                  <a:lnTo>
                    <a:pt x="668" y="494"/>
                  </a:lnTo>
                  <a:lnTo>
                    <a:pt x="668" y="494"/>
                  </a:lnTo>
                  <a:lnTo>
                    <a:pt x="668" y="494"/>
                  </a:lnTo>
                  <a:lnTo>
                    <a:pt x="668" y="496"/>
                  </a:lnTo>
                  <a:lnTo>
                    <a:pt x="668" y="496"/>
                  </a:lnTo>
                  <a:lnTo>
                    <a:pt x="670" y="496"/>
                  </a:lnTo>
                  <a:lnTo>
                    <a:pt x="670" y="498"/>
                  </a:lnTo>
                  <a:lnTo>
                    <a:pt x="670" y="498"/>
                  </a:lnTo>
                  <a:lnTo>
                    <a:pt x="672" y="498"/>
                  </a:lnTo>
                  <a:lnTo>
                    <a:pt x="674" y="500"/>
                  </a:lnTo>
                  <a:lnTo>
                    <a:pt x="674" y="500"/>
                  </a:lnTo>
                  <a:lnTo>
                    <a:pt x="674" y="500"/>
                  </a:lnTo>
                  <a:lnTo>
                    <a:pt x="678" y="502"/>
                  </a:lnTo>
                  <a:lnTo>
                    <a:pt x="678" y="502"/>
                  </a:lnTo>
                  <a:lnTo>
                    <a:pt x="678" y="502"/>
                  </a:lnTo>
                  <a:lnTo>
                    <a:pt x="684" y="502"/>
                  </a:lnTo>
                  <a:lnTo>
                    <a:pt x="688" y="502"/>
                  </a:lnTo>
                  <a:lnTo>
                    <a:pt x="692" y="502"/>
                  </a:lnTo>
                  <a:lnTo>
                    <a:pt x="696" y="502"/>
                  </a:lnTo>
                  <a:lnTo>
                    <a:pt x="698" y="504"/>
                  </a:lnTo>
                  <a:lnTo>
                    <a:pt x="700" y="504"/>
                  </a:lnTo>
                  <a:lnTo>
                    <a:pt x="702" y="504"/>
                  </a:lnTo>
                  <a:lnTo>
                    <a:pt x="704" y="504"/>
                  </a:lnTo>
                  <a:lnTo>
                    <a:pt x="704" y="504"/>
                  </a:lnTo>
                  <a:lnTo>
                    <a:pt x="704" y="502"/>
                  </a:lnTo>
                  <a:lnTo>
                    <a:pt x="706" y="502"/>
                  </a:lnTo>
                  <a:lnTo>
                    <a:pt x="706" y="502"/>
                  </a:lnTo>
                  <a:lnTo>
                    <a:pt x="706" y="500"/>
                  </a:lnTo>
                  <a:lnTo>
                    <a:pt x="708" y="498"/>
                  </a:lnTo>
                  <a:lnTo>
                    <a:pt x="708" y="496"/>
                  </a:lnTo>
                  <a:lnTo>
                    <a:pt x="708" y="496"/>
                  </a:lnTo>
                  <a:lnTo>
                    <a:pt x="708" y="492"/>
                  </a:lnTo>
                  <a:lnTo>
                    <a:pt x="708" y="490"/>
                  </a:lnTo>
                  <a:lnTo>
                    <a:pt x="708" y="488"/>
                  </a:lnTo>
                  <a:lnTo>
                    <a:pt x="710" y="486"/>
                  </a:lnTo>
                  <a:lnTo>
                    <a:pt x="710" y="486"/>
                  </a:lnTo>
                  <a:lnTo>
                    <a:pt x="710" y="484"/>
                  </a:lnTo>
                  <a:lnTo>
                    <a:pt x="710" y="482"/>
                  </a:lnTo>
                  <a:lnTo>
                    <a:pt x="710" y="482"/>
                  </a:lnTo>
                  <a:lnTo>
                    <a:pt x="712" y="480"/>
                  </a:lnTo>
                  <a:lnTo>
                    <a:pt x="710" y="480"/>
                  </a:lnTo>
                  <a:lnTo>
                    <a:pt x="710" y="480"/>
                  </a:lnTo>
                  <a:lnTo>
                    <a:pt x="710" y="478"/>
                  </a:lnTo>
                  <a:lnTo>
                    <a:pt x="708" y="476"/>
                  </a:lnTo>
                  <a:lnTo>
                    <a:pt x="708" y="476"/>
                  </a:lnTo>
                  <a:lnTo>
                    <a:pt x="708" y="476"/>
                  </a:lnTo>
                  <a:lnTo>
                    <a:pt x="706" y="476"/>
                  </a:lnTo>
                  <a:lnTo>
                    <a:pt x="706" y="476"/>
                  </a:lnTo>
                  <a:lnTo>
                    <a:pt x="706" y="476"/>
                  </a:lnTo>
                  <a:lnTo>
                    <a:pt x="702" y="474"/>
                  </a:lnTo>
                  <a:lnTo>
                    <a:pt x="698" y="474"/>
                  </a:lnTo>
                  <a:lnTo>
                    <a:pt x="694" y="474"/>
                  </a:lnTo>
                  <a:lnTo>
                    <a:pt x="686" y="476"/>
                  </a:lnTo>
                  <a:lnTo>
                    <a:pt x="678" y="478"/>
                  </a:lnTo>
                  <a:lnTo>
                    <a:pt x="676" y="478"/>
                  </a:lnTo>
                  <a:lnTo>
                    <a:pt x="672" y="478"/>
                  </a:lnTo>
                  <a:lnTo>
                    <a:pt x="668" y="480"/>
                  </a:lnTo>
                  <a:lnTo>
                    <a:pt x="666" y="480"/>
                  </a:lnTo>
                  <a:lnTo>
                    <a:pt x="666" y="480"/>
                  </a:lnTo>
                  <a:lnTo>
                    <a:pt x="664" y="482"/>
                  </a:lnTo>
                  <a:lnTo>
                    <a:pt x="664" y="482"/>
                  </a:lnTo>
                  <a:lnTo>
                    <a:pt x="664" y="484"/>
                  </a:lnTo>
                  <a:lnTo>
                    <a:pt x="666" y="486"/>
                  </a:lnTo>
                  <a:lnTo>
                    <a:pt x="666" y="488"/>
                  </a:lnTo>
                  <a:close/>
                  <a:moveTo>
                    <a:pt x="740" y="512"/>
                  </a:moveTo>
                  <a:lnTo>
                    <a:pt x="738" y="516"/>
                  </a:lnTo>
                  <a:lnTo>
                    <a:pt x="736" y="520"/>
                  </a:lnTo>
                  <a:lnTo>
                    <a:pt x="736" y="520"/>
                  </a:lnTo>
                  <a:lnTo>
                    <a:pt x="736" y="522"/>
                  </a:lnTo>
                  <a:lnTo>
                    <a:pt x="736" y="522"/>
                  </a:lnTo>
                  <a:lnTo>
                    <a:pt x="738" y="524"/>
                  </a:lnTo>
                  <a:lnTo>
                    <a:pt x="740" y="524"/>
                  </a:lnTo>
                  <a:lnTo>
                    <a:pt x="740" y="524"/>
                  </a:lnTo>
                  <a:lnTo>
                    <a:pt x="742" y="524"/>
                  </a:lnTo>
                  <a:lnTo>
                    <a:pt x="744" y="524"/>
                  </a:lnTo>
                  <a:lnTo>
                    <a:pt x="744" y="524"/>
                  </a:lnTo>
                  <a:lnTo>
                    <a:pt x="744" y="524"/>
                  </a:lnTo>
                  <a:lnTo>
                    <a:pt x="752" y="524"/>
                  </a:lnTo>
                  <a:lnTo>
                    <a:pt x="754" y="524"/>
                  </a:lnTo>
                  <a:lnTo>
                    <a:pt x="756" y="524"/>
                  </a:lnTo>
                  <a:lnTo>
                    <a:pt x="758" y="524"/>
                  </a:lnTo>
                  <a:lnTo>
                    <a:pt x="760" y="524"/>
                  </a:lnTo>
                  <a:lnTo>
                    <a:pt x="760" y="524"/>
                  </a:lnTo>
                  <a:lnTo>
                    <a:pt x="762" y="522"/>
                  </a:lnTo>
                  <a:lnTo>
                    <a:pt x="762" y="520"/>
                  </a:lnTo>
                  <a:lnTo>
                    <a:pt x="762" y="520"/>
                  </a:lnTo>
                  <a:lnTo>
                    <a:pt x="762" y="518"/>
                  </a:lnTo>
                  <a:lnTo>
                    <a:pt x="764" y="518"/>
                  </a:lnTo>
                  <a:lnTo>
                    <a:pt x="764" y="518"/>
                  </a:lnTo>
                  <a:lnTo>
                    <a:pt x="766" y="518"/>
                  </a:lnTo>
                  <a:lnTo>
                    <a:pt x="766" y="518"/>
                  </a:lnTo>
                  <a:lnTo>
                    <a:pt x="766" y="516"/>
                  </a:lnTo>
                  <a:lnTo>
                    <a:pt x="766" y="514"/>
                  </a:lnTo>
                  <a:lnTo>
                    <a:pt x="766" y="514"/>
                  </a:lnTo>
                  <a:lnTo>
                    <a:pt x="766" y="514"/>
                  </a:lnTo>
                  <a:lnTo>
                    <a:pt x="766" y="512"/>
                  </a:lnTo>
                  <a:lnTo>
                    <a:pt x="766" y="512"/>
                  </a:lnTo>
                  <a:lnTo>
                    <a:pt x="766" y="512"/>
                  </a:lnTo>
                  <a:lnTo>
                    <a:pt x="766" y="510"/>
                  </a:lnTo>
                  <a:lnTo>
                    <a:pt x="766" y="510"/>
                  </a:lnTo>
                  <a:lnTo>
                    <a:pt x="766" y="504"/>
                  </a:lnTo>
                  <a:lnTo>
                    <a:pt x="764" y="500"/>
                  </a:lnTo>
                  <a:lnTo>
                    <a:pt x="764" y="500"/>
                  </a:lnTo>
                  <a:lnTo>
                    <a:pt x="764" y="498"/>
                  </a:lnTo>
                  <a:lnTo>
                    <a:pt x="762" y="496"/>
                  </a:lnTo>
                  <a:lnTo>
                    <a:pt x="762" y="496"/>
                  </a:lnTo>
                  <a:lnTo>
                    <a:pt x="762" y="494"/>
                  </a:lnTo>
                  <a:lnTo>
                    <a:pt x="760" y="492"/>
                  </a:lnTo>
                  <a:lnTo>
                    <a:pt x="760" y="492"/>
                  </a:lnTo>
                  <a:lnTo>
                    <a:pt x="760" y="492"/>
                  </a:lnTo>
                  <a:lnTo>
                    <a:pt x="756" y="490"/>
                  </a:lnTo>
                  <a:lnTo>
                    <a:pt x="756" y="490"/>
                  </a:lnTo>
                  <a:lnTo>
                    <a:pt x="756" y="488"/>
                  </a:lnTo>
                  <a:lnTo>
                    <a:pt x="752" y="488"/>
                  </a:lnTo>
                  <a:lnTo>
                    <a:pt x="752" y="488"/>
                  </a:lnTo>
                  <a:lnTo>
                    <a:pt x="752" y="488"/>
                  </a:lnTo>
                  <a:lnTo>
                    <a:pt x="748" y="486"/>
                  </a:lnTo>
                  <a:lnTo>
                    <a:pt x="740" y="486"/>
                  </a:lnTo>
                  <a:lnTo>
                    <a:pt x="740" y="486"/>
                  </a:lnTo>
                  <a:lnTo>
                    <a:pt x="738" y="486"/>
                  </a:lnTo>
                  <a:lnTo>
                    <a:pt x="738" y="486"/>
                  </a:lnTo>
                  <a:lnTo>
                    <a:pt x="738" y="490"/>
                  </a:lnTo>
                  <a:lnTo>
                    <a:pt x="738" y="494"/>
                  </a:lnTo>
                  <a:lnTo>
                    <a:pt x="740" y="500"/>
                  </a:lnTo>
                  <a:lnTo>
                    <a:pt x="740" y="504"/>
                  </a:lnTo>
                  <a:lnTo>
                    <a:pt x="740" y="506"/>
                  </a:lnTo>
                  <a:lnTo>
                    <a:pt x="740" y="510"/>
                  </a:lnTo>
                  <a:lnTo>
                    <a:pt x="740" y="512"/>
                  </a:lnTo>
                  <a:close/>
                  <a:moveTo>
                    <a:pt x="658" y="302"/>
                  </a:moveTo>
                  <a:lnTo>
                    <a:pt x="658" y="304"/>
                  </a:lnTo>
                  <a:lnTo>
                    <a:pt x="660" y="308"/>
                  </a:lnTo>
                  <a:lnTo>
                    <a:pt x="660" y="308"/>
                  </a:lnTo>
                  <a:lnTo>
                    <a:pt x="662" y="310"/>
                  </a:lnTo>
                  <a:lnTo>
                    <a:pt x="662" y="310"/>
                  </a:lnTo>
                  <a:lnTo>
                    <a:pt x="660" y="310"/>
                  </a:lnTo>
                  <a:lnTo>
                    <a:pt x="660" y="310"/>
                  </a:lnTo>
                  <a:lnTo>
                    <a:pt x="660" y="310"/>
                  </a:lnTo>
                  <a:lnTo>
                    <a:pt x="660" y="312"/>
                  </a:lnTo>
                  <a:lnTo>
                    <a:pt x="660" y="314"/>
                  </a:lnTo>
                  <a:lnTo>
                    <a:pt x="660" y="314"/>
                  </a:lnTo>
                  <a:lnTo>
                    <a:pt x="660" y="314"/>
                  </a:lnTo>
                  <a:lnTo>
                    <a:pt x="662" y="316"/>
                  </a:lnTo>
                  <a:lnTo>
                    <a:pt x="664" y="318"/>
                  </a:lnTo>
                  <a:lnTo>
                    <a:pt x="666" y="322"/>
                  </a:lnTo>
                  <a:lnTo>
                    <a:pt x="666" y="326"/>
                  </a:lnTo>
                  <a:lnTo>
                    <a:pt x="668" y="330"/>
                  </a:lnTo>
                  <a:lnTo>
                    <a:pt x="668" y="336"/>
                  </a:lnTo>
                  <a:lnTo>
                    <a:pt x="668" y="338"/>
                  </a:lnTo>
                  <a:lnTo>
                    <a:pt x="670" y="342"/>
                  </a:lnTo>
                  <a:lnTo>
                    <a:pt x="670" y="342"/>
                  </a:lnTo>
                  <a:lnTo>
                    <a:pt x="670" y="344"/>
                  </a:lnTo>
                  <a:lnTo>
                    <a:pt x="670" y="344"/>
                  </a:lnTo>
                  <a:lnTo>
                    <a:pt x="674" y="344"/>
                  </a:lnTo>
                  <a:lnTo>
                    <a:pt x="676" y="342"/>
                  </a:lnTo>
                  <a:lnTo>
                    <a:pt x="678" y="340"/>
                  </a:lnTo>
                  <a:lnTo>
                    <a:pt x="678" y="340"/>
                  </a:lnTo>
                  <a:lnTo>
                    <a:pt x="678" y="340"/>
                  </a:lnTo>
                  <a:lnTo>
                    <a:pt x="680" y="338"/>
                  </a:lnTo>
                  <a:lnTo>
                    <a:pt x="684" y="334"/>
                  </a:lnTo>
                  <a:lnTo>
                    <a:pt x="684" y="332"/>
                  </a:lnTo>
                  <a:lnTo>
                    <a:pt x="686" y="332"/>
                  </a:lnTo>
                  <a:lnTo>
                    <a:pt x="688" y="332"/>
                  </a:lnTo>
                  <a:lnTo>
                    <a:pt x="690" y="334"/>
                  </a:lnTo>
                  <a:lnTo>
                    <a:pt x="690" y="334"/>
                  </a:lnTo>
                  <a:lnTo>
                    <a:pt x="692" y="334"/>
                  </a:lnTo>
                  <a:lnTo>
                    <a:pt x="692" y="336"/>
                  </a:lnTo>
                  <a:lnTo>
                    <a:pt x="694" y="338"/>
                  </a:lnTo>
                  <a:lnTo>
                    <a:pt x="694" y="338"/>
                  </a:lnTo>
                  <a:lnTo>
                    <a:pt x="690" y="338"/>
                  </a:lnTo>
                  <a:lnTo>
                    <a:pt x="684" y="340"/>
                  </a:lnTo>
                  <a:lnTo>
                    <a:pt x="680" y="342"/>
                  </a:lnTo>
                  <a:lnTo>
                    <a:pt x="680" y="342"/>
                  </a:lnTo>
                  <a:lnTo>
                    <a:pt x="680" y="342"/>
                  </a:lnTo>
                  <a:lnTo>
                    <a:pt x="676" y="344"/>
                  </a:lnTo>
                  <a:lnTo>
                    <a:pt x="676" y="344"/>
                  </a:lnTo>
                  <a:lnTo>
                    <a:pt x="676" y="346"/>
                  </a:lnTo>
                  <a:lnTo>
                    <a:pt x="674" y="348"/>
                  </a:lnTo>
                  <a:lnTo>
                    <a:pt x="674" y="348"/>
                  </a:lnTo>
                  <a:lnTo>
                    <a:pt x="674" y="348"/>
                  </a:lnTo>
                  <a:lnTo>
                    <a:pt x="674" y="350"/>
                  </a:lnTo>
                  <a:lnTo>
                    <a:pt x="674" y="350"/>
                  </a:lnTo>
                  <a:lnTo>
                    <a:pt x="674" y="352"/>
                  </a:lnTo>
                  <a:lnTo>
                    <a:pt x="674" y="354"/>
                  </a:lnTo>
                  <a:lnTo>
                    <a:pt x="674" y="354"/>
                  </a:lnTo>
                  <a:lnTo>
                    <a:pt x="674" y="354"/>
                  </a:lnTo>
                  <a:lnTo>
                    <a:pt x="674" y="356"/>
                  </a:lnTo>
                  <a:lnTo>
                    <a:pt x="674" y="360"/>
                  </a:lnTo>
                  <a:lnTo>
                    <a:pt x="674" y="362"/>
                  </a:lnTo>
                  <a:lnTo>
                    <a:pt x="676" y="366"/>
                  </a:lnTo>
                  <a:lnTo>
                    <a:pt x="676" y="366"/>
                  </a:lnTo>
                  <a:lnTo>
                    <a:pt x="678" y="368"/>
                  </a:lnTo>
                  <a:lnTo>
                    <a:pt x="678" y="368"/>
                  </a:lnTo>
                  <a:lnTo>
                    <a:pt x="680" y="368"/>
                  </a:lnTo>
                  <a:lnTo>
                    <a:pt x="682" y="364"/>
                  </a:lnTo>
                  <a:lnTo>
                    <a:pt x="684" y="362"/>
                  </a:lnTo>
                  <a:lnTo>
                    <a:pt x="688" y="362"/>
                  </a:lnTo>
                  <a:lnTo>
                    <a:pt x="688" y="362"/>
                  </a:lnTo>
                  <a:lnTo>
                    <a:pt x="692" y="360"/>
                  </a:lnTo>
                  <a:lnTo>
                    <a:pt x="694" y="360"/>
                  </a:lnTo>
                  <a:lnTo>
                    <a:pt x="698" y="360"/>
                  </a:lnTo>
                  <a:lnTo>
                    <a:pt x="706" y="360"/>
                  </a:lnTo>
                  <a:lnTo>
                    <a:pt x="716" y="360"/>
                  </a:lnTo>
                  <a:lnTo>
                    <a:pt x="724" y="362"/>
                  </a:lnTo>
                  <a:lnTo>
                    <a:pt x="730" y="364"/>
                  </a:lnTo>
                  <a:lnTo>
                    <a:pt x="734" y="364"/>
                  </a:lnTo>
                  <a:lnTo>
                    <a:pt x="732" y="364"/>
                  </a:lnTo>
                  <a:lnTo>
                    <a:pt x="732" y="368"/>
                  </a:lnTo>
                  <a:lnTo>
                    <a:pt x="730" y="372"/>
                  </a:lnTo>
                  <a:lnTo>
                    <a:pt x="726" y="374"/>
                  </a:lnTo>
                  <a:lnTo>
                    <a:pt x="726" y="374"/>
                  </a:lnTo>
                  <a:lnTo>
                    <a:pt x="726" y="378"/>
                  </a:lnTo>
                  <a:lnTo>
                    <a:pt x="726" y="378"/>
                  </a:lnTo>
                  <a:lnTo>
                    <a:pt x="728" y="378"/>
                  </a:lnTo>
                  <a:lnTo>
                    <a:pt x="732" y="380"/>
                  </a:lnTo>
                  <a:lnTo>
                    <a:pt x="732" y="380"/>
                  </a:lnTo>
                  <a:lnTo>
                    <a:pt x="732" y="380"/>
                  </a:lnTo>
                  <a:lnTo>
                    <a:pt x="728" y="382"/>
                  </a:lnTo>
                  <a:lnTo>
                    <a:pt x="726" y="382"/>
                  </a:lnTo>
                  <a:lnTo>
                    <a:pt x="722" y="384"/>
                  </a:lnTo>
                  <a:lnTo>
                    <a:pt x="722" y="384"/>
                  </a:lnTo>
                  <a:lnTo>
                    <a:pt x="722" y="384"/>
                  </a:lnTo>
                  <a:lnTo>
                    <a:pt x="718" y="386"/>
                  </a:lnTo>
                  <a:lnTo>
                    <a:pt x="714" y="388"/>
                  </a:lnTo>
                  <a:lnTo>
                    <a:pt x="710" y="390"/>
                  </a:lnTo>
                  <a:lnTo>
                    <a:pt x="704" y="392"/>
                  </a:lnTo>
                  <a:lnTo>
                    <a:pt x="704" y="392"/>
                  </a:lnTo>
                  <a:lnTo>
                    <a:pt x="702" y="394"/>
                  </a:lnTo>
                  <a:lnTo>
                    <a:pt x="702" y="394"/>
                  </a:lnTo>
                  <a:lnTo>
                    <a:pt x="702" y="402"/>
                  </a:lnTo>
                  <a:lnTo>
                    <a:pt x="704" y="406"/>
                  </a:lnTo>
                  <a:lnTo>
                    <a:pt x="704" y="410"/>
                  </a:lnTo>
                  <a:lnTo>
                    <a:pt x="702" y="412"/>
                  </a:lnTo>
                  <a:lnTo>
                    <a:pt x="702" y="416"/>
                  </a:lnTo>
                  <a:lnTo>
                    <a:pt x="704" y="418"/>
                  </a:lnTo>
                  <a:lnTo>
                    <a:pt x="704" y="418"/>
                  </a:lnTo>
                  <a:lnTo>
                    <a:pt x="704" y="420"/>
                  </a:lnTo>
                  <a:lnTo>
                    <a:pt x="704" y="420"/>
                  </a:lnTo>
                  <a:lnTo>
                    <a:pt x="704" y="420"/>
                  </a:lnTo>
                  <a:lnTo>
                    <a:pt x="706" y="420"/>
                  </a:lnTo>
                  <a:lnTo>
                    <a:pt x="706" y="420"/>
                  </a:lnTo>
                  <a:lnTo>
                    <a:pt x="706" y="420"/>
                  </a:lnTo>
                  <a:lnTo>
                    <a:pt x="706" y="422"/>
                  </a:lnTo>
                  <a:lnTo>
                    <a:pt x="708" y="422"/>
                  </a:lnTo>
                  <a:lnTo>
                    <a:pt x="708" y="420"/>
                  </a:lnTo>
                  <a:lnTo>
                    <a:pt x="710" y="420"/>
                  </a:lnTo>
                  <a:lnTo>
                    <a:pt x="712" y="420"/>
                  </a:lnTo>
                  <a:lnTo>
                    <a:pt x="714" y="422"/>
                  </a:lnTo>
                  <a:lnTo>
                    <a:pt x="718" y="422"/>
                  </a:lnTo>
                  <a:lnTo>
                    <a:pt x="722" y="422"/>
                  </a:lnTo>
                  <a:lnTo>
                    <a:pt x="722" y="424"/>
                  </a:lnTo>
                  <a:lnTo>
                    <a:pt x="724" y="424"/>
                  </a:lnTo>
                  <a:lnTo>
                    <a:pt x="726" y="426"/>
                  </a:lnTo>
                  <a:lnTo>
                    <a:pt x="728" y="428"/>
                  </a:lnTo>
                  <a:lnTo>
                    <a:pt x="728" y="428"/>
                  </a:lnTo>
                  <a:lnTo>
                    <a:pt x="730" y="428"/>
                  </a:lnTo>
                  <a:lnTo>
                    <a:pt x="730" y="428"/>
                  </a:lnTo>
                  <a:lnTo>
                    <a:pt x="730" y="432"/>
                  </a:lnTo>
                  <a:lnTo>
                    <a:pt x="728" y="432"/>
                  </a:lnTo>
                  <a:lnTo>
                    <a:pt x="728" y="434"/>
                  </a:lnTo>
                  <a:lnTo>
                    <a:pt x="728" y="434"/>
                  </a:lnTo>
                  <a:lnTo>
                    <a:pt x="726" y="436"/>
                  </a:lnTo>
                  <a:lnTo>
                    <a:pt x="726" y="436"/>
                  </a:lnTo>
                  <a:lnTo>
                    <a:pt x="722" y="436"/>
                  </a:lnTo>
                  <a:lnTo>
                    <a:pt x="722" y="436"/>
                  </a:lnTo>
                  <a:lnTo>
                    <a:pt x="720" y="438"/>
                  </a:lnTo>
                  <a:lnTo>
                    <a:pt x="720" y="438"/>
                  </a:lnTo>
                  <a:lnTo>
                    <a:pt x="720" y="440"/>
                  </a:lnTo>
                  <a:lnTo>
                    <a:pt x="722" y="442"/>
                  </a:lnTo>
                  <a:lnTo>
                    <a:pt x="722" y="442"/>
                  </a:lnTo>
                  <a:lnTo>
                    <a:pt x="722" y="442"/>
                  </a:lnTo>
                  <a:lnTo>
                    <a:pt x="724" y="444"/>
                  </a:lnTo>
                  <a:lnTo>
                    <a:pt x="724" y="444"/>
                  </a:lnTo>
                  <a:lnTo>
                    <a:pt x="724" y="444"/>
                  </a:lnTo>
                  <a:lnTo>
                    <a:pt x="726" y="446"/>
                  </a:lnTo>
                  <a:lnTo>
                    <a:pt x="728" y="448"/>
                  </a:lnTo>
                  <a:lnTo>
                    <a:pt x="728" y="448"/>
                  </a:lnTo>
                  <a:lnTo>
                    <a:pt x="730" y="448"/>
                  </a:lnTo>
                  <a:lnTo>
                    <a:pt x="734" y="448"/>
                  </a:lnTo>
                  <a:lnTo>
                    <a:pt x="734" y="448"/>
                  </a:lnTo>
                  <a:lnTo>
                    <a:pt x="734" y="448"/>
                  </a:lnTo>
                  <a:lnTo>
                    <a:pt x="738" y="448"/>
                  </a:lnTo>
                  <a:lnTo>
                    <a:pt x="744" y="448"/>
                  </a:lnTo>
                  <a:lnTo>
                    <a:pt x="750" y="448"/>
                  </a:lnTo>
                  <a:lnTo>
                    <a:pt x="754" y="446"/>
                  </a:lnTo>
                  <a:lnTo>
                    <a:pt x="760" y="446"/>
                  </a:lnTo>
                  <a:lnTo>
                    <a:pt x="760" y="446"/>
                  </a:lnTo>
                  <a:lnTo>
                    <a:pt x="762" y="446"/>
                  </a:lnTo>
                  <a:lnTo>
                    <a:pt x="764" y="444"/>
                  </a:lnTo>
                  <a:lnTo>
                    <a:pt x="764" y="444"/>
                  </a:lnTo>
                  <a:lnTo>
                    <a:pt x="764" y="444"/>
                  </a:lnTo>
                  <a:lnTo>
                    <a:pt x="764" y="442"/>
                  </a:lnTo>
                  <a:lnTo>
                    <a:pt x="766" y="438"/>
                  </a:lnTo>
                  <a:lnTo>
                    <a:pt x="768" y="436"/>
                  </a:lnTo>
                  <a:lnTo>
                    <a:pt x="768" y="436"/>
                  </a:lnTo>
                  <a:lnTo>
                    <a:pt x="768" y="436"/>
                  </a:lnTo>
                  <a:lnTo>
                    <a:pt x="768" y="436"/>
                  </a:lnTo>
                  <a:lnTo>
                    <a:pt x="770" y="438"/>
                  </a:lnTo>
                  <a:lnTo>
                    <a:pt x="772" y="440"/>
                  </a:lnTo>
                  <a:lnTo>
                    <a:pt x="772" y="442"/>
                  </a:lnTo>
                  <a:lnTo>
                    <a:pt x="772" y="444"/>
                  </a:lnTo>
                  <a:lnTo>
                    <a:pt x="772" y="444"/>
                  </a:lnTo>
                  <a:lnTo>
                    <a:pt x="772" y="444"/>
                  </a:lnTo>
                  <a:lnTo>
                    <a:pt x="774" y="444"/>
                  </a:lnTo>
                  <a:lnTo>
                    <a:pt x="774" y="446"/>
                  </a:lnTo>
                  <a:lnTo>
                    <a:pt x="774" y="446"/>
                  </a:lnTo>
                  <a:lnTo>
                    <a:pt x="774" y="446"/>
                  </a:lnTo>
                  <a:lnTo>
                    <a:pt x="776" y="448"/>
                  </a:lnTo>
                  <a:lnTo>
                    <a:pt x="778" y="448"/>
                  </a:lnTo>
                  <a:lnTo>
                    <a:pt x="778" y="448"/>
                  </a:lnTo>
                  <a:lnTo>
                    <a:pt x="780" y="450"/>
                  </a:lnTo>
                  <a:lnTo>
                    <a:pt x="784" y="448"/>
                  </a:lnTo>
                  <a:lnTo>
                    <a:pt x="786" y="448"/>
                  </a:lnTo>
                  <a:lnTo>
                    <a:pt x="792" y="450"/>
                  </a:lnTo>
                  <a:lnTo>
                    <a:pt x="796" y="450"/>
                  </a:lnTo>
                  <a:lnTo>
                    <a:pt x="798" y="450"/>
                  </a:lnTo>
                  <a:lnTo>
                    <a:pt x="798" y="450"/>
                  </a:lnTo>
                  <a:lnTo>
                    <a:pt x="800" y="452"/>
                  </a:lnTo>
                  <a:lnTo>
                    <a:pt x="800" y="454"/>
                  </a:lnTo>
                  <a:lnTo>
                    <a:pt x="802" y="456"/>
                  </a:lnTo>
                  <a:lnTo>
                    <a:pt x="802" y="458"/>
                  </a:lnTo>
                  <a:lnTo>
                    <a:pt x="804" y="460"/>
                  </a:lnTo>
                  <a:lnTo>
                    <a:pt x="804" y="460"/>
                  </a:lnTo>
                  <a:lnTo>
                    <a:pt x="806" y="460"/>
                  </a:lnTo>
                  <a:lnTo>
                    <a:pt x="808" y="462"/>
                  </a:lnTo>
                  <a:lnTo>
                    <a:pt x="808" y="462"/>
                  </a:lnTo>
                  <a:lnTo>
                    <a:pt x="808" y="462"/>
                  </a:lnTo>
                  <a:lnTo>
                    <a:pt x="810" y="462"/>
                  </a:lnTo>
                  <a:lnTo>
                    <a:pt x="812" y="462"/>
                  </a:lnTo>
                  <a:lnTo>
                    <a:pt x="814" y="462"/>
                  </a:lnTo>
                  <a:lnTo>
                    <a:pt x="818" y="464"/>
                  </a:lnTo>
                  <a:lnTo>
                    <a:pt x="820" y="464"/>
                  </a:lnTo>
                  <a:lnTo>
                    <a:pt x="824" y="464"/>
                  </a:lnTo>
                  <a:lnTo>
                    <a:pt x="826" y="464"/>
                  </a:lnTo>
                  <a:lnTo>
                    <a:pt x="828" y="466"/>
                  </a:lnTo>
                  <a:lnTo>
                    <a:pt x="828" y="468"/>
                  </a:lnTo>
                  <a:lnTo>
                    <a:pt x="828" y="470"/>
                  </a:lnTo>
                  <a:lnTo>
                    <a:pt x="830" y="470"/>
                  </a:lnTo>
                  <a:lnTo>
                    <a:pt x="828" y="472"/>
                  </a:lnTo>
                  <a:lnTo>
                    <a:pt x="828" y="476"/>
                  </a:lnTo>
                  <a:lnTo>
                    <a:pt x="828" y="480"/>
                  </a:lnTo>
                  <a:lnTo>
                    <a:pt x="826" y="478"/>
                  </a:lnTo>
                  <a:lnTo>
                    <a:pt x="826" y="476"/>
                  </a:lnTo>
                  <a:lnTo>
                    <a:pt x="826" y="476"/>
                  </a:lnTo>
                  <a:lnTo>
                    <a:pt x="826" y="476"/>
                  </a:lnTo>
                  <a:lnTo>
                    <a:pt x="826" y="476"/>
                  </a:lnTo>
                  <a:lnTo>
                    <a:pt x="824" y="476"/>
                  </a:lnTo>
                  <a:lnTo>
                    <a:pt x="824" y="476"/>
                  </a:lnTo>
                  <a:lnTo>
                    <a:pt x="824" y="476"/>
                  </a:lnTo>
                  <a:lnTo>
                    <a:pt x="824" y="474"/>
                  </a:lnTo>
                  <a:lnTo>
                    <a:pt x="824" y="474"/>
                  </a:lnTo>
                  <a:lnTo>
                    <a:pt x="822" y="472"/>
                  </a:lnTo>
                  <a:lnTo>
                    <a:pt x="820" y="470"/>
                  </a:lnTo>
                  <a:lnTo>
                    <a:pt x="820" y="470"/>
                  </a:lnTo>
                  <a:lnTo>
                    <a:pt x="818" y="470"/>
                  </a:lnTo>
                  <a:lnTo>
                    <a:pt x="816" y="470"/>
                  </a:lnTo>
                  <a:lnTo>
                    <a:pt x="812" y="470"/>
                  </a:lnTo>
                  <a:lnTo>
                    <a:pt x="808" y="470"/>
                  </a:lnTo>
                  <a:lnTo>
                    <a:pt x="804" y="472"/>
                  </a:lnTo>
                  <a:lnTo>
                    <a:pt x="802" y="472"/>
                  </a:lnTo>
                  <a:lnTo>
                    <a:pt x="798" y="472"/>
                  </a:lnTo>
                  <a:lnTo>
                    <a:pt x="796" y="472"/>
                  </a:lnTo>
                  <a:lnTo>
                    <a:pt x="792" y="474"/>
                  </a:lnTo>
                  <a:lnTo>
                    <a:pt x="788" y="474"/>
                  </a:lnTo>
                  <a:lnTo>
                    <a:pt x="788" y="474"/>
                  </a:lnTo>
                  <a:lnTo>
                    <a:pt x="786" y="476"/>
                  </a:lnTo>
                  <a:lnTo>
                    <a:pt x="786" y="480"/>
                  </a:lnTo>
                  <a:lnTo>
                    <a:pt x="786" y="484"/>
                  </a:lnTo>
                  <a:lnTo>
                    <a:pt x="786" y="488"/>
                  </a:lnTo>
                  <a:lnTo>
                    <a:pt x="786" y="492"/>
                  </a:lnTo>
                  <a:lnTo>
                    <a:pt x="788" y="500"/>
                  </a:lnTo>
                  <a:lnTo>
                    <a:pt x="792" y="508"/>
                  </a:lnTo>
                  <a:lnTo>
                    <a:pt x="792" y="508"/>
                  </a:lnTo>
                  <a:lnTo>
                    <a:pt x="792" y="510"/>
                  </a:lnTo>
                  <a:lnTo>
                    <a:pt x="790" y="514"/>
                  </a:lnTo>
                  <a:lnTo>
                    <a:pt x="788" y="518"/>
                  </a:lnTo>
                  <a:lnTo>
                    <a:pt x="786" y="522"/>
                  </a:lnTo>
                  <a:lnTo>
                    <a:pt x="786" y="522"/>
                  </a:lnTo>
                  <a:lnTo>
                    <a:pt x="786" y="524"/>
                  </a:lnTo>
                  <a:lnTo>
                    <a:pt x="784" y="528"/>
                  </a:lnTo>
                  <a:lnTo>
                    <a:pt x="784" y="532"/>
                  </a:lnTo>
                  <a:lnTo>
                    <a:pt x="784" y="534"/>
                  </a:lnTo>
                  <a:lnTo>
                    <a:pt x="784" y="534"/>
                  </a:lnTo>
                  <a:lnTo>
                    <a:pt x="782" y="536"/>
                  </a:lnTo>
                  <a:lnTo>
                    <a:pt x="780" y="536"/>
                  </a:lnTo>
                  <a:lnTo>
                    <a:pt x="778" y="536"/>
                  </a:lnTo>
                  <a:lnTo>
                    <a:pt x="774" y="538"/>
                  </a:lnTo>
                  <a:lnTo>
                    <a:pt x="774" y="538"/>
                  </a:lnTo>
                  <a:lnTo>
                    <a:pt x="772" y="538"/>
                  </a:lnTo>
                  <a:lnTo>
                    <a:pt x="758" y="546"/>
                  </a:lnTo>
                  <a:lnTo>
                    <a:pt x="758" y="546"/>
                  </a:lnTo>
                  <a:lnTo>
                    <a:pt x="758" y="548"/>
                  </a:lnTo>
                  <a:lnTo>
                    <a:pt x="756" y="550"/>
                  </a:lnTo>
                  <a:lnTo>
                    <a:pt x="752" y="552"/>
                  </a:lnTo>
                  <a:lnTo>
                    <a:pt x="750" y="552"/>
                  </a:lnTo>
                  <a:lnTo>
                    <a:pt x="748" y="554"/>
                  </a:lnTo>
                  <a:lnTo>
                    <a:pt x="746" y="554"/>
                  </a:lnTo>
                  <a:lnTo>
                    <a:pt x="742" y="554"/>
                  </a:lnTo>
                  <a:lnTo>
                    <a:pt x="736" y="554"/>
                  </a:lnTo>
                  <a:lnTo>
                    <a:pt x="730" y="552"/>
                  </a:lnTo>
                  <a:lnTo>
                    <a:pt x="724" y="550"/>
                  </a:lnTo>
                  <a:lnTo>
                    <a:pt x="718" y="548"/>
                  </a:lnTo>
                  <a:lnTo>
                    <a:pt x="714" y="544"/>
                  </a:lnTo>
                  <a:lnTo>
                    <a:pt x="712" y="542"/>
                  </a:lnTo>
                  <a:lnTo>
                    <a:pt x="712" y="540"/>
                  </a:lnTo>
                  <a:lnTo>
                    <a:pt x="710" y="540"/>
                  </a:lnTo>
                  <a:lnTo>
                    <a:pt x="710" y="538"/>
                  </a:lnTo>
                  <a:lnTo>
                    <a:pt x="710" y="538"/>
                  </a:lnTo>
                  <a:lnTo>
                    <a:pt x="708" y="538"/>
                  </a:lnTo>
                  <a:lnTo>
                    <a:pt x="708" y="538"/>
                  </a:lnTo>
                  <a:lnTo>
                    <a:pt x="706" y="536"/>
                  </a:lnTo>
                  <a:lnTo>
                    <a:pt x="704" y="534"/>
                  </a:lnTo>
                  <a:lnTo>
                    <a:pt x="702" y="532"/>
                  </a:lnTo>
                  <a:lnTo>
                    <a:pt x="700" y="532"/>
                  </a:lnTo>
                  <a:lnTo>
                    <a:pt x="698" y="530"/>
                  </a:lnTo>
                  <a:lnTo>
                    <a:pt x="698" y="530"/>
                  </a:lnTo>
                  <a:lnTo>
                    <a:pt x="698" y="530"/>
                  </a:lnTo>
                  <a:lnTo>
                    <a:pt x="696" y="528"/>
                  </a:lnTo>
                  <a:lnTo>
                    <a:pt x="694" y="526"/>
                  </a:lnTo>
                  <a:lnTo>
                    <a:pt x="694" y="526"/>
                  </a:lnTo>
                  <a:lnTo>
                    <a:pt x="694" y="526"/>
                  </a:lnTo>
                  <a:lnTo>
                    <a:pt x="694" y="524"/>
                  </a:lnTo>
                  <a:lnTo>
                    <a:pt x="694" y="524"/>
                  </a:lnTo>
                  <a:lnTo>
                    <a:pt x="692" y="524"/>
                  </a:lnTo>
                  <a:lnTo>
                    <a:pt x="692" y="524"/>
                  </a:lnTo>
                  <a:lnTo>
                    <a:pt x="692" y="524"/>
                  </a:lnTo>
                  <a:lnTo>
                    <a:pt x="692" y="522"/>
                  </a:lnTo>
                  <a:lnTo>
                    <a:pt x="690" y="522"/>
                  </a:lnTo>
                  <a:lnTo>
                    <a:pt x="690" y="522"/>
                  </a:lnTo>
                  <a:lnTo>
                    <a:pt x="688" y="522"/>
                  </a:lnTo>
                  <a:lnTo>
                    <a:pt x="686" y="522"/>
                  </a:lnTo>
                  <a:lnTo>
                    <a:pt x="684" y="520"/>
                  </a:lnTo>
                  <a:lnTo>
                    <a:pt x="682" y="520"/>
                  </a:lnTo>
                  <a:lnTo>
                    <a:pt x="680" y="520"/>
                  </a:lnTo>
                  <a:lnTo>
                    <a:pt x="680" y="520"/>
                  </a:lnTo>
                  <a:lnTo>
                    <a:pt x="680" y="520"/>
                  </a:lnTo>
                  <a:lnTo>
                    <a:pt x="676" y="518"/>
                  </a:lnTo>
                  <a:lnTo>
                    <a:pt x="676" y="518"/>
                  </a:lnTo>
                  <a:lnTo>
                    <a:pt x="676" y="518"/>
                  </a:lnTo>
                  <a:lnTo>
                    <a:pt x="674" y="518"/>
                  </a:lnTo>
                  <a:lnTo>
                    <a:pt x="674" y="518"/>
                  </a:lnTo>
                  <a:lnTo>
                    <a:pt x="672" y="518"/>
                  </a:lnTo>
                  <a:lnTo>
                    <a:pt x="670" y="518"/>
                  </a:lnTo>
                  <a:lnTo>
                    <a:pt x="664" y="520"/>
                  </a:lnTo>
                  <a:lnTo>
                    <a:pt x="660" y="522"/>
                  </a:lnTo>
                  <a:lnTo>
                    <a:pt x="660" y="522"/>
                  </a:lnTo>
                  <a:lnTo>
                    <a:pt x="658" y="522"/>
                  </a:lnTo>
                  <a:lnTo>
                    <a:pt x="656" y="524"/>
                  </a:lnTo>
                  <a:lnTo>
                    <a:pt x="654" y="526"/>
                  </a:lnTo>
                  <a:lnTo>
                    <a:pt x="652" y="532"/>
                  </a:lnTo>
                  <a:lnTo>
                    <a:pt x="650" y="536"/>
                  </a:lnTo>
                  <a:lnTo>
                    <a:pt x="648" y="540"/>
                  </a:lnTo>
                  <a:lnTo>
                    <a:pt x="648" y="540"/>
                  </a:lnTo>
                  <a:lnTo>
                    <a:pt x="648" y="542"/>
                  </a:lnTo>
                  <a:lnTo>
                    <a:pt x="648" y="548"/>
                  </a:lnTo>
                  <a:lnTo>
                    <a:pt x="648" y="554"/>
                  </a:lnTo>
                  <a:lnTo>
                    <a:pt x="648" y="558"/>
                  </a:lnTo>
                  <a:lnTo>
                    <a:pt x="648" y="562"/>
                  </a:lnTo>
                  <a:lnTo>
                    <a:pt x="648" y="562"/>
                  </a:lnTo>
                  <a:lnTo>
                    <a:pt x="646" y="560"/>
                  </a:lnTo>
                  <a:lnTo>
                    <a:pt x="642" y="558"/>
                  </a:lnTo>
                  <a:lnTo>
                    <a:pt x="640" y="556"/>
                  </a:lnTo>
                  <a:lnTo>
                    <a:pt x="638" y="552"/>
                  </a:lnTo>
                  <a:lnTo>
                    <a:pt x="638" y="552"/>
                  </a:lnTo>
                  <a:lnTo>
                    <a:pt x="636" y="552"/>
                  </a:lnTo>
                  <a:lnTo>
                    <a:pt x="632" y="548"/>
                  </a:lnTo>
                  <a:lnTo>
                    <a:pt x="632" y="548"/>
                  </a:lnTo>
                  <a:lnTo>
                    <a:pt x="632" y="548"/>
                  </a:lnTo>
                  <a:lnTo>
                    <a:pt x="628" y="546"/>
                  </a:lnTo>
                  <a:lnTo>
                    <a:pt x="628" y="546"/>
                  </a:lnTo>
                  <a:lnTo>
                    <a:pt x="628" y="546"/>
                  </a:lnTo>
                  <a:lnTo>
                    <a:pt x="622" y="544"/>
                  </a:lnTo>
                  <a:lnTo>
                    <a:pt x="620" y="542"/>
                  </a:lnTo>
                  <a:lnTo>
                    <a:pt x="620" y="542"/>
                  </a:lnTo>
                  <a:lnTo>
                    <a:pt x="618" y="542"/>
                  </a:lnTo>
                  <a:lnTo>
                    <a:pt x="616" y="542"/>
                  </a:lnTo>
                  <a:lnTo>
                    <a:pt x="616" y="542"/>
                  </a:lnTo>
                  <a:lnTo>
                    <a:pt x="616" y="542"/>
                  </a:lnTo>
                  <a:lnTo>
                    <a:pt x="612" y="540"/>
                  </a:lnTo>
                  <a:lnTo>
                    <a:pt x="608" y="542"/>
                  </a:lnTo>
                  <a:lnTo>
                    <a:pt x="604" y="542"/>
                  </a:lnTo>
                  <a:lnTo>
                    <a:pt x="600" y="542"/>
                  </a:lnTo>
                  <a:lnTo>
                    <a:pt x="594" y="544"/>
                  </a:lnTo>
                  <a:lnTo>
                    <a:pt x="594" y="544"/>
                  </a:lnTo>
                  <a:lnTo>
                    <a:pt x="592" y="544"/>
                  </a:lnTo>
                  <a:lnTo>
                    <a:pt x="586" y="548"/>
                  </a:lnTo>
                  <a:lnTo>
                    <a:pt x="578" y="554"/>
                  </a:lnTo>
                  <a:lnTo>
                    <a:pt x="572" y="558"/>
                  </a:lnTo>
                  <a:lnTo>
                    <a:pt x="566" y="560"/>
                  </a:lnTo>
                  <a:lnTo>
                    <a:pt x="566" y="560"/>
                  </a:lnTo>
                  <a:lnTo>
                    <a:pt x="564" y="560"/>
                  </a:lnTo>
                  <a:lnTo>
                    <a:pt x="562" y="558"/>
                  </a:lnTo>
                  <a:lnTo>
                    <a:pt x="562" y="556"/>
                  </a:lnTo>
                  <a:lnTo>
                    <a:pt x="560" y="554"/>
                  </a:lnTo>
                  <a:lnTo>
                    <a:pt x="558" y="552"/>
                  </a:lnTo>
                  <a:lnTo>
                    <a:pt x="558" y="552"/>
                  </a:lnTo>
                  <a:lnTo>
                    <a:pt x="558" y="552"/>
                  </a:lnTo>
                  <a:lnTo>
                    <a:pt x="556" y="550"/>
                  </a:lnTo>
                  <a:lnTo>
                    <a:pt x="556" y="550"/>
                  </a:lnTo>
                  <a:lnTo>
                    <a:pt x="556" y="550"/>
                  </a:lnTo>
                  <a:lnTo>
                    <a:pt x="554" y="550"/>
                  </a:lnTo>
                  <a:lnTo>
                    <a:pt x="554" y="550"/>
                  </a:lnTo>
                  <a:lnTo>
                    <a:pt x="552" y="550"/>
                  </a:lnTo>
                  <a:lnTo>
                    <a:pt x="548" y="550"/>
                  </a:lnTo>
                  <a:lnTo>
                    <a:pt x="544" y="550"/>
                  </a:lnTo>
                  <a:lnTo>
                    <a:pt x="544" y="550"/>
                  </a:lnTo>
                  <a:lnTo>
                    <a:pt x="544" y="550"/>
                  </a:lnTo>
                  <a:lnTo>
                    <a:pt x="540" y="550"/>
                  </a:lnTo>
                  <a:lnTo>
                    <a:pt x="540" y="550"/>
                  </a:lnTo>
                  <a:lnTo>
                    <a:pt x="540" y="550"/>
                  </a:lnTo>
                  <a:lnTo>
                    <a:pt x="538" y="552"/>
                  </a:lnTo>
                  <a:lnTo>
                    <a:pt x="538" y="552"/>
                  </a:lnTo>
                  <a:lnTo>
                    <a:pt x="538" y="552"/>
                  </a:lnTo>
                  <a:lnTo>
                    <a:pt x="536" y="554"/>
                  </a:lnTo>
                  <a:lnTo>
                    <a:pt x="536" y="554"/>
                  </a:lnTo>
                  <a:lnTo>
                    <a:pt x="536" y="556"/>
                  </a:lnTo>
                  <a:lnTo>
                    <a:pt x="538" y="558"/>
                  </a:lnTo>
                  <a:lnTo>
                    <a:pt x="538" y="558"/>
                  </a:lnTo>
                  <a:lnTo>
                    <a:pt x="540" y="558"/>
                  </a:lnTo>
                  <a:lnTo>
                    <a:pt x="540" y="562"/>
                  </a:lnTo>
                  <a:lnTo>
                    <a:pt x="540" y="570"/>
                  </a:lnTo>
                  <a:lnTo>
                    <a:pt x="540" y="576"/>
                  </a:lnTo>
                  <a:lnTo>
                    <a:pt x="540" y="584"/>
                  </a:lnTo>
                  <a:lnTo>
                    <a:pt x="540" y="584"/>
                  </a:lnTo>
                  <a:lnTo>
                    <a:pt x="540" y="584"/>
                  </a:lnTo>
                  <a:lnTo>
                    <a:pt x="542" y="590"/>
                  </a:lnTo>
                  <a:lnTo>
                    <a:pt x="542" y="590"/>
                  </a:lnTo>
                  <a:lnTo>
                    <a:pt x="542" y="590"/>
                  </a:lnTo>
                  <a:lnTo>
                    <a:pt x="542" y="594"/>
                  </a:lnTo>
                  <a:lnTo>
                    <a:pt x="542" y="594"/>
                  </a:lnTo>
                  <a:lnTo>
                    <a:pt x="544" y="594"/>
                  </a:lnTo>
                  <a:lnTo>
                    <a:pt x="544" y="596"/>
                  </a:lnTo>
                  <a:lnTo>
                    <a:pt x="544" y="596"/>
                  </a:lnTo>
                  <a:lnTo>
                    <a:pt x="546" y="596"/>
                  </a:lnTo>
                  <a:lnTo>
                    <a:pt x="546" y="598"/>
                  </a:lnTo>
                  <a:lnTo>
                    <a:pt x="546" y="598"/>
                  </a:lnTo>
                  <a:lnTo>
                    <a:pt x="548" y="600"/>
                  </a:lnTo>
                  <a:lnTo>
                    <a:pt x="550" y="600"/>
                  </a:lnTo>
                  <a:lnTo>
                    <a:pt x="550" y="600"/>
                  </a:lnTo>
                  <a:lnTo>
                    <a:pt x="550" y="602"/>
                  </a:lnTo>
                  <a:lnTo>
                    <a:pt x="554" y="602"/>
                  </a:lnTo>
                  <a:lnTo>
                    <a:pt x="554" y="602"/>
                  </a:lnTo>
                  <a:lnTo>
                    <a:pt x="554" y="602"/>
                  </a:lnTo>
                  <a:lnTo>
                    <a:pt x="556" y="602"/>
                  </a:lnTo>
                  <a:lnTo>
                    <a:pt x="556" y="604"/>
                  </a:lnTo>
                  <a:lnTo>
                    <a:pt x="558" y="606"/>
                  </a:lnTo>
                  <a:lnTo>
                    <a:pt x="558" y="606"/>
                  </a:lnTo>
                  <a:lnTo>
                    <a:pt x="558" y="606"/>
                  </a:lnTo>
                  <a:lnTo>
                    <a:pt x="562" y="608"/>
                  </a:lnTo>
                  <a:lnTo>
                    <a:pt x="564" y="610"/>
                  </a:lnTo>
                  <a:lnTo>
                    <a:pt x="564" y="610"/>
                  </a:lnTo>
                  <a:lnTo>
                    <a:pt x="564" y="610"/>
                  </a:lnTo>
                  <a:lnTo>
                    <a:pt x="562" y="612"/>
                  </a:lnTo>
                  <a:lnTo>
                    <a:pt x="562" y="612"/>
                  </a:lnTo>
                  <a:lnTo>
                    <a:pt x="562" y="612"/>
                  </a:lnTo>
                  <a:lnTo>
                    <a:pt x="562" y="614"/>
                  </a:lnTo>
                  <a:lnTo>
                    <a:pt x="562" y="614"/>
                  </a:lnTo>
                  <a:lnTo>
                    <a:pt x="562" y="614"/>
                  </a:lnTo>
                  <a:lnTo>
                    <a:pt x="564" y="616"/>
                  </a:lnTo>
                  <a:lnTo>
                    <a:pt x="564" y="616"/>
                  </a:lnTo>
                  <a:lnTo>
                    <a:pt x="564" y="616"/>
                  </a:lnTo>
                  <a:lnTo>
                    <a:pt x="566" y="616"/>
                  </a:lnTo>
                  <a:lnTo>
                    <a:pt x="568" y="616"/>
                  </a:lnTo>
                  <a:lnTo>
                    <a:pt x="570" y="618"/>
                  </a:lnTo>
                  <a:lnTo>
                    <a:pt x="572" y="618"/>
                  </a:lnTo>
                  <a:lnTo>
                    <a:pt x="574" y="618"/>
                  </a:lnTo>
                  <a:lnTo>
                    <a:pt x="578" y="620"/>
                  </a:lnTo>
                  <a:lnTo>
                    <a:pt x="580" y="622"/>
                  </a:lnTo>
                  <a:lnTo>
                    <a:pt x="588" y="624"/>
                  </a:lnTo>
                  <a:lnTo>
                    <a:pt x="594" y="626"/>
                  </a:lnTo>
                  <a:lnTo>
                    <a:pt x="598" y="628"/>
                  </a:lnTo>
                  <a:lnTo>
                    <a:pt x="600" y="628"/>
                  </a:lnTo>
                  <a:lnTo>
                    <a:pt x="600" y="630"/>
                  </a:lnTo>
                  <a:lnTo>
                    <a:pt x="602" y="634"/>
                  </a:lnTo>
                  <a:lnTo>
                    <a:pt x="602" y="638"/>
                  </a:lnTo>
                  <a:lnTo>
                    <a:pt x="602" y="642"/>
                  </a:lnTo>
                  <a:lnTo>
                    <a:pt x="602" y="646"/>
                  </a:lnTo>
                  <a:lnTo>
                    <a:pt x="604" y="650"/>
                  </a:lnTo>
                  <a:lnTo>
                    <a:pt x="604" y="650"/>
                  </a:lnTo>
                  <a:lnTo>
                    <a:pt x="604" y="650"/>
                  </a:lnTo>
                  <a:lnTo>
                    <a:pt x="604" y="654"/>
                  </a:lnTo>
                  <a:lnTo>
                    <a:pt x="604" y="654"/>
                  </a:lnTo>
                  <a:lnTo>
                    <a:pt x="604" y="654"/>
                  </a:lnTo>
                  <a:lnTo>
                    <a:pt x="606" y="658"/>
                  </a:lnTo>
                  <a:lnTo>
                    <a:pt x="606" y="658"/>
                  </a:lnTo>
                  <a:lnTo>
                    <a:pt x="610" y="660"/>
                  </a:lnTo>
                  <a:lnTo>
                    <a:pt x="612" y="658"/>
                  </a:lnTo>
                  <a:lnTo>
                    <a:pt x="616" y="658"/>
                  </a:lnTo>
                  <a:lnTo>
                    <a:pt x="620" y="658"/>
                  </a:lnTo>
                  <a:lnTo>
                    <a:pt x="624" y="656"/>
                  </a:lnTo>
                  <a:lnTo>
                    <a:pt x="628" y="656"/>
                  </a:lnTo>
                  <a:lnTo>
                    <a:pt x="630" y="656"/>
                  </a:lnTo>
                  <a:lnTo>
                    <a:pt x="632" y="656"/>
                  </a:lnTo>
                  <a:lnTo>
                    <a:pt x="632" y="656"/>
                  </a:lnTo>
                  <a:lnTo>
                    <a:pt x="632" y="656"/>
                  </a:lnTo>
                  <a:lnTo>
                    <a:pt x="634" y="654"/>
                  </a:lnTo>
                  <a:lnTo>
                    <a:pt x="636" y="654"/>
                  </a:lnTo>
                  <a:lnTo>
                    <a:pt x="638" y="652"/>
                  </a:lnTo>
                  <a:lnTo>
                    <a:pt x="640" y="648"/>
                  </a:lnTo>
                  <a:lnTo>
                    <a:pt x="640" y="648"/>
                  </a:lnTo>
                  <a:lnTo>
                    <a:pt x="642" y="648"/>
                  </a:lnTo>
                  <a:lnTo>
                    <a:pt x="642" y="646"/>
                  </a:lnTo>
                  <a:lnTo>
                    <a:pt x="644" y="646"/>
                  </a:lnTo>
                  <a:lnTo>
                    <a:pt x="644" y="646"/>
                  </a:lnTo>
                  <a:lnTo>
                    <a:pt x="646" y="646"/>
                  </a:lnTo>
                  <a:lnTo>
                    <a:pt x="650" y="644"/>
                  </a:lnTo>
                  <a:lnTo>
                    <a:pt x="654" y="640"/>
                  </a:lnTo>
                  <a:lnTo>
                    <a:pt x="654" y="640"/>
                  </a:lnTo>
                  <a:lnTo>
                    <a:pt x="654" y="642"/>
                  </a:lnTo>
                  <a:lnTo>
                    <a:pt x="654" y="642"/>
                  </a:lnTo>
                  <a:lnTo>
                    <a:pt x="654" y="642"/>
                  </a:lnTo>
                  <a:lnTo>
                    <a:pt x="654" y="646"/>
                  </a:lnTo>
                  <a:lnTo>
                    <a:pt x="654" y="646"/>
                  </a:lnTo>
                  <a:lnTo>
                    <a:pt x="654" y="646"/>
                  </a:lnTo>
                  <a:lnTo>
                    <a:pt x="656" y="648"/>
                  </a:lnTo>
                  <a:lnTo>
                    <a:pt x="656" y="648"/>
                  </a:lnTo>
                  <a:lnTo>
                    <a:pt x="656" y="648"/>
                  </a:lnTo>
                  <a:lnTo>
                    <a:pt x="658" y="652"/>
                  </a:lnTo>
                  <a:lnTo>
                    <a:pt x="658" y="652"/>
                  </a:lnTo>
                  <a:lnTo>
                    <a:pt x="658" y="652"/>
                  </a:lnTo>
                  <a:lnTo>
                    <a:pt x="660" y="654"/>
                  </a:lnTo>
                  <a:lnTo>
                    <a:pt x="662" y="656"/>
                  </a:lnTo>
                  <a:lnTo>
                    <a:pt x="662" y="656"/>
                  </a:lnTo>
                  <a:lnTo>
                    <a:pt x="662" y="656"/>
                  </a:lnTo>
                  <a:lnTo>
                    <a:pt x="668" y="660"/>
                  </a:lnTo>
                  <a:lnTo>
                    <a:pt x="668" y="660"/>
                  </a:lnTo>
                  <a:lnTo>
                    <a:pt x="668" y="660"/>
                  </a:lnTo>
                  <a:lnTo>
                    <a:pt x="674" y="662"/>
                  </a:lnTo>
                  <a:lnTo>
                    <a:pt x="680" y="664"/>
                  </a:lnTo>
                  <a:lnTo>
                    <a:pt x="686" y="664"/>
                  </a:lnTo>
                  <a:lnTo>
                    <a:pt x="688" y="666"/>
                  </a:lnTo>
                  <a:lnTo>
                    <a:pt x="690" y="666"/>
                  </a:lnTo>
                  <a:lnTo>
                    <a:pt x="690" y="666"/>
                  </a:lnTo>
                  <a:lnTo>
                    <a:pt x="692" y="668"/>
                  </a:lnTo>
                  <a:lnTo>
                    <a:pt x="696" y="668"/>
                  </a:lnTo>
                  <a:lnTo>
                    <a:pt x="696" y="668"/>
                  </a:lnTo>
                  <a:lnTo>
                    <a:pt x="696" y="668"/>
                  </a:lnTo>
                  <a:lnTo>
                    <a:pt x="702" y="668"/>
                  </a:lnTo>
                  <a:lnTo>
                    <a:pt x="706" y="668"/>
                  </a:lnTo>
                  <a:lnTo>
                    <a:pt x="708" y="666"/>
                  </a:lnTo>
                  <a:lnTo>
                    <a:pt x="708" y="666"/>
                  </a:lnTo>
                  <a:lnTo>
                    <a:pt x="710" y="666"/>
                  </a:lnTo>
                  <a:lnTo>
                    <a:pt x="712" y="664"/>
                  </a:lnTo>
                  <a:lnTo>
                    <a:pt x="710" y="656"/>
                  </a:lnTo>
                  <a:lnTo>
                    <a:pt x="710" y="650"/>
                  </a:lnTo>
                  <a:lnTo>
                    <a:pt x="710" y="642"/>
                  </a:lnTo>
                  <a:lnTo>
                    <a:pt x="708" y="636"/>
                  </a:lnTo>
                  <a:lnTo>
                    <a:pt x="708" y="636"/>
                  </a:lnTo>
                  <a:lnTo>
                    <a:pt x="708" y="636"/>
                  </a:lnTo>
                  <a:lnTo>
                    <a:pt x="706" y="630"/>
                  </a:lnTo>
                  <a:lnTo>
                    <a:pt x="706" y="630"/>
                  </a:lnTo>
                  <a:lnTo>
                    <a:pt x="706" y="630"/>
                  </a:lnTo>
                  <a:lnTo>
                    <a:pt x="704" y="626"/>
                  </a:lnTo>
                  <a:lnTo>
                    <a:pt x="704" y="626"/>
                  </a:lnTo>
                  <a:lnTo>
                    <a:pt x="704" y="624"/>
                  </a:lnTo>
                  <a:lnTo>
                    <a:pt x="702" y="622"/>
                  </a:lnTo>
                  <a:lnTo>
                    <a:pt x="698" y="620"/>
                  </a:lnTo>
                  <a:lnTo>
                    <a:pt x="696" y="618"/>
                  </a:lnTo>
                  <a:lnTo>
                    <a:pt x="692" y="616"/>
                  </a:lnTo>
                  <a:lnTo>
                    <a:pt x="692" y="614"/>
                  </a:lnTo>
                  <a:lnTo>
                    <a:pt x="690" y="612"/>
                  </a:lnTo>
                  <a:lnTo>
                    <a:pt x="690" y="610"/>
                  </a:lnTo>
                  <a:lnTo>
                    <a:pt x="690" y="610"/>
                  </a:lnTo>
                  <a:lnTo>
                    <a:pt x="690" y="610"/>
                  </a:lnTo>
                  <a:lnTo>
                    <a:pt x="692" y="608"/>
                  </a:lnTo>
                  <a:lnTo>
                    <a:pt x="694" y="608"/>
                  </a:lnTo>
                  <a:lnTo>
                    <a:pt x="696" y="606"/>
                  </a:lnTo>
                  <a:lnTo>
                    <a:pt x="696" y="606"/>
                  </a:lnTo>
                  <a:lnTo>
                    <a:pt x="698" y="602"/>
                  </a:lnTo>
                  <a:lnTo>
                    <a:pt x="698" y="600"/>
                  </a:lnTo>
                  <a:lnTo>
                    <a:pt x="698" y="598"/>
                  </a:lnTo>
                  <a:lnTo>
                    <a:pt x="696" y="596"/>
                  </a:lnTo>
                  <a:lnTo>
                    <a:pt x="696" y="594"/>
                  </a:lnTo>
                  <a:lnTo>
                    <a:pt x="696" y="592"/>
                  </a:lnTo>
                  <a:lnTo>
                    <a:pt x="696" y="590"/>
                  </a:lnTo>
                  <a:lnTo>
                    <a:pt x="696" y="590"/>
                  </a:lnTo>
                  <a:lnTo>
                    <a:pt x="696" y="590"/>
                  </a:lnTo>
                  <a:lnTo>
                    <a:pt x="696" y="588"/>
                  </a:lnTo>
                  <a:lnTo>
                    <a:pt x="696" y="588"/>
                  </a:lnTo>
                  <a:lnTo>
                    <a:pt x="696" y="588"/>
                  </a:lnTo>
                  <a:lnTo>
                    <a:pt x="694" y="588"/>
                  </a:lnTo>
                  <a:lnTo>
                    <a:pt x="694" y="586"/>
                  </a:lnTo>
                  <a:lnTo>
                    <a:pt x="692" y="584"/>
                  </a:lnTo>
                  <a:lnTo>
                    <a:pt x="692" y="584"/>
                  </a:lnTo>
                  <a:lnTo>
                    <a:pt x="694" y="582"/>
                  </a:lnTo>
                  <a:lnTo>
                    <a:pt x="694" y="582"/>
                  </a:lnTo>
                  <a:lnTo>
                    <a:pt x="694" y="582"/>
                  </a:lnTo>
                  <a:lnTo>
                    <a:pt x="696" y="582"/>
                  </a:lnTo>
                  <a:lnTo>
                    <a:pt x="700" y="582"/>
                  </a:lnTo>
                  <a:lnTo>
                    <a:pt x="704" y="584"/>
                  </a:lnTo>
                  <a:lnTo>
                    <a:pt x="706" y="586"/>
                  </a:lnTo>
                  <a:lnTo>
                    <a:pt x="710" y="588"/>
                  </a:lnTo>
                  <a:lnTo>
                    <a:pt x="712" y="590"/>
                  </a:lnTo>
                  <a:lnTo>
                    <a:pt x="714" y="592"/>
                  </a:lnTo>
                  <a:lnTo>
                    <a:pt x="716" y="594"/>
                  </a:lnTo>
                  <a:lnTo>
                    <a:pt x="716" y="596"/>
                  </a:lnTo>
                  <a:lnTo>
                    <a:pt x="718" y="598"/>
                  </a:lnTo>
                  <a:lnTo>
                    <a:pt x="718" y="602"/>
                  </a:lnTo>
                  <a:lnTo>
                    <a:pt x="718" y="608"/>
                  </a:lnTo>
                  <a:lnTo>
                    <a:pt x="720" y="618"/>
                  </a:lnTo>
                  <a:lnTo>
                    <a:pt x="720" y="624"/>
                  </a:lnTo>
                  <a:lnTo>
                    <a:pt x="720" y="630"/>
                  </a:lnTo>
                  <a:lnTo>
                    <a:pt x="720" y="636"/>
                  </a:lnTo>
                  <a:lnTo>
                    <a:pt x="722" y="642"/>
                  </a:lnTo>
                  <a:lnTo>
                    <a:pt x="722" y="646"/>
                  </a:lnTo>
                  <a:lnTo>
                    <a:pt x="722" y="652"/>
                  </a:lnTo>
                  <a:lnTo>
                    <a:pt x="724" y="656"/>
                  </a:lnTo>
                  <a:lnTo>
                    <a:pt x="724" y="660"/>
                  </a:lnTo>
                  <a:lnTo>
                    <a:pt x="724" y="664"/>
                  </a:lnTo>
                  <a:lnTo>
                    <a:pt x="726" y="670"/>
                  </a:lnTo>
                  <a:lnTo>
                    <a:pt x="728" y="674"/>
                  </a:lnTo>
                  <a:lnTo>
                    <a:pt x="732" y="678"/>
                  </a:lnTo>
                  <a:lnTo>
                    <a:pt x="732" y="678"/>
                  </a:lnTo>
                  <a:lnTo>
                    <a:pt x="734" y="680"/>
                  </a:lnTo>
                  <a:lnTo>
                    <a:pt x="738" y="680"/>
                  </a:lnTo>
                  <a:lnTo>
                    <a:pt x="744" y="680"/>
                  </a:lnTo>
                  <a:lnTo>
                    <a:pt x="748" y="680"/>
                  </a:lnTo>
                  <a:lnTo>
                    <a:pt x="754" y="680"/>
                  </a:lnTo>
                  <a:lnTo>
                    <a:pt x="758" y="680"/>
                  </a:lnTo>
                  <a:lnTo>
                    <a:pt x="758" y="680"/>
                  </a:lnTo>
                  <a:lnTo>
                    <a:pt x="760" y="680"/>
                  </a:lnTo>
                  <a:lnTo>
                    <a:pt x="764" y="678"/>
                  </a:lnTo>
                  <a:lnTo>
                    <a:pt x="764" y="678"/>
                  </a:lnTo>
                  <a:lnTo>
                    <a:pt x="764" y="678"/>
                  </a:lnTo>
                  <a:lnTo>
                    <a:pt x="768" y="676"/>
                  </a:lnTo>
                  <a:lnTo>
                    <a:pt x="768" y="676"/>
                  </a:lnTo>
                  <a:lnTo>
                    <a:pt x="770" y="676"/>
                  </a:lnTo>
                  <a:lnTo>
                    <a:pt x="772" y="672"/>
                  </a:lnTo>
                  <a:lnTo>
                    <a:pt x="772" y="672"/>
                  </a:lnTo>
                  <a:lnTo>
                    <a:pt x="774" y="670"/>
                  </a:lnTo>
                  <a:lnTo>
                    <a:pt x="772" y="668"/>
                  </a:lnTo>
                  <a:lnTo>
                    <a:pt x="772" y="666"/>
                  </a:lnTo>
                  <a:lnTo>
                    <a:pt x="772" y="664"/>
                  </a:lnTo>
                  <a:lnTo>
                    <a:pt x="774" y="666"/>
                  </a:lnTo>
                  <a:lnTo>
                    <a:pt x="776" y="668"/>
                  </a:lnTo>
                  <a:lnTo>
                    <a:pt x="778" y="672"/>
                  </a:lnTo>
                  <a:lnTo>
                    <a:pt x="780" y="676"/>
                  </a:lnTo>
                  <a:lnTo>
                    <a:pt x="782" y="678"/>
                  </a:lnTo>
                  <a:lnTo>
                    <a:pt x="782" y="678"/>
                  </a:lnTo>
                  <a:lnTo>
                    <a:pt x="782" y="680"/>
                  </a:lnTo>
                  <a:lnTo>
                    <a:pt x="784" y="680"/>
                  </a:lnTo>
                  <a:lnTo>
                    <a:pt x="784" y="680"/>
                  </a:lnTo>
                  <a:lnTo>
                    <a:pt x="784" y="680"/>
                  </a:lnTo>
                  <a:lnTo>
                    <a:pt x="784" y="682"/>
                  </a:lnTo>
                  <a:lnTo>
                    <a:pt x="784" y="682"/>
                  </a:lnTo>
                  <a:lnTo>
                    <a:pt x="786" y="682"/>
                  </a:lnTo>
                  <a:lnTo>
                    <a:pt x="790" y="682"/>
                  </a:lnTo>
                  <a:lnTo>
                    <a:pt x="790" y="682"/>
                  </a:lnTo>
                  <a:lnTo>
                    <a:pt x="790" y="684"/>
                  </a:lnTo>
                  <a:lnTo>
                    <a:pt x="794" y="684"/>
                  </a:lnTo>
                  <a:lnTo>
                    <a:pt x="800" y="684"/>
                  </a:lnTo>
                  <a:lnTo>
                    <a:pt x="804" y="684"/>
                  </a:lnTo>
                  <a:lnTo>
                    <a:pt x="814" y="684"/>
                  </a:lnTo>
                  <a:lnTo>
                    <a:pt x="818" y="684"/>
                  </a:lnTo>
                  <a:lnTo>
                    <a:pt x="822" y="684"/>
                  </a:lnTo>
                  <a:lnTo>
                    <a:pt x="826" y="684"/>
                  </a:lnTo>
                  <a:lnTo>
                    <a:pt x="832" y="684"/>
                  </a:lnTo>
                  <a:lnTo>
                    <a:pt x="840" y="684"/>
                  </a:lnTo>
                  <a:lnTo>
                    <a:pt x="844" y="684"/>
                  </a:lnTo>
                  <a:lnTo>
                    <a:pt x="850" y="684"/>
                  </a:lnTo>
                  <a:lnTo>
                    <a:pt x="854" y="684"/>
                  </a:lnTo>
                  <a:lnTo>
                    <a:pt x="854" y="684"/>
                  </a:lnTo>
                  <a:lnTo>
                    <a:pt x="854" y="682"/>
                  </a:lnTo>
                  <a:lnTo>
                    <a:pt x="858" y="682"/>
                  </a:lnTo>
                  <a:lnTo>
                    <a:pt x="858" y="682"/>
                  </a:lnTo>
                  <a:lnTo>
                    <a:pt x="860" y="682"/>
                  </a:lnTo>
                  <a:lnTo>
                    <a:pt x="860" y="680"/>
                  </a:lnTo>
                  <a:lnTo>
                    <a:pt x="860" y="680"/>
                  </a:lnTo>
                  <a:lnTo>
                    <a:pt x="862" y="678"/>
                  </a:lnTo>
                  <a:lnTo>
                    <a:pt x="862" y="676"/>
                  </a:lnTo>
                  <a:lnTo>
                    <a:pt x="862" y="676"/>
                  </a:lnTo>
                  <a:lnTo>
                    <a:pt x="862" y="676"/>
                  </a:lnTo>
                  <a:lnTo>
                    <a:pt x="864" y="674"/>
                  </a:lnTo>
                  <a:lnTo>
                    <a:pt x="864" y="672"/>
                  </a:lnTo>
                  <a:lnTo>
                    <a:pt x="866" y="674"/>
                  </a:lnTo>
                  <a:lnTo>
                    <a:pt x="866" y="676"/>
                  </a:lnTo>
                  <a:lnTo>
                    <a:pt x="868" y="678"/>
                  </a:lnTo>
                  <a:lnTo>
                    <a:pt x="870" y="680"/>
                  </a:lnTo>
                  <a:lnTo>
                    <a:pt x="870" y="680"/>
                  </a:lnTo>
                  <a:lnTo>
                    <a:pt x="872" y="680"/>
                  </a:lnTo>
                  <a:lnTo>
                    <a:pt x="874" y="682"/>
                  </a:lnTo>
                  <a:lnTo>
                    <a:pt x="874" y="682"/>
                  </a:lnTo>
                  <a:lnTo>
                    <a:pt x="876" y="682"/>
                  </a:lnTo>
                  <a:lnTo>
                    <a:pt x="880" y="682"/>
                  </a:lnTo>
                  <a:lnTo>
                    <a:pt x="884" y="680"/>
                  </a:lnTo>
                  <a:lnTo>
                    <a:pt x="888" y="680"/>
                  </a:lnTo>
                  <a:lnTo>
                    <a:pt x="892" y="678"/>
                  </a:lnTo>
                  <a:lnTo>
                    <a:pt x="892" y="678"/>
                  </a:lnTo>
                  <a:lnTo>
                    <a:pt x="892" y="678"/>
                  </a:lnTo>
                  <a:lnTo>
                    <a:pt x="900" y="672"/>
                  </a:lnTo>
                  <a:lnTo>
                    <a:pt x="902" y="670"/>
                  </a:lnTo>
                  <a:lnTo>
                    <a:pt x="906" y="668"/>
                  </a:lnTo>
                  <a:lnTo>
                    <a:pt x="906" y="668"/>
                  </a:lnTo>
                  <a:lnTo>
                    <a:pt x="908" y="666"/>
                  </a:lnTo>
                  <a:lnTo>
                    <a:pt x="908" y="662"/>
                  </a:lnTo>
                  <a:lnTo>
                    <a:pt x="910" y="660"/>
                  </a:lnTo>
                  <a:lnTo>
                    <a:pt x="910" y="660"/>
                  </a:lnTo>
                  <a:lnTo>
                    <a:pt x="910" y="660"/>
                  </a:lnTo>
                  <a:lnTo>
                    <a:pt x="910" y="658"/>
                  </a:lnTo>
                  <a:lnTo>
                    <a:pt x="912" y="658"/>
                  </a:lnTo>
                  <a:lnTo>
                    <a:pt x="914" y="656"/>
                  </a:lnTo>
                  <a:lnTo>
                    <a:pt x="916" y="654"/>
                  </a:lnTo>
                  <a:lnTo>
                    <a:pt x="916" y="654"/>
                  </a:lnTo>
                  <a:lnTo>
                    <a:pt x="918" y="652"/>
                  </a:lnTo>
                  <a:lnTo>
                    <a:pt x="918" y="646"/>
                  </a:lnTo>
                  <a:lnTo>
                    <a:pt x="918" y="646"/>
                  </a:lnTo>
                  <a:lnTo>
                    <a:pt x="918" y="646"/>
                  </a:lnTo>
                  <a:lnTo>
                    <a:pt x="916" y="640"/>
                  </a:lnTo>
                  <a:lnTo>
                    <a:pt x="916" y="640"/>
                  </a:lnTo>
                  <a:lnTo>
                    <a:pt x="916" y="638"/>
                  </a:lnTo>
                  <a:lnTo>
                    <a:pt x="914" y="632"/>
                  </a:lnTo>
                  <a:lnTo>
                    <a:pt x="914" y="632"/>
                  </a:lnTo>
                  <a:lnTo>
                    <a:pt x="914" y="632"/>
                  </a:lnTo>
                  <a:lnTo>
                    <a:pt x="912" y="626"/>
                  </a:lnTo>
                  <a:lnTo>
                    <a:pt x="908" y="620"/>
                  </a:lnTo>
                  <a:lnTo>
                    <a:pt x="904" y="614"/>
                  </a:lnTo>
                  <a:lnTo>
                    <a:pt x="898" y="610"/>
                  </a:lnTo>
                  <a:lnTo>
                    <a:pt x="894" y="606"/>
                  </a:lnTo>
                  <a:lnTo>
                    <a:pt x="894" y="606"/>
                  </a:lnTo>
                  <a:lnTo>
                    <a:pt x="892" y="606"/>
                  </a:lnTo>
                  <a:lnTo>
                    <a:pt x="886" y="606"/>
                  </a:lnTo>
                  <a:lnTo>
                    <a:pt x="880" y="606"/>
                  </a:lnTo>
                  <a:lnTo>
                    <a:pt x="876" y="606"/>
                  </a:lnTo>
                  <a:lnTo>
                    <a:pt x="870" y="606"/>
                  </a:lnTo>
                  <a:lnTo>
                    <a:pt x="868" y="606"/>
                  </a:lnTo>
                  <a:lnTo>
                    <a:pt x="864" y="606"/>
                  </a:lnTo>
                  <a:lnTo>
                    <a:pt x="858" y="606"/>
                  </a:lnTo>
                  <a:lnTo>
                    <a:pt x="854" y="606"/>
                  </a:lnTo>
                  <a:lnTo>
                    <a:pt x="850" y="608"/>
                  </a:lnTo>
                  <a:lnTo>
                    <a:pt x="846" y="608"/>
                  </a:lnTo>
                  <a:lnTo>
                    <a:pt x="844" y="608"/>
                  </a:lnTo>
                  <a:lnTo>
                    <a:pt x="840" y="608"/>
                  </a:lnTo>
                  <a:lnTo>
                    <a:pt x="836" y="610"/>
                  </a:lnTo>
                  <a:lnTo>
                    <a:pt x="836" y="610"/>
                  </a:lnTo>
                  <a:lnTo>
                    <a:pt x="836" y="610"/>
                  </a:lnTo>
                  <a:lnTo>
                    <a:pt x="832" y="612"/>
                  </a:lnTo>
                  <a:lnTo>
                    <a:pt x="826" y="616"/>
                  </a:lnTo>
                  <a:lnTo>
                    <a:pt x="822" y="618"/>
                  </a:lnTo>
                  <a:lnTo>
                    <a:pt x="818" y="622"/>
                  </a:lnTo>
                  <a:lnTo>
                    <a:pt x="818" y="622"/>
                  </a:lnTo>
                  <a:lnTo>
                    <a:pt x="816" y="622"/>
                  </a:lnTo>
                  <a:lnTo>
                    <a:pt x="816" y="624"/>
                  </a:lnTo>
                  <a:lnTo>
                    <a:pt x="814" y="626"/>
                  </a:lnTo>
                  <a:lnTo>
                    <a:pt x="814" y="628"/>
                  </a:lnTo>
                  <a:lnTo>
                    <a:pt x="812" y="628"/>
                  </a:lnTo>
                  <a:lnTo>
                    <a:pt x="812" y="628"/>
                  </a:lnTo>
                  <a:lnTo>
                    <a:pt x="810" y="628"/>
                  </a:lnTo>
                  <a:lnTo>
                    <a:pt x="808" y="630"/>
                  </a:lnTo>
                  <a:lnTo>
                    <a:pt x="806" y="628"/>
                  </a:lnTo>
                  <a:lnTo>
                    <a:pt x="806" y="628"/>
                  </a:lnTo>
                  <a:lnTo>
                    <a:pt x="804" y="628"/>
                  </a:lnTo>
                  <a:lnTo>
                    <a:pt x="802" y="626"/>
                  </a:lnTo>
                  <a:lnTo>
                    <a:pt x="800" y="624"/>
                  </a:lnTo>
                  <a:lnTo>
                    <a:pt x="798" y="622"/>
                  </a:lnTo>
                  <a:lnTo>
                    <a:pt x="796" y="620"/>
                  </a:lnTo>
                  <a:lnTo>
                    <a:pt x="796" y="620"/>
                  </a:lnTo>
                  <a:lnTo>
                    <a:pt x="794" y="620"/>
                  </a:lnTo>
                  <a:lnTo>
                    <a:pt x="788" y="620"/>
                  </a:lnTo>
                  <a:lnTo>
                    <a:pt x="784" y="620"/>
                  </a:lnTo>
                  <a:lnTo>
                    <a:pt x="780" y="620"/>
                  </a:lnTo>
                  <a:lnTo>
                    <a:pt x="778" y="620"/>
                  </a:lnTo>
                  <a:lnTo>
                    <a:pt x="776" y="620"/>
                  </a:lnTo>
                  <a:lnTo>
                    <a:pt x="774" y="618"/>
                  </a:lnTo>
                  <a:lnTo>
                    <a:pt x="772" y="616"/>
                  </a:lnTo>
                  <a:lnTo>
                    <a:pt x="772" y="614"/>
                  </a:lnTo>
                  <a:lnTo>
                    <a:pt x="772" y="614"/>
                  </a:lnTo>
                  <a:lnTo>
                    <a:pt x="770" y="610"/>
                  </a:lnTo>
                  <a:lnTo>
                    <a:pt x="768" y="606"/>
                  </a:lnTo>
                  <a:lnTo>
                    <a:pt x="766" y="602"/>
                  </a:lnTo>
                  <a:lnTo>
                    <a:pt x="766" y="602"/>
                  </a:lnTo>
                  <a:lnTo>
                    <a:pt x="766" y="602"/>
                  </a:lnTo>
                  <a:lnTo>
                    <a:pt x="764" y="598"/>
                  </a:lnTo>
                  <a:lnTo>
                    <a:pt x="764" y="598"/>
                  </a:lnTo>
                  <a:lnTo>
                    <a:pt x="764" y="598"/>
                  </a:lnTo>
                  <a:lnTo>
                    <a:pt x="760" y="596"/>
                  </a:lnTo>
                  <a:lnTo>
                    <a:pt x="758" y="594"/>
                  </a:lnTo>
                  <a:lnTo>
                    <a:pt x="754" y="592"/>
                  </a:lnTo>
                  <a:lnTo>
                    <a:pt x="754" y="592"/>
                  </a:lnTo>
                  <a:lnTo>
                    <a:pt x="754" y="590"/>
                  </a:lnTo>
                  <a:lnTo>
                    <a:pt x="754" y="588"/>
                  </a:lnTo>
                  <a:lnTo>
                    <a:pt x="754" y="588"/>
                  </a:lnTo>
                  <a:lnTo>
                    <a:pt x="756" y="586"/>
                  </a:lnTo>
                  <a:lnTo>
                    <a:pt x="756" y="584"/>
                  </a:lnTo>
                  <a:lnTo>
                    <a:pt x="758" y="584"/>
                  </a:lnTo>
                  <a:lnTo>
                    <a:pt x="760" y="582"/>
                  </a:lnTo>
                  <a:lnTo>
                    <a:pt x="762" y="582"/>
                  </a:lnTo>
                  <a:lnTo>
                    <a:pt x="762" y="582"/>
                  </a:lnTo>
                  <a:lnTo>
                    <a:pt x="764" y="580"/>
                  </a:lnTo>
                  <a:lnTo>
                    <a:pt x="766" y="578"/>
                  </a:lnTo>
                  <a:lnTo>
                    <a:pt x="766" y="576"/>
                  </a:lnTo>
                  <a:lnTo>
                    <a:pt x="768" y="574"/>
                  </a:lnTo>
                  <a:lnTo>
                    <a:pt x="770" y="574"/>
                  </a:lnTo>
                  <a:lnTo>
                    <a:pt x="772" y="574"/>
                  </a:lnTo>
                  <a:lnTo>
                    <a:pt x="774" y="572"/>
                  </a:lnTo>
                  <a:lnTo>
                    <a:pt x="776" y="574"/>
                  </a:lnTo>
                  <a:lnTo>
                    <a:pt x="778" y="574"/>
                  </a:lnTo>
                  <a:lnTo>
                    <a:pt x="784" y="574"/>
                  </a:lnTo>
                  <a:lnTo>
                    <a:pt x="788" y="574"/>
                  </a:lnTo>
                  <a:lnTo>
                    <a:pt x="792" y="576"/>
                  </a:lnTo>
                  <a:lnTo>
                    <a:pt x="794" y="576"/>
                  </a:lnTo>
                  <a:lnTo>
                    <a:pt x="794" y="576"/>
                  </a:lnTo>
                  <a:lnTo>
                    <a:pt x="796" y="576"/>
                  </a:lnTo>
                  <a:lnTo>
                    <a:pt x="798" y="574"/>
                  </a:lnTo>
                  <a:lnTo>
                    <a:pt x="798" y="574"/>
                  </a:lnTo>
                  <a:lnTo>
                    <a:pt x="800" y="574"/>
                  </a:lnTo>
                  <a:lnTo>
                    <a:pt x="802" y="574"/>
                  </a:lnTo>
                  <a:lnTo>
                    <a:pt x="802" y="574"/>
                  </a:lnTo>
                  <a:lnTo>
                    <a:pt x="804" y="574"/>
                  </a:lnTo>
                  <a:lnTo>
                    <a:pt x="806" y="572"/>
                  </a:lnTo>
                  <a:lnTo>
                    <a:pt x="812" y="574"/>
                  </a:lnTo>
                  <a:lnTo>
                    <a:pt x="818" y="576"/>
                  </a:lnTo>
                  <a:lnTo>
                    <a:pt x="818" y="576"/>
                  </a:lnTo>
                  <a:lnTo>
                    <a:pt x="820" y="576"/>
                  </a:lnTo>
                  <a:lnTo>
                    <a:pt x="828" y="574"/>
                  </a:lnTo>
                  <a:lnTo>
                    <a:pt x="834" y="572"/>
                  </a:lnTo>
                  <a:lnTo>
                    <a:pt x="836" y="572"/>
                  </a:lnTo>
                  <a:lnTo>
                    <a:pt x="838" y="572"/>
                  </a:lnTo>
                  <a:lnTo>
                    <a:pt x="840" y="574"/>
                  </a:lnTo>
                  <a:lnTo>
                    <a:pt x="840" y="574"/>
                  </a:lnTo>
                  <a:lnTo>
                    <a:pt x="840" y="574"/>
                  </a:lnTo>
                  <a:lnTo>
                    <a:pt x="842" y="574"/>
                  </a:lnTo>
                  <a:lnTo>
                    <a:pt x="844" y="574"/>
                  </a:lnTo>
                  <a:lnTo>
                    <a:pt x="846" y="574"/>
                  </a:lnTo>
                  <a:lnTo>
                    <a:pt x="848" y="574"/>
                  </a:lnTo>
                  <a:lnTo>
                    <a:pt x="852" y="574"/>
                  </a:lnTo>
                  <a:lnTo>
                    <a:pt x="854" y="572"/>
                  </a:lnTo>
                  <a:lnTo>
                    <a:pt x="862" y="572"/>
                  </a:lnTo>
                  <a:lnTo>
                    <a:pt x="864" y="572"/>
                  </a:lnTo>
                  <a:lnTo>
                    <a:pt x="868" y="572"/>
                  </a:lnTo>
                  <a:lnTo>
                    <a:pt x="870" y="570"/>
                  </a:lnTo>
                  <a:lnTo>
                    <a:pt x="870" y="570"/>
                  </a:lnTo>
                  <a:lnTo>
                    <a:pt x="870" y="570"/>
                  </a:lnTo>
                  <a:lnTo>
                    <a:pt x="872" y="568"/>
                  </a:lnTo>
                  <a:lnTo>
                    <a:pt x="872" y="566"/>
                  </a:lnTo>
                  <a:lnTo>
                    <a:pt x="874" y="564"/>
                  </a:lnTo>
                  <a:lnTo>
                    <a:pt x="874" y="562"/>
                  </a:lnTo>
                  <a:lnTo>
                    <a:pt x="876" y="562"/>
                  </a:lnTo>
                  <a:lnTo>
                    <a:pt x="878" y="562"/>
                  </a:lnTo>
                  <a:lnTo>
                    <a:pt x="880" y="562"/>
                  </a:lnTo>
                  <a:lnTo>
                    <a:pt x="884" y="564"/>
                  </a:lnTo>
                  <a:lnTo>
                    <a:pt x="886" y="564"/>
                  </a:lnTo>
                  <a:lnTo>
                    <a:pt x="888" y="566"/>
                  </a:lnTo>
                  <a:lnTo>
                    <a:pt x="888" y="568"/>
                  </a:lnTo>
                  <a:lnTo>
                    <a:pt x="890" y="572"/>
                  </a:lnTo>
                  <a:lnTo>
                    <a:pt x="892" y="576"/>
                  </a:lnTo>
                  <a:lnTo>
                    <a:pt x="892" y="578"/>
                  </a:lnTo>
                  <a:lnTo>
                    <a:pt x="894" y="580"/>
                  </a:lnTo>
                  <a:lnTo>
                    <a:pt x="894" y="580"/>
                  </a:lnTo>
                  <a:lnTo>
                    <a:pt x="894" y="582"/>
                  </a:lnTo>
                  <a:lnTo>
                    <a:pt x="896" y="582"/>
                  </a:lnTo>
                  <a:lnTo>
                    <a:pt x="902" y="582"/>
                  </a:lnTo>
                  <a:lnTo>
                    <a:pt x="906" y="582"/>
                  </a:lnTo>
                  <a:lnTo>
                    <a:pt x="906" y="582"/>
                  </a:lnTo>
                  <a:lnTo>
                    <a:pt x="906" y="582"/>
                  </a:lnTo>
                  <a:lnTo>
                    <a:pt x="910" y="582"/>
                  </a:lnTo>
                  <a:lnTo>
                    <a:pt x="910" y="582"/>
                  </a:lnTo>
                  <a:lnTo>
                    <a:pt x="912" y="580"/>
                  </a:lnTo>
                  <a:lnTo>
                    <a:pt x="912" y="580"/>
                  </a:lnTo>
                  <a:lnTo>
                    <a:pt x="912" y="580"/>
                  </a:lnTo>
                  <a:lnTo>
                    <a:pt x="912" y="580"/>
                  </a:lnTo>
                  <a:lnTo>
                    <a:pt x="914" y="578"/>
                  </a:lnTo>
                  <a:lnTo>
                    <a:pt x="914" y="576"/>
                  </a:lnTo>
                  <a:lnTo>
                    <a:pt x="914" y="574"/>
                  </a:lnTo>
                  <a:lnTo>
                    <a:pt x="914" y="572"/>
                  </a:lnTo>
                  <a:lnTo>
                    <a:pt x="914" y="570"/>
                  </a:lnTo>
                  <a:lnTo>
                    <a:pt x="914" y="570"/>
                  </a:lnTo>
                  <a:lnTo>
                    <a:pt x="914" y="570"/>
                  </a:lnTo>
                  <a:lnTo>
                    <a:pt x="916" y="568"/>
                  </a:lnTo>
                  <a:lnTo>
                    <a:pt x="918" y="568"/>
                  </a:lnTo>
                  <a:lnTo>
                    <a:pt x="922" y="568"/>
                  </a:lnTo>
                  <a:lnTo>
                    <a:pt x="924" y="566"/>
                  </a:lnTo>
                  <a:lnTo>
                    <a:pt x="924" y="566"/>
                  </a:lnTo>
                  <a:lnTo>
                    <a:pt x="924" y="566"/>
                  </a:lnTo>
                  <a:lnTo>
                    <a:pt x="928" y="564"/>
                  </a:lnTo>
                  <a:lnTo>
                    <a:pt x="928" y="564"/>
                  </a:lnTo>
                  <a:lnTo>
                    <a:pt x="928" y="564"/>
                  </a:lnTo>
                  <a:lnTo>
                    <a:pt x="930" y="562"/>
                  </a:lnTo>
                  <a:lnTo>
                    <a:pt x="930" y="562"/>
                  </a:lnTo>
                  <a:lnTo>
                    <a:pt x="930" y="562"/>
                  </a:lnTo>
                  <a:lnTo>
                    <a:pt x="932" y="560"/>
                  </a:lnTo>
                  <a:lnTo>
                    <a:pt x="934" y="556"/>
                  </a:lnTo>
                  <a:lnTo>
                    <a:pt x="936" y="550"/>
                  </a:lnTo>
                  <a:lnTo>
                    <a:pt x="936" y="548"/>
                  </a:lnTo>
                  <a:lnTo>
                    <a:pt x="938" y="546"/>
                  </a:lnTo>
                  <a:lnTo>
                    <a:pt x="938" y="546"/>
                  </a:lnTo>
                  <a:lnTo>
                    <a:pt x="938" y="544"/>
                  </a:lnTo>
                  <a:lnTo>
                    <a:pt x="938" y="542"/>
                  </a:lnTo>
                  <a:lnTo>
                    <a:pt x="940" y="542"/>
                  </a:lnTo>
                  <a:lnTo>
                    <a:pt x="940" y="540"/>
                  </a:lnTo>
                  <a:lnTo>
                    <a:pt x="942" y="538"/>
                  </a:lnTo>
                  <a:lnTo>
                    <a:pt x="942" y="538"/>
                  </a:lnTo>
                  <a:lnTo>
                    <a:pt x="942" y="538"/>
                  </a:lnTo>
                  <a:lnTo>
                    <a:pt x="942" y="538"/>
                  </a:lnTo>
                  <a:lnTo>
                    <a:pt x="942" y="538"/>
                  </a:lnTo>
                  <a:lnTo>
                    <a:pt x="944" y="536"/>
                  </a:lnTo>
                  <a:lnTo>
                    <a:pt x="942" y="534"/>
                  </a:lnTo>
                  <a:lnTo>
                    <a:pt x="942" y="534"/>
                  </a:lnTo>
                  <a:lnTo>
                    <a:pt x="942" y="532"/>
                  </a:lnTo>
                  <a:lnTo>
                    <a:pt x="940" y="532"/>
                  </a:lnTo>
                  <a:lnTo>
                    <a:pt x="940" y="532"/>
                  </a:lnTo>
                  <a:lnTo>
                    <a:pt x="940" y="532"/>
                  </a:lnTo>
                  <a:lnTo>
                    <a:pt x="940" y="530"/>
                  </a:lnTo>
                  <a:lnTo>
                    <a:pt x="938" y="530"/>
                  </a:lnTo>
                  <a:lnTo>
                    <a:pt x="934" y="530"/>
                  </a:lnTo>
                  <a:lnTo>
                    <a:pt x="934" y="530"/>
                  </a:lnTo>
                  <a:lnTo>
                    <a:pt x="934" y="530"/>
                  </a:lnTo>
                  <a:lnTo>
                    <a:pt x="932" y="530"/>
                  </a:lnTo>
                  <a:lnTo>
                    <a:pt x="928" y="528"/>
                  </a:lnTo>
                  <a:lnTo>
                    <a:pt x="926" y="526"/>
                  </a:lnTo>
                  <a:lnTo>
                    <a:pt x="926" y="524"/>
                  </a:lnTo>
                  <a:lnTo>
                    <a:pt x="924" y="522"/>
                  </a:lnTo>
                  <a:lnTo>
                    <a:pt x="924" y="522"/>
                  </a:lnTo>
                  <a:lnTo>
                    <a:pt x="924" y="520"/>
                  </a:lnTo>
                  <a:lnTo>
                    <a:pt x="924" y="520"/>
                  </a:lnTo>
                  <a:lnTo>
                    <a:pt x="924" y="520"/>
                  </a:lnTo>
                  <a:lnTo>
                    <a:pt x="926" y="518"/>
                  </a:lnTo>
                  <a:lnTo>
                    <a:pt x="926" y="516"/>
                  </a:lnTo>
                  <a:lnTo>
                    <a:pt x="926" y="512"/>
                  </a:lnTo>
                  <a:lnTo>
                    <a:pt x="926" y="512"/>
                  </a:lnTo>
                  <a:lnTo>
                    <a:pt x="926" y="512"/>
                  </a:lnTo>
                  <a:lnTo>
                    <a:pt x="928" y="510"/>
                  </a:lnTo>
                  <a:lnTo>
                    <a:pt x="930" y="508"/>
                  </a:lnTo>
                  <a:lnTo>
                    <a:pt x="934" y="506"/>
                  </a:lnTo>
                  <a:lnTo>
                    <a:pt x="938" y="502"/>
                  </a:lnTo>
                  <a:lnTo>
                    <a:pt x="942" y="500"/>
                  </a:lnTo>
                  <a:lnTo>
                    <a:pt x="942" y="500"/>
                  </a:lnTo>
                  <a:lnTo>
                    <a:pt x="944" y="498"/>
                  </a:lnTo>
                  <a:lnTo>
                    <a:pt x="944" y="494"/>
                  </a:lnTo>
                  <a:lnTo>
                    <a:pt x="944" y="490"/>
                  </a:lnTo>
                  <a:lnTo>
                    <a:pt x="944" y="486"/>
                  </a:lnTo>
                  <a:lnTo>
                    <a:pt x="944" y="482"/>
                  </a:lnTo>
                  <a:lnTo>
                    <a:pt x="946" y="480"/>
                  </a:lnTo>
                  <a:lnTo>
                    <a:pt x="946" y="478"/>
                  </a:lnTo>
                  <a:lnTo>
                    <a:pt x="948" y="478"/>
                  </a:lnTo>
                  <a:lnTo>
                    <a:pt x="948" y="476"/>
                  </a:lnTo>
                  <a:lnTo>
                    <a:pt x="950" y="476"/>
                  </a:lnTo>
                  <a:lnTo>
                    <a:pt x="952" y="476"/>
                  </a:lnTo>
                  <a:lnTo>
                    <a:pt x="952" y="476"/>
                  </a:lnTo>
                  <a:lnTo>
                    <a:pt x="952" y="476"/>
                  </a:lnTo>
                  <a:lnTo>
                    <a:pt x="956" y="474"/>
                  </a:lnTo>
                  <a:lnTo>
                    <a:pt x="958" y="474"/>
                  </a:lnTo>
                  <a:lnTo>
                    <a:pt x="964" y="472"/>
                  </a:lnTo>
                  <a:lnTo>
                    <a:pt x="968" y="468"/>
                  </a:lnTo>
                  <a:lnTo>
                    <a:pt x="972" y="466"/>
                  </a:lnTo>
                  <a:lnTo>
                    <a:pt x="974" y="464"/>
                  </a:lnTo>
                  <a:lnTo>
                    <a:pt x="974" y="464"/>
                  </a:lnTo>
                  <a:lnTo>
                    <a:pt x="976" y="464"/>
                  </a:lnTo>
                  <a:lnTo>
                    <a:pt x="976" y="462"/>
                  </a:lnTo>
                  <a:lnTo>
                    <a:pt x="976" y="462"/>
                  </a:lnTo>
                  <a:lnTo>
                    <a:pt x="976" y="460"/>
                  </a:lnTo>
                  <a:lnTo>
                    <a:pt x="976" y="460"/>
                  </a:lnTo>
                  <a:lnTo>
                    <a:pt x="976" y="460"/>
                  </a:lnTo>
                  <a:lnTo>
                    <a:pt x="976" y="458"/>
                  </a:lnTo>
                  <a:lnTo>
                    <a:pt x="976" y="456"/>
                  </a:lnTo>
                  <a:lnTo>
                    <a:pt x="976" y="456"/>
                  </a:lnTo>
                  <a:lnTo>
                    <a:pt x="976" y="456"/>
                  </a:lnTo>
                  <a:lnTo>
                    <a:pt x="976" y="454"/>
                  </a:lnTo>
                  <a:lnTo>
                    <a:pt x="976" y="454"/>
                  </a:lnTo>
                  <a:lnTo>
                    <a:pt x="976" y="454"/>
                  </a:lnTo>
                  <a:lnTo>
                    <a:pt x="976" y="452"/>
                  </a:lnTo>
                  <a:lnTo>
                    <a:pt x="976" y="452"/>
                  </a:lnTo>
                  <a:lnTo>
                    <a:pt x="974" y="452"/>
                  </a:lnTo>
                  <a:lnTo>
                    <a:pt x="974" y="450"/>
                  </a:lnTo>
                  <a:lnTo>
                    <a:pt x="974" y="450"/>
                  </a:lnTo>
                  <a:lnTo>
                    <a:pt x="974" y="450"/>
                  </a:lnTo>
                  <a:lnTo>
                    <a:pt x="972" y="448"/>
                  </a:lnTo>
                  <a:lnTo>
                    <a:pt x="972" y="446"/>
                  </a:lnTo>
                  <a:lnTo>
                    <a:pt x="972" y="446"/>
                  </a:lnTo>
                  <a:lnTo>
                    <a:pt x="972" y="446"/>
                  </a:lnTo>
                  <a:lnTo>
                    <a:pt x="972" y="446"/>
                  </a:lnTo>
                  <a:lnTo>
                    <a:pt x="974" y="444"/>
                  </a:lnTo>
                  <a:lnTo>
                    <a:pt x="974" y="444"/>
                  </a:lnTo>
                  <a:lnTo>
                    <a:pt x="976" y="444"/>
                  </a:lnTo>
                  <a:lnTo>
                    <a:pt x="976" y="442"/>
                  </a:lnTo>
                  <a:lnTo>
                    <a:pt x="976" y="442"/>
                  </a:lnTo>
                  <a:lnTo>
                    <a:pt x="976" y="442"/>
                  </a:lnTo>
                  <a:lnTo>
                    <a:pt x="978" y="438"/>
                  </a:lnTo>
                  <a:lnTo>
                    <a:pt x="980" y="434"/>
                  </a:lnTo>
                  <a:lnTo>
                    <a:pt x="982" y="430"/>
                  </a:lnTo>
                  <a:lnTo>
                    <a:pt x="982" y="428"/>
                  </a:lnTo>
                  <a:lnTo>
                    <a:pt x="984" y="426"/>
                  </a:lnTo>
                  <a:lnTo>
                    <a:pt x="984" y="422"/>
                  </a:lnTo>
                  <a:lnTo>
                    <a:pt x="988" y="420"/>
                  </a:lnTo>
                  <a:lnTo>
                    <a:pt x="988" y="420"/>
                  </a:lnTo>
                  <a:lnTo>
                    <a:pt x="990" y="418"/>
                  </a:lnTo>
                  <a:lnTo>
                    <a:pt x="990" y="418"/>
                  </a:lnTo>
                  <a:lnTo>
                    <a:pt x="992" y="416"/>
                  </a:lnTo>
                  <a:lnTo>
                    <a:pt x="992" y="414"/>
                  </a:lnTo>
                  <a:lnTo>
                    <a:pt x="992" y="410"/>
                  </a:lnTo>
                  <a:lnTo>
                    <a:pt x="992" y="410"/>
                  </a:lnTo>
                  <a:lnTo>
                    <a:pt x="992" y="410"/>
                  </a:lnTo>
                  <a:lnTo>
                    <a:pt x="992" y="408"/>
                  </a:lnTo>
                  <a:lnTo>
                    <a:pt x="992" y="408"/>
                  </a:lnTo>
                  <a:lnTo>
                    <a:pt x="992" y="408"/>
                  </a:lnTo>
                  <a:lnTo>
                    <a:pt x="990" y="406"/>
                  </a:lnTo>
                  <a:lnTo>
                    <a:pt x="990" y="406"/>
                  </a:lnTo>
                  <a:lnTo>
                    <a:pt x="990" y="406"/>
                  </a:lnTo>
                  <a:lnTo>
                    <a:pt x="990" y="404"/>
                  </a:lnTo>
                  <a:lnTo>
                    <a:pt x="990" y="404"/>
                  </a:lnTo>
                  <a:lnTo>
                    <a:pt x="988" y="404"/>
                  </a:lnTo>
                  <a:lnTo>
                    <a:pt x="988" y="404"/>
                  </a:lnTo>
                  <a:lnTo>
                    <a:pt x="986" y="402"/>
                  </a:lnTo>
                  <a:lnTo>
                    <a:pt x="984" y="402"/>
                  </a:lnTo>
                  <a:lnTo>
                    <a:pt x="980" y="398"/>
                  </a:lnTo>
                  <a:lnTo>
                    <a:pt x="978" y="396"/>
                  </a:lnTo>
                  <a:lnTo>
                    <a:pt x="974" y="394"/>
                  </a:lnTo>
                  <a:lnTo>
                    <a:pt x="972" y="392"/>
                  </a:lnTo>
                  <a:lnTo>
                    <a:pt x="970" y="390"/>
                  </a:lnTo>
                  <a:lnTo>
                    <a:pt x="968" y="388"/>
                  </a:lnTo>
                  <a:lnTo>
                    <a:pt x="964" y="384"/>
                  </a:lnTo>
                  <a:lnTo>
                    <a:pt x="962" y="382"/>
                  </a:lnTo>
                  <a:lnTo>
                    <a:pt x="960" y="380"/>
                  </a:lnTo>
                  <a:lnTo>
                    <a:pt x="960" y="380"/>
                  </a:lnTo>
                  <a:lnTo>
                    <a:pt x="958" y="378"/>
                  </a:lnTo>
                  <a:lnTo>
                    <a:pt x="958" y="376"/>
                  </a:lnTo>
                  <a:lnTo>
                    <a:pt x="958" y="376"/>
                  </a:lnTo>
                  <a:lnTo>
                    <a:pt x="958" y="374"/>
                  </a:lnTo>
                  <a:lnTo>
                    <a:pt x="960" y="374"/>
                  </a:lnTo>
                  <a:lnTo>
                    <a:pt x="962" y="372"/>
                  </a:lnTo>
                  <a:lnTo>
                    <a:pt x="964" y="372"/>
                  </a:lnTo>
                  <a:lnTo>
                    <a:pt x="966" y="372"/>
                  </a:lnTo>
                  <a:lnTo>
                    <a:pt x="968" y="370"/>
                  </a:lnTo>
                  <a:lnTo>
                    <a:pt x="972" y="370"/>
                  </a:lnTo>
                  <a:lnTo>
                    <a:pt x="978" y="370"/>
                  </a:lnTo>
                  <a:lnTo>
                    <a:pt x="982" y="368"/>
                  </a:lnTo>
                  <a:lnTo>
                    <a:pt x="984" y="368"/>
                  </a:lnTo>
                  <a:lnTo>
                    <a:pt x="986" y="368"/>
                  </a:lnTo>
                  <a:lnTo>
                    <a:pt x="986" y="368"/>
                  </a:lnTo>
                  <a:lnTo>
                    <a:pt x="986" y="368"/>
                  </a:lnTo>
                  <a:lnTo>
                    <a:pt x="988" y="368"/>
                  </a:lnTo>
                  <a:lnTo>
                    <a:pt x="992" y="364"/>
                  </a:lnTo>
                  <a:lnTo>
                    <a:pt x="996" y="362"/>
                  </a:lnTo>
                  <a:lnTo>
                    <a:pt x="1002" y="354"/>
                  </a:lnTo>
                  <a:lnTo>
                    <a:pt x="1006" y="352"/>
                  </a:lnTo>
                  <a:lnTo>
                    <a:pt x="1010" y="350"/>
                  </a:lnTo>
                  <a:lnTo>
                    <a:pt x="1010" y="350"/>
                  </a:lnTo>
                  <a:lnTo>
                    <a:pt x="1014" y="348"/>
                  </a:lnTo>
                  <a:lnTo>
                    <a:pt x="1018" y="346"/>
                  </a:lnTo>
                  <a:lnTo>
                    <a:pt x="1022" y="346"/>
                  </a:lnTo>
                  <a:lnTo>
                    <a:pt x="1026" y="344"/>
                  </a:lnTo>
                  <a:lnTo>
                    <a:pt x="1030" y="342"/>
                  </a:lnTo>
                  <a:lnTo>
                    <a:pt x="1036" y="340"/>
                  </a:lnTo>
                  <a:lnTo>
                    <a:pt x="1036" y="340"/>
                  </a:lnTo>
                  <a:lnTo>
                    <a:pt x="1038" y="338"/>
                  </a:lnTo>
                  <a:lnTo>
                    <a:pt x="1038" y="334"/>
                  </a:lnTo>
                  <a:lnTo>
                    <a:pt x="1040" y="332"/>
                  </a:lnTo>
                  <a:lnTo>
                    <a:pt x="1042" y="330"/>
                  </a:lnTo>
                  <a:lnTo>
                    <a:pt x="1042" y="326"/>
                  </a:lnTo>
                  <a:lnTo>
                    <a:pt x="1042" y="326"/>
                  </a:lnTo>
                  <a:lnTo>
                    <a:pt x="1044" y="324"/>
                  </a:lnTo>
                  <a:lnTo>
                    <a:pt x="1044" y="320"/>
                  </a:lnTo>
                  <a:lnTo>
                    <a:pt x="1044" y="318"/>
                  </a:lnTo>
                  <a:lnTo>
                    <a:pt x="1044" y="312"/>
                  </a:lnTo>
                  <a:lnTo>
                    <a:pt x="1046" y="308"/>
                  </a:lnTo>
                  <a:lnTo>
                    <a:pt x="1048" y="306"/>
                  </a:lnTo>
                  <a:lnTo>
                    <a:pt x="1050" y="302"/>
                  </a:lnTo>
                  <a:lnTo>
                    <a:pt x="1052" y="298"/>
                  </a:lnTo>
                  <a:lnTo>
                    <a:pt x="1056" y="296"/>
                  </a:lnTo>
                  <a:lnTo>
                    <a:pt x="1060" y="292"/>
                  </a:lnTo>
                  <a:lnTo>
                    <a:pt x="1060" y="292"/>
                  </a:lnTo>
                  <a:lnTo>
                    <a:pt x="1062" y="290"/>
                  </a:lnTo>
                  <a:lnTo>
                    <a:pt x="1062" y="286"/>
                  </a:lnTo>
                  <a:lnTo>
                    <a:pt x="1062" y="284"/>
                  </a:lnTo>
                  <a:lnTo>
                    <a:pt x="1062" y="284"/>
                  </a:lnTo>
                  <a:lnTo>
                    <a:pt x="1062" y="282"/>
                  </a:lnTo>
                  <a:lnTo>
                    <a:pt x="1064" y="282"/>
                  </a:lnTo>
                  <a:lnTo>
                    <a:pt x="1064" y="282"/>
                  </a:lnTo>
                  <a:lnTo>
                    <a:pt x="1066" y="280"/>
                  </a:lnTo>
                  <a:lnTo>
                    <a:pt x="1068" y="278"/>
                  </a:lnTo>
                  <a:lnTo>
                    <a:pt x="1068" y="278"/>
                  </a:lnTo>
                  <a:lnTo>
                    <a:pt x="1070" y="278"/>
                  </a:lnTo>
                  <a:lnTo>
                    <a:pt x="1072" y="274"/>
                  </a:lnTo>
                  <a:lnTo>
                    <a:pt x="1074" y="270"/>
                  </a:lnTo>
                  <a:lnTo>
                    <a:pt x="1078" y="260"/>
                  </a:lnTo>
                  <a:lnTo>
                    <a:pt x="1078" y="260"/>
                  </a:lnTo>
                  <a:lnTo>
                    <a:pt x="1080" y="260"/>
                  </a:lnTo>
                  <a:lnTo>
                    <a:pt x="1078" y="254"/>
                  </a:lnTo>
                  <a:lnTo>
                    <a:pt x="1078" y="246"/>
                  </a:lnTo>
                  <a:lnTo>
                    <a:pt x="1078" y="244"/>
                  </a:lnTo>
                  <a:lnTo>
                    <a:pt x="1080" y="242"/>
                  </a:lnTo>
                  <a:lnTo>
                    <a:pt x="1080" y="240"/>
                  </a:lnTo>
                  <a:lnTo>
                    <a:pt x="1082" y="238"/>
                  </a:lnTo>
                  <a:lnTo>
                    <a:pt x="1084" y="238"/>
                  </a:lnTo>
                  <a:lnTo>
                    <a:pt x="1086" y="236"/>
                  </a:lnTo>
                  <a:lnTo>
                    <a:pt x="1090" y="232"/>
                  </a:lnTo>
                  <a:lnTo>
                    <a:pt x="1096" y="230"/>
                  </a:lnTo>
                  <a:lnTo>
                    <a:pt x="1100" y="228"/>
                  </a:lnTo>
                  <a:lnTo>
                    <a:pt x="1102" y="226"/>
                  </a:lnTo>
                  <a:lnTo>
                    <a:pt x="1102" y="226"/>
                  </a:lnTo>
                  <a:lnTo>
                    <a:pt x="1102" y="226"/>
                  </a:lnTo>
                  <a:lnTo>
                    <a:pt x="1106" y="224"/>
                  </a:lnTo>
                  <a:lnTo>
                    <a:pt x="1110" y="220"/>
                  </a:lnTo>
                  <a:lnTo>
                    <a:pt x="1114" y="216"/>
                  </a:lnTo>
                  <a:lnTo>
                    <a:pt x="1118" y="212"/>
                  </a:lnTo>
                  <a:lnTo>
                    <a:pt x="1118" y="212"/>
                  </a:lnTo>
                  <a:lnTo>
                    <a:pt x="1118" y="212"/>
                  </a:lnTo>
                  <a:lnTo>
                    <a:pt x="1120" y="208"/>
                  </a:lnTo>
                  <a:lnTo>
                    <a:pt x="1122" y="206"/>
                  </a:lnTo>
                  <a:lnTo>
                    <a:pt x="1124" y="202"/>
                  </a:lnTo>
                  <a:lnTo>
                    <a:pt x="1124" y="200"/>
                  </a:lnTo>
                  <a:lnTo>
                    <a:pt x="1126" y="200"/>
                  </a:lnTo>
                  <a:lnTo>
                    <a:pt x="1126" y="198"/>
                  </a:lnTo>
                  <a:lnTo>
                    <a:pt x="1130" y="196"/>
                  </a:lnTo>
                  <a:lnTo>
                    <a:pt x="1130" y="196"/>
                  </a:lnTo>
                  <a:lnTo>
                    <a:pt x="1130" y="194"/>
                  </a:lnTo>
                  <a:lnTo>
                    <a:pt x="1130" y="192"/>
                  </a:lnTo>
                  <a:lnTo>
                    <a:pt x="1130" y="188"/>
                  </a:lnTo>
                  <a:lnTo>
                    <a:pt x="1132" y="186"/>
                  </a:lnTo>
                  <a:lnTo>
                    <a:pt x="1132" y="186"/>
                  </a:lnTo>
                  <a:lnTo>
                    <a:pt x="1132" y="184"/>
                  </a:lnTo>
                  <a:lnTo>
                    <a:pt x="1134" y="182"/>
                  </a:lnTo>
                  <a:lnTo>
                    <a:pt x="1136" y="182"/>
                  </a:lnTo>
                  <a:lnTo>
                    <a:pt x="1138" y="180"/>
                  </a:lnTo>
                  <a:lnTo>
                    <a:pt x="1138" y="180"/>
                  </a:lnTo>
                  <a:lnTo>
                    <a:pt x="1140" y="178"/>
                  </a:lnTo>
                  <a:lnTo>
                    <a:pt x="1140" y="178"/>
                  </a:lnTo>
                  <a:lnTo>
                    <a:pt x="1138" y="174"/>
                  </a:lnTo>
                  <a:lnTo>
                    <a:pt x="1136" y="174"/>
                  </a:lnTo>
                  <a:lnTo>
                    <a:pt x="1134" y="172"/>
                  </a:lnTo>
                  <a:lnTo>
                    <a:pt x="1134" y="172"/>
                  </a:lnTo>
                  <a:lnTo>
                    <a:pt x="1132" y="172"/>
                  </a:lnTo>
                  <a:lnTo>
                    <a:pt x="1132" y="172"/>
                  </a:lnTo>
                  <a:lnTo>
                    <a:pt x="1132" y="172"/>
                  </a:lnTo>
                  <a:lnTo>
                    <a:pt x="1130" y="172"/>
                  </a:lnTo>
                  <a:lnTo>
                    <a:pt x="1128" y="172"/>
                  </a:lnTo>
                  <a:lnTo>
                    <a:pt x="1128" y="174"/>
                  </a:lnTo>
                  <a:lnTo>
                    <a:pt x="1126" y="174"/>
                  </a:lnTo>
                  <a:lnTo>
                    <a:pt x="1124" y="174"/>
                  </a:lnTo>
                  <a:lnTo>
                    <a:pt x="1120" y="174"/>
                  </a:lnTo>
                  <a:lnTo>
                    <a:pt x="1120" y="174"/>
                  </a:lnTo>
                  <a:lnTo>
                    <a:pt x="1120" y="174"/>
                  </a:lnTo>
                  <a:lnTo>
                    <a:pt x="1104" y="186"/>
                  </a:lnTo>
                  <a:lnTo>
                    <a:pt x="1088" y="194"/>
                  </a:lnTo>
                  <a:lnTo>
                    <a:pt x="1086" y="194"/>
                  </a:lnTo>
                  <a:lnTo>
                    <a:pt x="1084" y="194"/>
                  </a:lnTo>
                  <a:lnTo>
                    <a:pt x="1084" y="194"/>
                  </a:lnTo>
                  <a:lnTo>
                    <a:pt x="1084" y="194"/>
                  </a:lnTo>
                  <a:lnTo>
                    <a:pt x="1084" y="192"/>
                  </a:lnTo>
                  <a:lnTo>
                    <a:pt x="1086" y="190"/>
                  </a:lnTo>
                  <a:lnTo>
                    <a:pt x="1088" y="188"/>
                  </a:lnTo>
                  <a:lnTo>
                    <a:pt x="1090" y="186"/>
                  </a:lnTo>
                  <a:lnTo>
                    <a:pt x="1090" y="184"/>
                  </a:lnTo>
                  <a:lnTo>
                    <a:pt x="1092" y="184"/>
                  </a:lnTo>
                  <a:lnTo>
                    <a:pt x="1094" y="182"/>
                  </a:lnTo>
                  <a:lnTo>
                    <a:pt x="1096" y="180"/>
                  </a:lnTo>
                  <a:lnTo>
                    <a:pt x="1100" y="176"/>
                  </a:lnTo>
                  <a:lnTo>
                    <a:pt x="1104" y="172"/>
                  </a:lnTo>
                  <a:lnTo>
                    <a:pt x="1114" y="166"/>
                  </a:lnTo>
                  <a:lnTo>
                    <a:pt x="1120" y="162"/>
                  </a:lnTo>
                  <a:lnTo>
                    <a:pt x="1124" y="160"/>
                  </a:lnTo>
                  <a:lnTo>
                    <a:pt x="1130" y="158"/>
                  </a:lnTo>
                  <a:lnTo>
                    <a:pt x="1134" y="156"/>
                  </a:lnTo>
                  <a:lnTo>
                    <a:pt x="1134" y="156"/>
                  </a:lnTo>
                  <a:lnTo>
                    <a:pt x="1136" y="156"/>
                  </a:lnTo>
                  <a:lnTo>
                    <a:pt x="1140" y="152"/>
                  </a:lnTo>
                  <a:lnTo>
                    <a:pt x="1146" y="148"/>
                  </a:lnTo>
                  <a:lnTo>
                    <a:pt x="1152" y="146"/>
                  </a:lnTo>
                  <a:lnTo>
                    <a:pt x="1158" y="144"/>
                  </a:lnTo>
                  <a:lnTo>
                    <a:pt x="1158" y="144"/>
                  </a:lnTo>
                  <a:lnTo>
                    <a:pt x="1160" y="142"/>
                  </a:lnTo>
                  <a:lnTo>
                    <a:pt x="1160" y="140"/>
                  </a:lnTo>
                  <a:lnTo>
                    <a:pt x="1162" y="140"/>
                  </a:lnTo>
                  <a:lnTo>
                    <a:pt x="1164" y="138"/>
                  </a:lnTo>
                  <a:lnTo>
                    <a:pt x="1166" y="136"/>
                  </a:lnTo>
                  <a:lnTo>
                    <a:pt x="1170" y="134"/>
                  </a:lnTo>
                  <a:lnTo>
                    <a:pt x="1172" y="132"/>
                  </a:lnTo>
                  <a:lnTo>
                    <a:pt x="1174" y="130"/>
                  </a:lnTo>
                  <a:lnTo>
                    <a:pt x="1174" y="130"/>
                  </a:lnTo>
                  <a:lnTo>
                    <a:pt x="1176" y="128"/>
                  </a:lnTo>
                  <a:lnTo>
                    <a:pt x="1176" y="124"/>
                  </a:lnTo>
                  <a:lnTo>
                    <a:pt x="1178" y="118"/>
                  </a:lnTo>
                  <a:lnTo>
                    <a:pt x="1180" y="114"/>
                  </a:lnTo>
                  <a:lnTo>
                    <a:pt x="1180" y="110"/>
                  </a:lnTo>
                  <a:lnTo>
                    <a:pt x="1180" y="110"/>
                  </a:lnTo>
                  <a:lnTo>
                    <a:pt x="1182" y="110"/>
                  </a:lnTo>
                  <a:lnTo>
                    <a:pt x="1182" y="106"/>
                  </a:lnTo>
                  <a:lnTo>
                    <a:pt x="1184" y="102"/>
                  </a:lnTo>
                  <a:lnTo>
                    <a:pt x="1186" y="100"/>
                  </a:lnTo>
                  <a:lnTo>
                    <a:pt x="1188" y="96"/>
                  </a:lnTo>
                  <a:lnTo>
                    <a:pt x="1188" y="96"/>
                  </a:lnTo>
                  <a:lnTo>
                    <a:pt x="1188" y="96"/>
                  </a:lnTo>
                  <a:lnTo>
                    <a:pt x="1188" y="90"/>
                  </a:lnTo>
                  <a:lnTo>
                    <a:pt x="1188" y="88"/>
                  </a:lnTo>
                  <a:lnTo>
                    <a:pt x="1188" y="86"/>
                  </a:lnTo>
                  <a:lnTo>
                    <a:pt x="1188" y="86"/>
                  </a:lnTo>
                  <a:lnTo>
                    <a:pt x="1188" y="86"/>
                  </a:lnTo>
                  <a:lnTo>
                    <a:pt x="1188" y="84"/>
                  </a:lnTo>
                  <a:lnTo>
                    <a:pt x="1188" y="84"/>
                  </a:lnTo>
                  <a:lnTo>
                    <a:pt x="1186" y="84"/>
                  </a:lnTo>
                  <a:lnTo>
                    <a:pt x="1186" y="82"/>
                  </a:lnTo>
                  <a:lnTo>
                    <a:pt x="1186" y="82"/>
                  </a:lnTo>
                  <a:lnTo>
                    <a:pt x="1186" y="82"/>
                  </a:lnTo>
                  <a:lnTo>
                    <a:pt x="1184" y="80"/>
                  </a:lnTo>
                  <a:lnTo>
                    <a:pt x="1184" y="80"/>
                  </a:lnTo>
                  <a:lnTo>
                    <a:pt x="1182" y="80"/>
                  </a:lnTo>
                  <a:lnTo>
                    <a:pt x="1180" y="80"/>
                  </a:lnTo>
                  <a:lnTo>
                    <a:pt x="1172" y="74"/>
                  </a:lnTo>
                  <a:lnTo>
                    <a:pt x="1162" y="66"/>
                  </a:lnTo>
                  <a:lnTo>
                    <a:pt x="1152" y="60"/>
                  </a:lnTo>
                  <a:lnTo>
                    <a:pt x="1150" y="56"/>
                  </a:lnTo>
                  <a:lnTo>
                    <a:pt x="1146" y="52"/>
                  </a:lnTo>
                  <a:lnTo>
                    <a:pt x="1146" y="50"/>
                  </a:lnTo>
                  <a:lnTo>
                    <a:pt x="1146" y="48"/>
                  </a:lnTo>
                  <a:lnTo>
                    <a:pt x="1146" y="48"/>
                  </a:lnTo>
                  <a:lnTo>
                    <a:pt x="1146" y="48"/>
                  </a:lnTo>
                  <a:lnTo>
                    <a:pt x="1144" y="46"/>
                  </a:lnTo>
                  <a:lnTo>
                    <a:pt x="1144" y="46"/>
                  </a:lnTo>
                  <a:lnTo>
                    <a:pt x="1144" y="46"/>
                  </a:lnTo>
                  <a:lnTo>
                    <a:pt x="1144" y="44"/>
                  </a:lnTo>
                  <a:lnTo>
                    <a:pt x="1144" y="44"/>
                  </a:lnTo>
                  <a:lnTo>
                    <a:pt x="1142" y="44"/>
                  </a:lnTo>
                  <a:lnTo>
                    <a:pt x="1140" y="42"/>
                  </a:lnTo>
                  <a:lnTo>
                    <a:pt x="1138" y="40"/>
                  </a:lnTo>
                  <a:lnTo>
                    <a:pt x="1136" y="40"/>
                  </a:lnTo>
                  <a:lnTo>
                    <a:pt x="1132" y="36"/>
                  </a:lnTo>
                  <a:lnTo>
                    <a:pt x="1128" y="34"/>
                  </a:lnTo>
                  <a:lnTo>
                    <a:pt x="1128" y="34"/>
                  </a:lnTo>
                  <a:lnTo>
                    <a:pt x="1128" y="34"/>
                  </a:lnTo>
                  <a:lnTo>
                    <a:pt x="1122" y="32"/>
                  </a:lnTo>
                  <a:lnTo>
                    <a:pt x="1122" y="32"/>
                  </a:lnTo>
                  <a:lnTo>
                    <a:pt x="1122" y="30"/>
                  </a:lnTo>
                  <a:lnTo>
                    <a:pt x="1118" y="30"/>
                  </a:lnTo>
                  <a:lnTo>
                    <a:pt x="1116" y="28"/>
                  </a:lnTo>
                  <a:lnTo>
                    <a:pt x="1116" y="28"/>
                  </a:lnTo>
                  <a:lnTo>
                    <a:pt x="1116" y="28"/>
                  </a:lnTo>
                  <a:lnTo>
                    <a:pt x="1114" y="26"/>
                  </a:lnTo>
                  <a:lnTo>
                    <a:pt x="1114" y="26"/>
                  </a:lnTo>
                  <a:lnTo>
                    <a:pt x="1114" y="26"/>
                  </a:lnTo>
                  <a:lnTo>
                    <a:pt x="1112" y="26"/>
                  </a:lnTo>
                  <a:lnTo>
                    <a:pt x="1112" y="26"/>
                  </a:lnTo>
                  <a:lnTo>
                    <a:pt x="1112" y="26"/>
                  </a:lnTo>
                  <a:lnTo>
                    <a:pt x="1110" y="26"/>
                  </a:lnTo>
                  <a:lnTo>
                    <a:pt x="1110" y="26"/>
                  </a:lnTo>
                  <a:lnTo>
                    <a:pt x="1110" y="26"/>
                  </a:lnTo>
                  <a:lnTo>
                    <a:pt x="1108" y="26"/>
                  </a:lnTo>
                  <a:lnTo>
                    <a:pt x="1108" y="26"/>
                  </a:lnTo>
                  <a:lnTo>
                    <a:pt x="1108" y="28"/>
                  </a:lnTo>
                  <a:lnTo>
                    <a:pt x="1106" y="28"/>
                  </a:lnTo>
                  <a:lnTo>
                    <a:pt x="1106" y="28"/>
                  </a:lnTo>
                  <a:lnTo>
                    <a:pt x="1104" y="30"/>
                  </a:lnTo>
                  <a:lnTo>
                    <a:pt x="1104" y="30"/>
                  </a:lnTo>
                  <a:lnTo>
                    <a:pt x="1104" y="30"/>
                  </a:lnTo>
                  <a:lnTo>
                    <a:pt x="1104" y="32"/>
                  </a:lnTo>
                  <a:lnTo>
                    <a:pt x="1104" y="32"/>
                  </a:lnTo>
                  <a:lnTo>
                    <a:pt x="1104" y="34"/>
                  </a:lnTo>
                  <a:lnTo>
                    <a:pt x="1104" y="34"/>
                  </a:lnTo>
                  <a:lnTo>
                    <a:pt x="1104" y="36"/>
                  </a:lnTo>
                  <a:lnTo>
                    <a:pt x="1102" y="36"/>
                  </a:lnTo>
                  <a:lnTo>
                    <a:pt x="1102" y="38"/>
                  </a:lnTo>
                  <a:lnTo>
                    <a:pt x="1096" y="40"/>
                  </a:lnTo>
                  <a:lnTo>
                    <a:pt x="1092" y="44"/>
                  </a:lnTo>
                  <a:lnTo>
                    <a:pt x="1086" y="48"/>
                  </a:lnTo>
                  <a:lnTo>
                    <a:pt x="1082" y="50"/>
                  </a:lnTo>
                  <a:lnTo>
                    <a:pt x="1082" y="48"/>
                  </a:lnTo>
                  <a:lnTo>
                    <a:pt x="1082" y="46"/>
                  </a:lnTo>
                  <a:lnTo>
                    <a:pt x="1082" y="44"/>
                  </a:lnTo>
                  <a:lnTo>
                    <a:pt x="1084" y="40"/>
                  </a:lnTo>
                  <a:lnTo>
                    <a:pt x="1086" y="38"/>
                  </a:lnTo>
                  <a:lnTo>
                    <a:pt x="1086" y="38"/>
                  </a:lnTo>
                  <a:lnTo>
                    <a:pt x="1092" y="34"/>
                  </a:lnTo>
                  <a:lnTo>
                    <a:pt x="1092" y="34"/>
                  </a:lnTo>
                  <a:lnTo>
                    <a:pt x="1092" y="34"/>
                  </a:lnTo>
                  <a:lnTo>
                    <a:pt x="1094" y="30"/>
                  </a:lnTo>
                  <a:lnTo>
                    <a:pt x="1096" y="28"/>
                  </a:lnTo>
                  <a:lnTo>
                    <a:pt x="1098" y="24"/>
                  </a:lnTo>
                  <a:lnTo>
                    <a:pt x="1098" y="24"/>
                  </a:lnTo>
                  <a:lnTo>
                    <a:pt x="1098" y="24"/>
                  </a:lnTo>
                  <a:lnTo>
                    <a:pt x="1098" y="20"/>
                  </a:lnTo>
                  <a:lnTo>
                    <a:pt x="1098" y="20"/>
                  </a:lnTo>
                  <a:lnTo>
                    <a:pt x="1098" y="16"/>
                  </a:lnTo>
                  <a:lnTo>
                    <a:pt x="1096" y="14"/>
                  </a:lnTo>
                  <a:lnTo>
                    <a:pt x="1094" y="14"/>
                  </a:lnTo>
                  <a:lnTo>
                    <a:pt x="1092" y="14"/>
                  </a:lnTo>
                  <a:lnTo>
                    <a:pt x="1092" y="12"/>
                  </a:lnTo>
                  <a:lnTo>
                    <a:pt x="1092" y="12"/>
                  </a:lnTo>
                  <a:lnTo>
                    <a:pt x="1090" y="12"/>
                  </a:lnTo>
                  <a:lnTo>
                    <a:pt x="1090" y="12"/>
                  </a:lnTo>
                  <a:lnTo>
                    <a:pt x="1090" y="12"/>
                  </a:lnTo>
                  <a:lnTo>
                    <a:pt x="1088" y="12"/>
                  </a:lnTo>
                  <a:lnTo>
                    <a:pt x="1088" y="12"/>
                  </a:lnTo>
                  <a:lnTo>
                    <a:pt x="1086" y="12"/>
                  </a:lnTo>
                  <a:lnTo>
                    <a:pt x="1084" y="12"/>
                  </a:lnTo>
                  <a:lnTo>
                    <a:pt x="1082" y="12"/>
                  </a:lnTo>
                  <a:lnTo>
                    <a:pt x="1080" y="12"/>
                  </a:lnTo>
                  <a:lnTo>
                    <a:pt x="1078" y="12"/>
                  </a:lnTo>
                  <a:lnTo>
                    <a:pt x="1074" y="12"/>
                  </a:lnTo>
                  <a:lnTo>
                    <a:pt x="1068" y="10"/>
                  </a:lnTo>
                  <a:lnTo>
                    <a:pt x="1062" y="10"/>
                  </a:lnTo>
                  <a:lnTo>
                    <a:pt x="1062" y="10"/>
                  </a:lnTo>
                  <a:lnTo>
                    <a:pt x="1060" y="8"/>
                  </a:lnTo>
                  <a:lnTo>
                    <a:pt x="1056" y="6"/>
                  </a:lnTo>
                  <a:lnTo>
                    <a:pt x="1050" y="2"/>
                  </a:lnTo>
                  <a:lnTo>
                    <a:pt x="1050" y="2"/>
                  </a:lnTo>
                  <a:lnTo>
                    <a:pt x="1050" y="2"/>
                  </a:lnTo>
                  <a:lnTo>
                    <a:pt x="1048" y="2"/>
                  </a:lnTo>
                  <a:lnTo>
                    <a:pt x="1048" y="2"/>
                  </a:lnTo>
                  <a:lnTo>
                    <a:pt x="1048" y="0"/>
                  </a:lnTo>
                  <a:lnTo>
                    <a:pt x="1046" y="0"/>
                  </a:lnTo>
                  <a:lnTo>
                    <a:pt x="1046" y="0"/>
                  </a:lnTo>
                  <a:lnTo>
                    <a:pt x="1044" y="0"/>
                  </a:lnTo>
                  <a:lnTo>
                    <a:pt x="1042" y="0"/>
                  </a:lnTo>
                  <a:lnTo>
                    <a:pt x="1040" y="0"/>
                  </a:lnTo>
                  <a:lnTo>
                    <a:pt x="1036" y="0"/>
                  </a:lnTo>
                  <a:lnTo>
                    <a:pt x="1034" y="2"/>
                  </a:lnTo>
                  <a:lnTo>
                    <a:pt x="1034" y="2"/>
                  </a:lnTo>
                  <a:lnTo>
                    <a:pt x="1034" y="2"/>
                  </a:lnTo>
                  <a:lnTo>
                    <a:pt x="1032" y="2"/>
                  </a:lnTo>
                  <a:lnTo>
                    <a:pt x="1032" y="2"/>
                  </a:lnTo>
                  <a:lnTo>
                    <a:pt x="1030" y="2"/>
                  </a:lnTo>
                  <a:lnTo>
                    <a:pt x="1030" y="4"/>
                  </a:lnTo>
                  <a:lnTo>
                    <a:pt x="1030" y="4"/>
                  </a:lnTo>
                  <a:lnTo>
                    <a:pt x="1028" y="6"/>
                  </a:lnTo>
                  <a:lnTo>
                    <a:pt x="1028" y="6"/>
                  </a:lnTo>
                  <a:lnTo>
                    <a:pt x="1028" y="6"/>
                  </a:lnTo>
                  <a:lnTo>
                    <a:pt x="1028" y="8"/>
                  </a:lnTo>
                  <a:lnTo>
                    <a:pt x="1028" y="10"/>
                  </a:lnTo>
                  <a:lnTo>
                    <a:pt x="1030" y="14"/>
                  </a:lnTo>
                  <a:lnTo>
                    <a:pt x="1030" y="16"/>
                  </a:lnTo>
                  <a:lnTo>
                    <a:pt x="1032" y="20"/>
                  </a:lnTo>
                  <a:lnTo>
                    <a:pt x="1032" y="20"/>
                  </a:lnTo>
                  <a:lnTo>
                    <a:pt x="1032" y="20"/>
                  </a:lnTo>
                  <a:lnTo>
                    <a:pt x="1032" y="20"/>
                  </a:lnTo>
                  <a:lnTo>
                    <a:pt x="1030" y="20"/>
                  </a:lnTo>
                  <a:lnTo>
                    <a:pt x="1030" y="18"/>
                  </a:lnTo>
                  <a:lnTo>
                    <a:pt x="1030" y="18"/>
                  </a:lnTo>
                  <a:lnTo>
                    <a:pt x="1030" y="16"/>
                  </a:lnTo>
                  <a:lnTo>
                    <a:pt x="1030" y="16"/>
                  </a:lnTo>
                  <a:lnTo>
                    <a:pt x="1030" y="16"/>
                  </a:lnTo>
                  <a:lnTo>
                    <a:pt x="1028" y="14"/>
                  </a:lnTo>
                  <a:lnTo>
                    <a:pt x="1028" y="14"/>
                  </a:lnTo>
                  <a:lnTo>
                    <a:pt x="1028" y="14"/>
                  </a:lnTo>
                  <a:lnTo>
                    <a:pt x="1026" y="12"/>
                  </a:lnTo>
                  <a:lnTo>
                    <a:pt x="1022" y="8"/>
                  </a:lnTo>
                  <a:lnTo>
                    <a:pt x="1020" y="8"/>
                  </a:lnTo>
                  <a:lnTo>
                    <a:pt x="1020" y="6"/>
                  </a:lnTo>
                  <a:lnTo>
                    <a:pt x="1020" y="6"/>
                  </a:lnTo>
                  <a:lnTo>
                    <a:pt x="1020" y="6"/>
                  </a:lnTo>
                  <a:lnTo>
                    <a:pt x="1016" y="6"/>
                  </a:lnTo>
                  <a:lnTo>
                    <a:pt x="1014" y="6"/>
                  </a:lnTo>
                  <a:lnTo>
                    <a:pt x="1014" y="6"/>
                  </a:lnTo>
                  <a:lnTo>
                    <a:pt x="1014" y="6"/>
                  </a:lnTo>
                  <a:lnTo>
                    <a:pt x="1012" y="8"/>
                  </a:lnTo>
                  <a:lnTo>
                    <a:pt x="1012" y="8"/>
                  </a:lnTo>
                  <a:lnTo>
                    <a:pt x="1012" y="8"/>
                  </a:lnTo>
                  <a:lnTo>
                    <a:pt x="1010" y="8"/>
                  </a:lnTo>
                  <a:lnTo>
                    <a:pt x="1010" y="8"/>
                  </a:lnTo>
                  <a:lnTo>
                    <a:pt x="1008" y="8"/>
                  </a:lnTo>
                  <a:lnTo>
                    <a:pt x="1008" y="10"/>
                  </a:lnTo>
                  <a:lnTo>
                    <a:pt x="1004" y="14"/>
                  </a:lnTo>
                  <a:lnTo>
                    <a:pt x="1002" y="14"/>
                  </a:lnTo>
                  <a:lnTo>
                    <a:pt x="1000" y="16"/>
                  </a:lnTo>
                  <a:lnTo>
                    <a:pt x="1000" y="16"/>
                  </a:lnTo>
                  <a:lnTo>
                    <a:pt x="1000" y="18"/>
                  </a:lnTo>
                  <a:lnTo>
                    <a:pt x="1000" y="22"/>
                  </a:lnTo>
                  <a:lnTo>
                    <a:pt x="998" y="20"/>
                  </a:lnTo>
                  <a:lnTo>
                    <a:pt x="998" y="20"/>
                  </a:lnTo>
                  <a:lnTo>
                    <a:pt x="998" y="18"/>
                  </a:lnTo>
                  <a:lnTo>
                    <a:pt x="992" y="16"/>
                  </a:lnTo>
                  <a:lnTo>
                    <a:pt x="992" y="16"/>
                  </a:lnTo>
                  <a:lnTo>
                    <a:pt x="992" y="16"/>
                  </a:lnTo>
                  <a:lnTo>
                    <a:pt x="990" y="14"/>
                  </a:lnTo>
                  <a:lnTo>
                    <a:pt x="986" y="14"/>
                  </a:lnTo>
                  <a:lnTo>
                    <a:pt x="982" y="12"/>
                  </a:lnTo>
                  <a:lnTo>
                    <a:pt x="978" y="12"/>
                  </a:lnTo>
                  <a:lnTo>
                    <a:pt x="974" y="10"/>
                  </a:lnTo>
                  <a:lnTo>
                    <a:pt x="968" y="10"/>
                  </a:lnTo>
                  <a:lnTo>
                    <a:pt x="968" y="10"/>
                  </a:lnTo>
                  <a:lnTo>
                    <a:pt x="968" y="10"/>
                  </a:lnTo>
                  <a:lnTo>
                    <a:pt x="964" y="10"/>
                  </a:lnTo>
                  <a:lnTo>
                    <a:pt x="962" y="12"/>
                  </a:lnTo>
                  <a:lnTo>
                    <a:pt x="960" y="12"/>
                  </a:lnTo>
                  <a:lnTo>
                    <a:pt x="958" y="14"/>
                  </a:lnTo>
                  <a:lnTo>
                    <a:pt x="958" y="14"/>
                  </a:lnTo>
                  <a:lnTo>
                    <a:pt x="956" y="14"/>
                  </a:lnTo>
                  <a:lnTo>
                    <a:pt x="956" y="14"/>
                  </a:lnTo>
                  <a:lnTo>
                    <a:pt x="956" y="14"/>
                  </a:lnTo>
                  <a:lnTo>
                    <a:pt x="954" y="14"/>
                  </a:lnTo>
                  <a:lnTo>
                    <a:pt x="954" y="16"/>
                  </a:lnTo>
                  <a:lnTo>
                    <a:pt x="954" y="16"/>
                  </a:lnTo>
                  <a:lnTo>
                    <a:pt x="954" y="16"/>
                  </a:lnTo>
                  <a:lnTo>
                    <a:pt x="952" y="18"/>
                  </a:lnTo>
                  <a:lnTo>
                    <a:pt x="952" y="18"/>
                  </a:lnTo>
                  <a:lnTo>
                    <a:pt x="952" y="20"/>
                  </a:lnTo>
                  <a:lnTo>
                    <a:pt x="952" y="22"/>
                  </a:lnTo>
                  <a:lnTo>
                    <a:pt x="952" y="22"/>
                  </a:lnTo>
                  <a:lnTo>
                    <a:pt x="952" y="24"/>
                  </a:lnTo>
                  <a:lnTo>
                    <a:pt x="952" y="28"/>
                  </a:lnTo>
                  <a:lnTo>
                    <a:pt x="952" y="28"/>
                  </a:lnTo>
                  <a:lnTo>
                    <a:pt x="952" y="28"/>
                  </a:lnTo>
                  <a:lnTo>
                    <a:pt x="954" y="32"/>
                  </a:lnTo>
                  <a:lnTo>
                    <a:pt x="956" y="36"/>
                  </a:lnTo>
                  <a:lnTo>
                    <a:pt x="954" y="34"/>
                  </a:lnTo>
                  <a:lnTo>
                    <a:pt x="950" y="30"/>
                  </a:lnTo>
                  <a:lnTo>
                    <a:pt x="950" y="30"/>
                  </a:lnTo>
                  <a:lnTo>
                    <a:pt x="950" y="30"/>
                  </a:lnTo>
                  <a:lnTo>
                    <a:pt x="948" y="28"/>
                  </a:lnTo>
                  <a:lnTo>
                    <a:pt x="946" y="26"/>
                  </a:lnTo>
                  <a:lnTo>
                    <a:pt x="944" y="24"/>
                  </a:lnTo>
                  <a:lnTo>
                    <a:pt x="942" y="24"/>
                  </a:lnTo>
                  <a:lnTo>
                    <a:pt x="942" y="24"/>
                  </a:lnTo>
                  <a:lnTo>
                    <a:pt x="942" y="22"/>
                  </a:lnTo>
                  <a:lnTo>
                    <a:pt x="940" y="22"/>
                  </a:lnTo>
                  <a:lnTo>
                    <a:pt x="940" y="22"/>
                  </a:lnTo>
                  <a:lnTo>
                    <a:pt x="940" y="22"/>
                  </a:lnTo>
                  <a:lnTo>
                    <a:pt x="938" y="22"/>
                  </a:lnTo>
                  <a:lnTo>
                    <a:pt x="938" y="22"/>
                  </a:lnTo>
                  <a:lnTo>
                    <a:pt x="938" y="22"/>
                  </a:lnTo>
                  <a:lnTo>
                    <a:pt x="936" y="22"/>
                  </a:lnTo>
                  <a:lnTo>
                    <a:pt x="932" y="22"/>
                  </a:lnTo>
                  <a:lnTo>
                    <a:pt x="930" y="22"/>
                  </a:lnTo>
                  <a:lnTo>
                    <a:pt x="930" y="22"/>
                  </a:lnTo>
                  <a:lnTo>
                    <a:pt x="928" y="22"/>
                  </a:lnTo>
                  <a:lnTo>
                    <a:pt x="926" y="22"/>
                  </a:lnTo>
                  <a:lnTo>
                    <a:pt x="922" y="24"/>
                  </a:lnTo>
                  <a:lnTo>
                    <a:pt x="918" y="24"/>
                  </a:lnTo>
                  <a:lnTo>
                    <a:pt x="912" y="24"/>
                  </a:lnTo>
                  <a:lnTo>
                    <a:pt x="908" y="26"/>
                  </a:lnTo>
                  <a:lnTo>
                    <a:pt x="906" y="26"/>
                  </a:lnTo>
                  <a:lnTo>
                    <a:pt x="906" y="26"/>
                  </a:lnTo>
                  <a:lnTo>
                    <a:pt x="904" y="28"/>
                  </a:lnTo>
                  <a:lnTo>
                    <a:pt x="902" y="28"/>
                  </a:lnTo>
                  <a:lnTo>
                    <a:pt x="902" y="30"/>
                  </a:lnTo>
                  <a:lnTo>
                    <a:pt x="902" y="30"/>
                  </a:lnTo>
                  <a:lnTo>
                    <a:pt x="902" y="30"/>
                  </a:lnTo>
                  <a:lnTo>
                    <a:pt x="900" y="32"/>
                  </a:lnTo>
                  <a:lnTo>
                    <a:pt x="900" y="30"/>
                  </a:lnTo>
                  <a:lnTo>
                    <a:pt x="900" y="30"/>
                  </a:lnTo>
                  <a:lnTo>
                    <a:pt x="898" y="30"/>
                  </a:lnTo>
                  <a:lnTo>
                    <a:pt x="896" y="30"/>
                  </a:lnTo>
                  <a:lnTo>
                    <a:pt x="896" y="30"/>
                  </a:lnTo>
                  <a:lnTo>
                    <a:pt x="892" y="30"/>
                  </a:lnTo>
                  <a:lnTo>
                    <a:pt x="890" y="32"/>
                  </a:lnTo>
                  <a:lnTo>
                    <a:pt x="888" y="34"/>
                  </a:lnTo>
                  <a:lnTo>
                    <a:pt x="886" y="38"/>
                  </a:lnTo>
                  <a:lnTo>
                    <a:pt x="886" y="38"/>
                  </a:lnTo>
                  <a:lnTo>
                    <a:pt x="884" y="38"/>
                  </a:lnTo>
                  <a:lnTo>
                    <a:pt x="884" y="38"/>
                  </a:lnTo>
                  <a:lnTo>
                    <a:pt x="884" y="38"/>
                  </a:lnTo>
                  <a:lnTo>
                    <a:pt x="884" y="40"/>
                  </a:lnTo>
                  <a:lnTo>
                    <a:pt x="882" y="40"/>
                  </a:lnTo>
                  <a:lnTo>
                    <a:pt x="882" y="40"/>
                  </a:lnTo>
                  <a:lnTo>
                    <a:pt x="882" y="44"/>
                  </a:lnTo>
                  <a:lnTo>
                    <a:pt x="884" y="46"/>
                  </a:lnTo>
                  <a:lnTo>
                    <a:pt x="884" y="46"/>
                  </a:lnTo>
                  <a:lnTo>
                    <a:pt x="884" y="46"/>
                  </a:lnTo>
                  <a:lnTo>
                    <a:pt x="886" y="48"/>
                  </a:lnTo>
                  <a:lnTo>
                    <a:pt x="886" y="48"/>
                  </a:lnTo>
                  <a:lnTo>
                    <a:pt x="886" y="48"/>
                  </a:lnTo>
                  <a:lnTo>
                    <a:pt x="888" y="50"/>
                  </a:lnTo>
                  <a:lnTo>
                    <a:pt x="890" y="50"/>
                  </a:lnTo>
                  <a:lnTo>
                    <a:pt x="890" y="50"/>
                  </a:lnTo>
                  <a:lnTo>
                    <a:pt x="890" y="50"/>
                  </a:lnTo>
                  <a:lnTo>
                    <a:pt x="892" y="52"/>
                  </a:lnTo>
                  <a:lnTo>
                    <a:pt x="892" y="52"/>
                  </a:lnTo>
                  <a:lnTo>
                    <a:pt x="894" y="54"/>
                  </a:lnTo>
                  <a:lnTo>
                    <a:pt x="894" y="58"/>
                  </a:lnTo>
                  <a:lnTo>
                    <a:pt x="894" y="60"/>
                  </a:lnTo>
                  <a:lnTo>
                    <a:pt x="896" y="62"/>
                  </a:lnTo>
                  <a:lnTo>
                    <a:pt x="896" y="64"/>
                  </a:lnTo>
                  <a:lnTo>
                    <a:pt x="896" y="64"/>
                  </a:lnTo>
                  <a:lnTo>
                    <a:pt x="894" y="64"/>
                  </a:lnTo>
                  <a:lnTo>
                    <a:pt x="892" y="64"/>
                  </a:lnTo>
                  <a:lnTo>
                    <a:pt x="892" y="64"/>
                  </a:lnTo>
                  <a:lnTo>
                    <a:pt x="890" y="64"/>
                  </a:lnTo>
                  <a:lnTo>
                    <a:pt x="888" y="62"/>
                  </a:lnTo>
                  <a:lnTo>
                    <a:pt x="888" y="60"/>
                  </a:lnTo>
                  <a:lnTo>
                    <a:pt x="888" y="60"/>
                  </a:lnTo>
                  <a:lnTo>
                    <a:pt x="886" y="58"/>
                  </a:lnTo>
                  <a:lnTo>
                    <a:pt x="886" y="58"/>
                  </a:lnTo>
                  <a:lnTo>
                    <a:pt x="886" y="58"/>
                  </a:lnTo>
                  <a:lnTo>
                    <a:pt x="886" y="56"/>
                  </a:lnTo>
                  <a:lnTo>
                    <a:pt x="886" y="56"/>
                  </a:lnTo>
                  <a:lnTo>
                    <a:pt x="884" y="56"/>
                  </a:lnTo>
                  <a:lnTo>
                    <a:pt x="882" y="56"/>
                  </a:lnTo>
                  <a:lnTo>
                    <a:pt x="882" y="56"/>
                  </a:lnTo>
                  <a:lnTo>
                    <a:pt x="882" y="56"/>
                  </a:lnTo>
                  <a:lnTo>
                    <a:pt x="880" y="56"/>
                  </a:lnTo>
                  <a:lnTo>
                    <a:pt x="880" y="56"/>
                  </a:lnTo>
                  <a:lnTo>
                    <a:pt x="878" y="56"/>
                  </a:lnTo>
                  <a:lnTo>
                    <a:pt x="876" y="58"/>
                  </a:lnTo>
                  <a:lnTo>
                    <a:pt x="876" y="58"/>
                  </a:lnTo>
                  <a:lnTo>
                    <a:pt x="876" y="60"/>
                  </a:lnTo>
                  <a:lnTo>
                    <a:pt x="874" y="66"/>
                  </a:lnTo>
                  <a:lnTo>
                    <a:pt x="874" y="74"/>
                  </a:lnTo>
                  <a:lnTo>
                    <a:pt x="874" y="76"/>
                  </a:lnTo>
                  <a:lnTo>
                    <a:pt x="872" y="80"/>
                  </a:lnTo>
                  <a:lnTo>
                    <a:pt x="872" y="82"/>
                  </a:lnTo>
                  <a:lnTo>
                    <a:pt x="870" y="84"/>
                  </a:lnTo>
                  <a:lnTo>
                    <a:pt x="870" y="84"/>
                  </a:lnTo>
                  <a:lnTo>
                    <a:pt x="870" y="86"/>
                  </a:lnTo>
                  <a:lnTo>
                    <a:pt x="870" y="92"/>
                  </a:lnTo>
                  <a:lnTo>
                    <a:pt x="872" y="98"/>
                  </a:lnTo>
                  <a:lnTo>
                    <a:pt x="874" y="104"/>
                  </a:lnTo>
                  <a:lnTo>
                    <a:pt x="874" y="104"/>
                  </a:lnTo>
                  <a:lnTo>
                    <a:pt x="876" y="104"/>
                  </a:lnTo>
                  <a:lnTo>
                    <a:pt x="878" y="110"/>
                  </a:lnTo>
                  <a:lnTo>
                    <a:pt x="878" y="110"/>
                  </a:lnTo>
                  <a:lnTo>
                    <a:pt x="878" y="110"/>
                  </a:lnTo>
                  <a:lnTo>
                    <a:pt x="882" y="114"/>
                  </a:lnTo>
                  <a:lnTo>
                    <a:pt x="882" y="114"/>
                  </a:lnTo>
                  <a:lnTo>
                    <a:pt x="882" y="114"/>
                  </a:lnTo>
                  <a:lnTo>
                    <a:pt x="888" y="118"/>
                  </a:lnTo>
                  <a:lnTo>
                    <a:pt x="888" y="118"/>
                  </a:lnTo>
                  <a:lnTo>
                    <a:pt x="888" y="118"/>
                  </a:lnTo>
                  <a:lnTo>
                    <a:pt x="894" y="120"/>
                  </a:lnTo>
                  <a:lnTo>
                    <a:pt x="894" y="120"/>
                  </a:lnTo>
                  <a:lnTo>
                    <a:pt x="894" y="120"/>
                  </a:lnTo>
                  <a:lnTo>
                    <a:pt x="898" y="122"/>
                  </a:lnTo>
                  <a:lnTo>
                    <a:pt x="900" y="124"/>
                  </a:lnTo>
                  <a:lnTo>
                    <a:pt x="900" y="126"/>
                  </a:lnTo>
                  <a:lnTo>
                    <a:pt x="900" y="130"/>
                  </a:lnTo>
                  <a:lnTo>
                    <a:pt x="902" y="132"/>
                  </a:lnTo>
                  <a:lnTo>
                    <a:pt x="902" y="134"/>
                  </a:lnTo>
                  <a:lnTo>
                    <a:pt x="900" y="132"/>
                  </a:lnTo>
                  <a:lnTo>
                    <a:pt x="898" y="132"/>
                  </a:lnTo>
                  <a:lnTo>
                    <a:pt x="894" y="126"/>
                  </a:lnTo>
                  <a:lnTo>
                    <a:pt x="888" y="122"/>
                  </a:lnTo>
                  <a:lnTo>
                    <a:pt x="882" y="116"/>
                  </a:lnTo>
                  <a:lnTo>
                    <a:pt x="876" y="112"/>
                  </a:lnTo>
                  <a:lnTo>
                    <a:pt x="870" y="106"/>
                  </a:lnTo>
                  <a:lnTo>
                    <a:pt x="866" y="102"/>
                  </a:lnTo>
                  <a:lnTo>
                    <a:pt x="864" y="98"/>
                  </a:lnTo>
                  <a:lnTo>
                    <a:pt x="862" y="96"/>
                  </a:lnTo>
                  <a:lnTo>
                    <a:pt x="854" y="88"/>
                  </a:lnTo>
                  <a:lnTo>
                    <a:pt x="850" y="84"/>
                  </a:lnTo>
                  <a:lnTo>
                    <a:pt x="846" y="80"/>
                  </a:lnTo>
                  <a:lnTo>
                    <a:pt x="842" y="78"/>
                  </a:lnTo>
                  <a:lnTo>
                    <a:pt x="842" y="78"/>
                  </a:lnTo>
                  <a:lnTo>
                    <a:pt x="842" y="78"/>
                  </a:lnTo>
                  <a:lnTo>
                    <a:pt x="838" y="76"/>
                  </a:lnTo>
                  <a:lnTo>
                    <a:pt x="838" y="76"/>
                  </a:lnTo>
                  <a:lnTo>
                    <a:pt x="838" y="76"/>
                  </a:lnTo>
                  <a:lnTo>
                    <a:pt x="838" y="76"/>
                  </a:lnTo>
                  <a:lnTo>
                    <a:pt x="836" y="76"/>
                  </a:lnTo>
                  <a:lnTo>
                    <a:pt x="836" y="76"/>
                  </a:lnTo>
                  <a:lnTo>
                    <a:pt x="834" y="74"/>
                  </a:lnTo>
                  <a:lnTo>
                    <a:pt x="832" y="74"/>
                  </a:lnTo>
                  <a:lnTo>
                    <a:pt x="832" y="74"/>
                  </a:lnTo>
                  <a:lnTo>
                    <a:pt x="830" y="74"/>
                  </a:lnTo>
                  <a:lnTo>
                    <a:pt x="830" y="76"/>
                  </a:lnTo>
                  <a:lnTo>
                    <a:pt x="830" y="76"/>
                  </a:lnTo>
                  <a:lnTo>
                    <a:pt x="828" y="76"/>
                  </a:lnTo>
                  <a:lnTo>
                    <a:pt x="826" y="78"/>
                  </a:lnTo>
                  <a:lnTo>
                    <a:pt x="826" y="78"/>
                  </a:lnTo>
                  <a:lnTo>
                    <a:pt x="826" y="78"/>
                  </a:lnTo>
                  <a:lnTo>
                    <a:pt x="826" y="80"/>
                  </a:lnTo>
                  <a:lnTo>
                    <a:pt x="824" y="84"/>
                  </a:lnTo>
                  <a:lnTo>
                    <a:pt x="824" y="86"/>
                  </a:lnTo>
                  <a:lnTo>
                    <a:pt x="822" y="88"/>
                  </a:lnTo>
                  <a:lnTo>
                    <a:pt x="822" y="88"/>
                  </a:lnTo>
                  <a:lnTo>
                    <a:pt x="822" y="88"/>
                  </a:lnTo>
                  <a:lnTo>
                    <a:pt x="822" y="92"/>
                  </a:lnTo>
                  <a:lnTo>
                    <a:pt x="822" y="94"/>
                  </a:lnTo>
                  <a:lnTo>
                    <a:pt x="822" y="96"/>
                  </a:lnTo>
                  <a:lnTo>
                    <a:pt x="820" y="98"/>
                  </a:lnTo>
                  <a:lnTo>
                    <a:pt x="820" y="100"/>
                  </a:lnTo>
                  <a:lnTo>
                    <a:pt x="820" y="100"/>
                  </a:lnTo>
                  <a:lnTo>
                    <a:pt x="816" y="100"/>
                  </a:lnTo>
                  <a:lnTo>
                    <a:pt x="814" y="100"/>
                  </a:lnTo>
                  <a:lnTo>
                    <a:pt x="808" y="102"/>
                  </a:lnTo>
                  <a:lnTo>
                    <a:pt x="808" y="102"/>
                  </a:lnTo>
                  <a:lnTo>
                    <a:pt x="806" y="102"/>
                  </a:lnTo>
                  <a:lnTo>
                    <a:pt x="806" y="102"/>
                  </a:lnTo>
                  <a:lnTo>
                    <a:pt x="806" y="106"/>
                  </a:lnTo>
                  <a:lnTo>
                    <a:pt x="808" y="108"/>
                  </a:lnTo>
                  <a:lnTo>
                    <a:pt x="810" y="110"/>
                  </a:lnTo>
                  <a:lnTo>
                    <a:pt x="812" y="112"/>
                  </a:lnTo>
                  <a:lnTo>
                    <a:pt x="812" y="112"/>
                  </a:lnTo>
                  <a:lnTo>
                    <a:pt x="812" y="112"/>
                  </a:lnTo>
                  <a:lnTo>
                    <a:pt x="814" y="114"/>
                  </a:lnTo>
                  <a:lnTo>
                    <a:pt x="814" y="114"/>
                  </a:lnTo>
                  <a:lnTo>
                    <a:pt x="814" y="114"/>
                  </a:lnTo>
                  <a:lnTo>
                    <a:pt x="816" y="114"/>
                  </a:lnTo>
                  <a:lnTo>
                    <a:pt x="816" y="114"/>
                  </a:lnTo>
                  <a:lnTo>
                    <a:pt x="816" y="114"/>
                  </a:lnTo>
                  <a:lnTo>
                    <a:pt x="818" y="114"/>
                  </a:lnTo>
                  <a:lnTo>
                    <a:pt x="822" y="116"/>
                  </a:lnTo>
                  <a:lnTo>
                    <a:pt x="824" y="116"/>
                  </a:lnTo>
                  <a:lnTo>
                    <a:pt x="824" y="116"/>
                  </a:lnTo>
                  <a:lnTo>
                    <a:pt x="826" y="118"/>
                  </a:lnTo>
                  <a:lnTo>
                    <a:pt x="828" y="120"/>
                  </a:lnTo>
                  <a:lnTo>
                    <a:pt x="830" y="122"/>
                  </a:lnTo>
                  <a:lnTo>
                    <a:pt x="830" y="122"/>
                  </a:lnTo>
                  <a:lnTo>
                    <a:pt x="830" y="124"/>
                  </a:lnTo>
                  <a:lnTo>
                    <a:pt x="828" y="126"/>
                  </a:lnTo>
                  <a:lnTo>
                    <a:pt x="828" y="126"/>
                  </a:lnTo>
                  <a:lnTo>
                    <a:pt x="828" y="126"/>
                  </a:lnTo>
                  <a:lnTo>
                    <a:pt x="828" y="130"/>
                  </a:lnTo>
                  <a:lnTo>
                    <a:pt x="828" y="134"/>
                  </a:lnTo>
                  <a:lnTo>
                    <a:pt x="828" y="136"/>
                  </a:lnTo>
                  <a:lnTo>
                    <a:pt x="826" y="138"/>
                  </a:lnTo>
                  <a:lnTo>
                    <a:pt x="826" y="138"/>
                  </a:lnTo>
                  <a:lnTo>
                    <a:pt x="826" y="138"/>
                  </a:lnTo>
                  <a:lnTo>
                    <a:pt x="826" y="138"/>
                  </a:lnTo>
                  <a:lnTo>
                    <a:pt x="826" y="136"/>
                  </a:lnTo>
                  <a:lnTo>
                    <a:pt x="822" y="134"/>
                  </a:lnTo>
                  <a:lnTo>
                    <a:pt x="820" y="130"/>
                  </a:lnTo>
                  <a:lnTo>
                    <a:pt x="816" y="128"/>
                  </a:lnTo>
                  <a:lnTo>
                    <a:pt x="816" y="126"/>
                  </a:lnTo>
                  <a:lnTo>
                    <a:pt x="816" y="126"/>
                  </a:lnTo>
                  <a:lnTo>
                    <a:pt x="816" y="126"/>
                  </a:lnTo>
                  <a:lnTo>
                    <a:pt x="814" y="124"/>
                  </a:lnTo>
                  <a:lnTo>
                    <a:pt x="814" y="124"/>
                  </a:lnTo>
                  <a:lnTo>
                    <a:pt x="814" y="124"/>
                  </a:lnTo>
                  <a:lnTo>
                    <a:pt x="814" y="124"/>
                  </a:lnTo>
                  <a:lnTo>
                    <a:pt x="812" y="122"/>
                  </a:lnTo>
                  <a:lnTo>
                    <a:pt x="812" y="122"/>
                  </a:lnTo>
                  <a:lnTo>
                    <a:pt x="812" y="122"/>
                  </a:lnTo>
                  <a:lnTo>
                    <a:pt x="810" y="122"/>
                  </a:lnTo>
                  <a:lnTo>
                    <a:pt x="810" y="122"/>
                  </a:lnTo>
                  <a:lnTo>
                    <a:pt x="808" y="122"/>
                  </a:lnTo>
                  <a:lnTo>
                    <a:pt x="806" y="124"/>
                  </a:lnTo>
                  <a:lnTo>
                    <a:pt x="806" y="124"/>
                  </a:lnTo>
                  <a:lnTo>
                    <a:pt x="806" y="124"/>
                  </a:lnTo>
                  <a:lnTo>
                    <a:pt x="804" y="126"/>
                  </a:lnTo>
                  <a:lnTo>
                    <a:pt x="802" y="128"/>
                  </a:lnTo>
                  <a:lnTo>
                    <a:pt x="800" y="130"/>
                  </a:lnTo>
                  <a:lnTo>
                    <a:pt x="800" y="130"/>
                  </a:lnTo>
                  <a:lnTo>
                    <a:pt x="798" y="130"/>
                  </a:lnTo>
                  <a:lnTo>
                    <a:pt x="798" y="130"/>
                  </a:lnTo>
                  <a:lnTo>
                    <a:pt x="798" y="128"/>
                  </a:lnTo>
                  <a:lnTo>
                    <a:pt x="796" y="128"/>
                  </a:lnTo>
                  <a:lnTo>
                    <a:pt x="796" y="126"/>
                  </a:lnTo>
                  <a:lnTo>
                    <a:pt x="796" y="126"/>
                  </a:lnTo>
                  <a:lnTo>
                    <a:pt x="796" y="126"/>
                  </a:lnTo>
                  <a:lnTo>
                    <a:pt x="794" y="126"/>
                  </a:lnTo>
                  <a:lnTo>
                    <a:pt x="794" y="124"/>
                  </a:lnTo>
                  <a:lnTo>
                    <a:pt x="794" y="124"/>
                  </a:lnTo>
                  <a:lnTo>
                    <a:pt x="794" y="124"/>
                  </a:lnTo>
                  <a:lnTo>
                    <a:pt x="790" y="122"/>
                  </a:lnTo>
                  <a:lnTo>
                    <a:pt x="790" y="122"/>
                  </a:lnTo>
                  <a:lnTo>
                    <a:pt x="788" y="122"/>
                  </a:lnTo>
                  <a:lnTo>
                    <a:pt x="786" y="122"/>
                  </a:lnTo>
                  <a:lnTo>
                    <a:pt x="784" y="124"/>
                  </a:lnTo>
                  <a:lnTo>
                    <a:pt x="782" y="124"/>
                  </a:lnTo>
                  <a:lnTo>
                    <a:pt x="782" y="124"/>
                  </a:lnTo>
                  <a:lnTo>
                    <a:pt x="780" y="124"/>
                  </a:lnTo>
                  <a:lnTo>
                    <a:pt x="780" y="126"/>
                  </a:lnTo>
                  <a:lnTo>
                    <a:pt x="780" y="126"/>
                  </a:lnTo>
                  <a:lnTo>
                    <a:pt x="780" y="126"/>
                  </a:lnTo>
                  <a:lnTo>
                    <a:pt x="778" y="126"/>
                  </a:lnTo>
                  <a:lnTo>
                    <a:pt x="778" y="126"/>
                  </a:lnTo>
                  <a:lnTo>
                    <a:pt x="778" y="128"/>
                  </a:lnTo>
                  <a:lnTo>
                    <a:pt x="776" y="130"/>
                  </a:lnTo>
                  <a:lnTo>
                    <a:pt x="776" y="132"/>
                  </a:lnTo>
                  <a:lnTo>
                    <a:pt x="774" y="134"/>
                  </a:lnTo>
                  <a:lnTo>
                    <a:pt x="774" y="134"/>
                  </a:lnTo>
                  <a:lnTo>
                    <a:pt x="774" y="134"/>
                  </a:lnTo>
                  <a:lnTo>
                    <a:pt x="774" y="138"/>
                  </a:lnTo>
                  <a:lnTo>
                    <a:pt x="774" y="140"/>
                  </a:lnTo>
                  <a:lnTo>
                    <a:pt x="774" y="142"/>
                  </a:lnTo>
                  <a:lnTo>
                    <a:pt x="772" y="142"/>
                  </a:lnTo>
                  <a:lnTo>
                    <a:pt x="772" y="144"/>
                  </a:lnTo>
                  <a:lnTo>
                    <a:pt x="772" y="144"/>
                  </a:lnTo>
                  <a:lnTo>
                    <a:pt x="770" y="144"/>
                  </a:lnTo>
                  <a:lnTo>
                    <a:pt x="768" y="144"/>
                  </a:lnTo>
                  <a:lnTo>
                    <a:pt x="768" y="144"/>
                  </a:lnTo>
                  <a:lnTo>
                    <a:pt x="766" y="142"/>
                  </a:lnTo>
                  <a:lnTo>
                    <a:pt x="762" y="142"/>
                  </a:lnTo>
                  <a:lnTo>
                    <a:pt x="760" y="140"/>
                  </a:lnTo>
                  <a:lnTo>
                    <a:pt x="760" y="140"/>
                  </a:lnTo>
                  <a:lnTo>
                    <a:pt x="760" y="140"/>
                  </a:lnTo>
                  <a:lnTo>
                    <a:pt x="758" y="140"/>
                  </a:lnTo>
                  <a:lnTo>
                    <a:pt x="758" y="140"/>
                  </a:lnTo>
                  <a:lnTo>
                    <a:pt x="756" y="140"/>
                  </a:lnTo>
                  <a:lnTo>
                    <a:pt x="754" y="140"/>
                  </a:lnTo>
                  <a:lnTo>
                    <a:pt x="752" y="140"/>
                  </a:lnTo>
                  <a:lnTo>
                    <a:pt x="750" y="142"/>
                  </a:lnTo>
                  <a:lnTo>
                    <a:pt x="748" y="142"/>
                  </a:lnTo>
                  <a:lnTo>
                    <a:pt x="746" y="142"/>
                  </a:lnTo>
                  <a:lnTo>
                    <a:pt x="742" y="142"/>
                  </a:lnTo>
                  <a:lnTo>
                    <a:pt x="742" y="142"/>
                  </a:lnTo>
                  <a:lnTo>
                    <a:pt x="740" y="144"/>
                  </a:lnTo>
                  <a:lnTo>
                    <a:pt x="738" y="148"/>
                  </a:lnTo>
                  <a:lnTo>
                    <a:pt x="734" y="152"/>
                  </a:lnTo>
                  <a:lnTo>
                    <a:pt x="728" y="160"/>
                  </a:lnTo>
                  <a:lnTo>
                    <a:pt x="728" y="160"/>
                  </a:lnTo>
                  <a:lnTo>
                    <a:pt x="726" y="162"/>
                  </a:lnTo>
                  <a:lnTo>
                    <a:pt x="726" y="164"/>
                  </a:lnTo>
                  <a:lnTo>
                    <a:pt x="726" y="166"/>
                  </a:lnTo>
                  <a:lnTo>
                    <a:pt x="726" y="168"/>
                  </a:lnTo>
                  <a:lnTo>
                    <a:pt x="726" y="172"/>
                  </a:lnTo>
                  <a:lnTo>
                    <a:pt x="726" y="176"/>
                  </a:lnTo>
                  <a:lnTo>
                    <a:pt x="726" y="178"/>
                  </a:lnTo>
                  <a:lnTo>
                    <a:pt x="728" y="180"/>
                  </a:lnTo>
                  <a:lnTo>
                    <a:pt x="728" y="180"/>
                  </a:lnTo>
                  <a:lnTo>
                    <a:pt x="728" y="180"/>
                  </a:lnTo>
                  <a:lnTo>
                    <a:pt x="728" y="182"/>
                  </a:lnTo>
                  <a:lnTo>
                    <a:pt x="728" y="182"/>
                  </a:lnTo>
                  <a:lnTo>
                    <a:pt x="728" y="182"/>
                  </a:lnTo>
                  <a:lnTo>
                    <a:pt x="730" y="184"/>
                  </a:lnTo>
                  <a:lnTo>
                    <a:pt x="730" y="184"/>
                  </a:lnTo>
                  <a:lnTo>
                    <a:pt x="730" y="184"/>
                  </a:lnTo>
                  <a:lnTo>
                    <a:pt x="734" y="182"/>
                  </a:lnTo>
                  <a:lnTo>
                    <a:pt x="734" y="182"/>
                  </a:lnTo>
                  <a:lnTo>
                    <a:pt x="734" y="182"/>
                  </a:lnTo>
                  <a:lnTo>
                    <a:pt x="734" y="182"/>
                  </a:lnTo>
                  <a:lnTo>
                    <a:pt x="736" y="180"/>
                  </a:lnTo>
                  <a:lnTo>
                    <a:pt x="736" y="180"/>
                  </a:lnTo>
                  <a:lnTo>
                    <a:pt x="736" y="180"/>
                  </a:lnTo>
                  <a:lnTo>
                    <a:pt x="736" y="178"/>
                  </a:lnTo>
                  <a:lnTo>
                    <a:pt x="736" y="178"/>
                  </a:lnTo>
                  <a:lnTo>
                    <a:pt x="738" y="178"/>
                  </a:lnTo>
                  <a:lnTo>
                    <a:pt x="738" y="176"/>
                  </a:lnTo>
                  <a:lnTo>
                    <a:pt x="738" y="176"/>
                  </a:lnTo>
                  <a:lnTo>
                    <a:pt x="738" y="176"/>
                  </a:lnTo>
                  <a:lnTo>
                    <a:pt x="738" y="174"/>
                  </a:lnTo>
                  <a:lnTo>
                    <a:pt x="738" y="174"/>
                  </a:lnTo>
                  <a:lnTo>
                    <a:pt x="738" y="172"/>
                  </a:lnTo>
                  <a:lnTo>
                    <a:pt x="738" y="172"/>
                  </a:lnTo>
                  <a:lnTo>
                    <a:pt x="738" y="172"/>
                  </a:lnTo>
                  <a:lnTo>
                    <a:pt x="742" y="172"/>
                  </a:lnTo>
                  <a:lnTo>
                    <a:pt x="742" y="172"/>
                  </a:lnTo>
                  <a:lnTo>
                    <a:pt x="742" y="170"/>
                  </a:lnTo>
                  <a:lnTo>
                    <a:pt x="744" y="168"/>
                  </a:lnTo>
                  <a:lnTo>
                    <a:pt x="746" y="166"/>
                  </a:lnTo>
                  <a:lnTo>
                    <a:pt x="748" y="166"/>
                  </a:lnTo>
                  <a:lnTo>
                    <a:pt x="752" y="166"/>
                  </a:lnTo>
                  <a:lnTo>
                    <a:pt x="752" y="166"/>
                  </a:lnTo>
                  <a:lnTo>
                    <a:pt x="754" y="166"/>
                  </a:lnTo>
                  <a:lnTo>
                    <a:pt x="758" y="166"/>
                  </a:lnTo>
                  <a:lnTo>
                    <a:pt x="760" y="166"/>
                  </a:lnTo>
                  <a:lnTo>
                    <a:pt x="760" y="168"/>
                  </a:lnTo>
                  <a:lnTo>
                    <a:pt x="758" y="170"/>
                  </a:lnTo>
                  <a:lnTo>
                    <a:pt x="758" y="170"/>
                  </a:lnTo>
                  <a:lnTo>
                    <a:pt x="758" y="170"/>
                  </a:lnTo>
                  <a:lnTo>
                    <a:pt x="758" y="172"/>
                  </a:lnTo>
                  <a:lnTo>
                    <a:pt x="758" y="172"/>
                  </a:lnTo>
                  <a:lnTo>
                    <a:pt x="758" y="172"/>
                  </a:lnTo>
                  <a:lnTo>
                    <a:pt x="758" y="174"/>
                  </a:lnTo>
                  <a:lnTo>
                    <a:pt x="758" y="176"/>
                  </a:lnTo>
                  <a:lnTo>
                    <a:pt x="758" y="176"/>
                  </a:lnTo>
                  <a:lnTo>
                    <a:pt x="758" y="176"/>
                  </a:lnTo>
                  <a:lnTo>
                    <a:pt x="760" y="178"/>
                  </a:lnTo>
                  <a:lnTo>
                    <a:pt x="760" y="178"/>
                  </a:lnTo>
                  <a:lnTo>
                    <a:pt x="760" y="178"/>
                  </a:lnTo>
                  <a:lnTo>
                    <a:pt x="762" y="180"/>
                  </a:lnTo>
                  <a:lnTo>
                    <a:pt x="762" y="180"/>
                  </a:lnTo>
                  <a:lnTo>
                    <a:pt x="764" y="180"/>
                  </a:lnTo>
                  <a:lnTo>
                    <a:pt x="768" y="180"/>
                  </a:lnTo>
                  <a:lnTo>
                    <a:pt x="768" y="180"/>
                  </a:lnTo>
                  <a:lnTo>
                    <a:pt x="770" y="180"/>
                  </a:lnTo>
                  <a:lnTo>
                    <a:pt x="772" y="178"/>
                  </a:lnTo>
                  <a:lnTo>
                    <a:pt x="776" y="176"/>
                  </a:lnTo>
                  <a:lnTo>
                    <a:pt x="780" y="174"/>
                  </a:lnTo>
                  <a:lnTo>
                    <a:pt x="784" y="174"/>
                  </a:lnTo>
                  <a:lnTo>
                    <a:pt x="790" y="174"/>
                  </a:lnTo>
                  <a:lnTo>
                    <a:pt x="796" y="174"/>
                  </a:lnTo>
                  <a:lnTo>
                    <a:pt x="798" y="176"/>
                  </a:lnTo>
                  <a:lnTo>
                    <a:pt x="798" y="176"/>
                  </a:lnTo>
                  <a:lnTo>
                    <a:pt x="796" y="178"/>
                  </a:lnTo>
                  <a:lnTo>
                    <a:pt x="794" y="178"/>
                  </a:lnTo>
                  <a:lnTo>
                    <a:pt x="790" y="180"/>
                  </a:lnTo>
                  <a:lnTo>
                    <a:pt x="788" y="180"/>
                  </a:lnTo>
                  <a:lnTo>
                    <a:pt x="788" y="180"/>
                  </a:lnTo>
                  <a:lnTo>
                    <a:pt x="788" y="180"/>
                  </a:lnTo>
                  <a:lnTo>
                    <a:pt x="780" y="184"/>
                  </a:lnTo>
                  <a:lnTo>
                    <a:pt x="770" y="188"/>
                  </a:lnTo>
                  <a:lnTo>
                    <a:pt x="770" y="188"/>
                  </a:lnTo>
                  <a:lnTo>
                    <a:pt x="768" y="190"/>
                  </a:lnTo>
                  <a:lnTo>
                    <a:pt x="768" y="194"/>
                  </a:lnTo>
                  <a:lnTo>
                    <a:pt x="768" y="196"/>
                  </a:lnTo>
                  <a:lnTo>
                    <a:pt x="768" y="198"/>
                  </a:lnTo>
                  <a:lnTo>
                    <a:pt x="768" y="200"/>
                  </a:lnTo>
                  <a:lnTo>
                    <a:pt x="768" y="200"/>
                  </a:lnTo>
                  <a:lnTo>
                    <a:pt x="766" y="200"/>
                  </a:lnTo>
                  <a:lnTo>
                    <a:pt x="766" y="202"/>
                  </a:lnTo>
                  <a:lnTo>
                    <a:pt x="764" y="202"/>
                  </a:lnTo>
                  <a:lnTo>
                    <a:pt x="762" y="202"/>
                  </a:lnTo>
                  <a:lnTo>
                    <a:pt x="758" y="202"/>
                  </a:lnTo>
                  <a:lnTo>
                    <a:pt x="758" y="202"/>
                  </a:lnTo>
                  <a:lnTo>
                    <a:pt x="758" y="204"/>
                  </a:lnTo>
                  <a:lnTo>
                    <a:pt x="756" y="206"/>
                  </a:lnTo>
                  <a:lnTo>
                    <a:pt x="754" y="208"/>
                  </a:lnTo>
                  <a:lnTo>
                    <a:pt x="752" y="210"/>
                  </a:lnTo>
                  <a:lnTo>
                    <a:pt x="752" y="210"/>
                  </a:lnTo>
                  <a:lnTo>
                    <a:pt x="752" y="210"/>
                  </a:lnTo>
                  <a:lnTo>
                    <a:pt x="752" y="212"/>
                  </a:lnTo>
                  <a:lnTo>
                    <a:pt x="752" y="212"/>
                  </a:lnTo>
                  <a:lnTo>
                    <a:pt x="752" y="212"/>
                  </a:lnTo>
                  <a:lnTo>
                    <a:pt x="750" y="214"/>
                  </a:lnTo>
                  <a:lnTo>
                    <a:pt x="750" y="214"/>
                  </a:lnTo>
                  <a:lnTo>
                    <a:pt x="750" y="214"/>
                  </a:lnTo>
                  <a:lnTo>
                    <a:pt x="750" y="216"/>
                  </a:lnTo>
                  <a:lnTo>
                    <a:pt x="750" y="216"/>
                  </a:lnTo>
                  <a:lnTo>
                    <a:pt x="750" y="216"/>
                  </a:lnTo>
                  <a:lnTo>
                    <a:pt x="752" y="218"/>
                  </a:lnTo>
                  <a:lnTo>
                    <a:pt x="752" y="222"/>
                  </a:lnTo>
                  <a:lnTo>
                    <a:pt x="752" y="222"/>
                  </a:lnTo>
                  <a:lnTo>
                    <a:pt x="754" y="224"/>
                  </a:lnTo>
                  <a:lnTo>
                    <a:pt x="754" y="224"/>
                  </a:lnTo>
                  <a:lnTo>
                    <a:pt x="756" y="224"/>
                  </a:lnTo>
                  <a:lnTo>
                    <a:pt x="758" y="222"/>
                  </a:lnTo>
                  <a:lnTo>
                    <a:pt x="760" y="222"/>
                  </a:lnTo>
                  <a:lnTo>
                    <a:pt x="760" y="222"/>
                  </a:lnTo>
                  <a:lnTo>
                    <a:pt x="762" y="222"/>
                  </a:lnTo>
                  <a:lnTo>
                    <a:pt x="766" y="224"/>
                  </a:lnTo>
                  <a:lnTo>
                    <a:pt x="768" y="226"/>
                  </a:lnTo>
                  <a:lnTo>
                    <a:pt x="768" y="226"/>
                  </a:lnTo>
                  <a:lnTo>
                    <a:pt x="770" y="226"/>
                  </a:lnTo>
                  <a:lnTo>
                    <a:pt x="770" y="226"/>
                  </a:lnTo>
                  <a:lnTo>
                    <a:pt x="770" y="226"/>
                  </a:lnTo>
                  <a:lnTo>
                    <a:pt x="768" y="230"/>
                  </a:lnTo>
                  <a:lnTo>
                    <a:pt x="770" y="236"/>
                  </a:lnTo>
                  <a:lnTo>
                    <a:pt x="772" y="244"/>
                  </a:lnTo>
                  <a:lnTo>
                    <a:pt x="772" y="244"/>
                  </a:lnTo>
                  <a:lnTo>
                    <a:pt x="774" y="244"/>
                  </a:lnTo>
                  <a:lnTo>
                    <a:pt x="774" y="246"/>
                  </a:lnTo>
                  <a:lnTo>
                    <a:pt x="774" y="246"/>
                  </a:lnTo>
                  <a:lnTo>
                    <a:pt x="776" y="248"/>
                  </a:lnTo>
                  <a:lnTo>
                    <a:pt x="778" y="250"/>
                  </a:lnTo>
                  <a:lnTo>
                    <a:pt x="778" y="250"/>
                  </a:lnTo>
                  <a:lnTo>
                    <a:pt x="778" y="250"/>
                  </a:lnTo>
                  <a:lnTo>
                    <a:pt x="780" y="252"/>
                  </a:lnTo>
                  <a:lnTo>
                    <a:pt x="780" y="252"/>
                  </a:lnTo>
                  <a:lnTo>
                    <a:pt x="780" y="252"/>
                  </a:lnTo>
                  <a:lnTo>
                    <a:pt x="784" y="254"/>
                  </a:lnTo>
                  <a:lnTo>
                    <a:pt x="786" y="256"/>
                  </a:lnTo>
                  <a:lnTo>
                    <a:pt x="786" y="256"/>
                  </a:lnTo>
                  <a:lnTo>
                    <a:pt x="786" y="256"/>
                  </a:lnTo>
                  <a:lnTo>
                    <a:pt x="788" y="258"/>
                  </a:lnTo>
                  <a:lnTo>
                    <a:pt x="788" y="258"/>
                  </a:lnTo>
                  <a:lnTo>
                    <a:pt x="788" y="258"/>
                  </a:lnTo>
                  <a:lnTo>
                    <a:pt x="790" y="258"/>
                  </a:lnTo>
                  <a:lnTo>
                    <a:pt x="790" y="258"/>
                  </a:lnTo>
                  <a:lnTo>
                    <a:pt x="792" y="258"/>
                  </a:lnTo>
                  <a:lnTo>
                    <a:pt x="794" y="260"/>
                  </a:lnTo>
                  <a:lnTo>
                    <a:pt x="794" y="260"/>
                  </a:lnTo>
                  <a:lnTo>
                    <a:pt x="794" y="258"/>
                  </a:lnTo>
                  <a:lnTo>
                    <a:pt x="796" y="258"/>
                  </a:lnTo>
                  <a:lnTo>
                    <a:pt x="796" y="258"/>
                  </a:lnTo>
                  <a:lnTo>
                    <a:pt x="796" y="258"/>
                  </a:lnTo>
                  <a:lnTo>
                    <a:pt x="798" y="256"/>
                  </a:lnTo>
                  <a:lnTo>
                    <a:pt x="798" y="256"/>
                  </a:lnTo>
                  <a:lnTo>
                    <a:pt x="800" y="256"/>
                  </a:lnTo>
                  <a:lnTo>
                    <a:pt x="802" y="254"/>
                  </a:lnTo>
                  <a:lnTo>
                    <a:pt x="802" y="252"/>
                  </a:lnTo>
                  <a:lnTo>
                    <a:pt x="804" y="254"/>
                  </a:lnTo>
                  <a:lnTo>
                    <a:pt x="804" y="254"/>
                  </a:lnTo>
                  <a:lnTo>
                    <a:pt x="806" y="254"/>
                  </a:lnTo>
                  <a:lnTo>
                    <a:pt x="806" y="254"/>
                  </a:lnTo>
                  <a:lnTo>
                    <a:pt x="808" y="256"/>
                  </a:lnTo>
                  <a:lnTo>
                    <a:pt x="808" y="256"/>
                  </a:lnTo>
                  <a:lnTo>
                    <a:pt x="808" y="258"/>
                  </a:lnTo>
                  <a:lnTo>
                    <a:pt x="810" y="260"/>
                  </a:lnTo>
                  <a:lnTo>
                    <a:pt x="812" y="268"/>
                  </a:lnTo>
                  <a:lnTo>
                    <a:pt x="814" y="276"/>
                  </a:lnTo>
                  <a:lnTo>
                    <a:pt x="814" y="276"/>
                  </a:lnTo>
                  <a:lnTo>
                    <a:pt x="816" y="278"/>
                  </a:lnTo>
                  <a:lnTo>
                    <a:pt x="816" y="278"/>
                  </a:lnTo>
                  <a:lnTo>
                    <a:pt x="818" y="276"/>
                  </a:lnTo>
                  <a:lnTo>
                    <a:pt x="820" y="274"/>
                  </a:lnTo>
                  <a:lnTo>
                    <a:pt x="820" y="274"/>
                  </a:lnTo>
                  <a:lnTo>
                    <a:pt x="824" y="272"/>
                  </a:lnTo>
                  <a:lnTo>
                    <a:pt x="826" y="270"/>
                  </a:lnTo>
                  <a:lnTo>
                    <a:pt x="828" y="270"/>
                  </a:lnTo>
                  <a:lnTo>
                    <a:pt x="832" y="272"/>
                  </a:lnTo>
                  <a:lnTo>
                    <a:pt x="836" y="272"/>
                  </a:lnTo>
                  <a:lnTo>
                    <a:pt x="840" y="274"/>
                  </a:lnTo>
                  <a:lnTo>
                    <a:pt x="844" y="274"/>
                  </a:lnTo>
                  <a:lnTo>
                    <a:pt x="844" y="274"/>
                  </a:lnTo>
                  <a:lnTo>
                    <a:pt x="846" y="274"/>
                  </a:lnTo>
                  <a:lnTo>
                    <a:pt x="850" y="274"/>
                  </a:lnTo>
                  <a:lnTo>
                    <a:pt x="852" y="274"/>
                  </a:lnTo>
                  <a:lnTo>
                    <a:pt x="856" y="272"/>
                  </a:lnTo>
                  <a:lnTo>
                    <a:pt x="856" y="272"/>
                  </a:lnTo>
                  <a:lnTo>
                    <a:pt x="856" y="272"/>
                  </a:lnTo>
                  <a:lnTo>
                    <a:pt x="858" y="272"/>
                  </a:lnTo>
                  <a:lnTo>
                    <a:pt x="858" y="272"/>
                  </a:lnTo>
                  <a:lnTo>
                    <a:pt x="858" y="270"/>
                  </a:lnTo>
                  <a:lnTo>
                    <a:pt x="860" y="270"/>
                  </a:lnTo>
                  <a:lnTo>
                    <a:pt x="860" y="270"/>
                  </a:lnTo>
                  <a:lnTo>
                    <a:pt x="860" y="270"/>
                  </a:lnTo>
                  <a:lnTo>
                    <a:pt x="860" y="268"/>
                  </a:lnTo>
                  <a:lnTo>
                    <a:pt x="860" y="268"/>
                  </a:lnTo>
                  <a:lnTo>
                    <a:pt x="862" y="268"/>
                  </a:lnTo>
                  <a:lnTo>
                    <a:pt x="862" y="266"/>
                  </a:lnTo>
                  <a:lnTo>
                    <a:pt x="862" y="266"/>
                  </a:lnTo>
                  <a:lnTo>
                    <a:pt x="862" y="266"/>
                  </a:lnTo>
                  <a:lnTo>
                    <a:pt x="862" y="264"/>
                  </a:lnTo>
                  <a:lnTo>
                    <a:pt x="862" y="264"/>
                  </a:lnTo>
                  <a:lnTo>
                    <a:pt x="862" y="264"/>
                  </a:lnTo>
                  <a:lnTo>
                    <a:pt x="862" y="260"/>
                  </a:lnTo>
                  <a:lnTo>
                    <a:pt x="862" y="260"/>
                  </a:lnTo>
                  <a:lnTo>
                    <a:pt x="862" y="260"/>
                  </a:lnTo>
                  <a:lnTo>
                    <a:pt x="860" y="256"/>
                  </a:lnTo>
                  <a:lnTo>
                    <a:pt x="856" y="250"/>
                  </a:lnTo>
                  <a:lnTo>
                    <a:pt x="854" y="248"/>
                  </a:lnTo>
                  <a:lnTo>
                    <a:pt x="856" y="248"/>
                  </a:lnTo>
                  <a:lnTo>
                    <a:pt x="856" y="246"/>
                  </a:lnTo>
                  <a:lnTo>
                    <a:pt x="858" y="244"/>
                  </a:lnTo>
                  <a:lnTo>
                    <a:pt x="860" y="244"/>
                  </a:lnTo>
                  <a:lnTo>
                    <a:pt x="862" y="244"/>
                  </a:lnTo>
                  <a:lnTo>
                    <a:pt x="866" y="244"/>
                  </a:lnTo>
                  <a:lnTo>
                    <a:pt x="870" y="244"/>
                  </a:lnTo>
                  <a:lnTo>
                    <a:pt x="874" y="244"/>
                  </a:lnTo>
                  <a:lnTo>
                    <a:pt x="878" y="244"/>
                  </a:lnTo>
                  <a:lnTo>
                    <a:pt x="876" y="246"/>
                  </a:lnTo>
                  <a:lnTo>
                    <a:pt x="874" y="250"/>
                  </a:lnTo>
                  <a:lnTo>
                    <a:pt x="870" y="252"/>
                  </a:lnTo>
                  <a:lnTo>
                    <a:pt x="870" y="254"/>
                  </a:lnTo>
                  <a:lnTo>
                    <a:pt x="868" y="254"/>
                  </a:lnTo>
                  <a:lnTo>
                    <a:pt x="868" y="256"/>
                  </a:lnTo>
                  <a:lnTo>
                    <a:pt x="868" y="256"/>
                  </a:lnTo>
                  <a:lnTo>
                    <a:pt x="868" y="256"/>
                  </a:lnTo>
                  <a:lnTo>
                    <a:pt x="866" y="256"/>
                  </a:lnTo>
                  <a:lnTo>
                    <a:pt x="866" y="256"/>
                  </a:lnTo>
                  <a:lnTo>
                    <a:pt x="866" y="258"/>
                  </a:lnTo>
                  <a:lnTo>
                    <a:pt x="868" y="260"/>
                  </a:lnTo>
                  <a:lnTo>
                    <a:pt x="868" y="260"/>
                  </a:lnTo>
                  <a:lnTo>
                    <a:pt x="868" y="260"/>
                  </a:lnTo>
                  <a:lnTo>
                    <a:pt x="870" y="260"/>
                  </a:lnTo>
                  <a:lnTo>
                    <a:pt x="872" y="260"/>
                  </a:lnTo>
                  <a:lnTo>
                    <a:pt x="874" y="260"/>
                  </a:lnTo>
                  <a:lnTo>
                    <a:pt x="876" y="260"/>
                  </a:lnTo>
                  <a:lnTo>
                    <a:pt x="880" y="260"/>
                  </a:lnTo>
                  <a:lnTo>
                    <a:pt x="884" y="260"/>
                  </a:lnTo>
                  <a:lnTo>
                    <a:pt x="884" y="260"/>
                  </a:lnTo>
                  <a:lnTo>
                    <a:pt x="886" y="258"/>
                  </a:lnTo>
                  <a:lnTo>
                    <a:pt x="888" y="256"/>
                  </a:lnTo>
                  <a:lnTo>
                    <a:pt x="888" y="254"/>
                  </a:lnTo>
                  <a:lnTo>
                    <a:pt x="890" y="252"/>
                  </a:lnTo>
                  <a:lnTo>
                    <a:pt x="890" y="252"/>
                  </a:lnTo>
                  <a:lnTo>
                    <a:pt x="890" y="252"/>
                  </a:lnTo>
                  <a:lnTo>
                    <a:pt x="892" y="250"/>
                  </a:lnTo>
                  <a:lnTo>
                    <a:pt x="894" y="250"/>
                  </a:lnTo>
                  <a:lnTo>
                    <a:pt x="896" y="250"/>
                  </a:lnTo>
                  <a:lnTo>
                    <a:pt x="896" y="250"/>
                  </a:lnTo>
                  <a:lnTo>
                    <a:pt x="898" y="250"/>
                  </a:lnTo>
                  <a:lnTo>
                    <a:pt x="902" y="246"/>
                  </a:lnTo>
                  <a:lnTo>
                    <a:pt x="906" y="242"/>
                  </a:lnTo>
                  <a:lnTo>
                    <a:pt x="910" y="238"/>
                  </a:lnTo>
                  <a:lnTo>
                    <a:pt x="912" y="236"/>
                  </a:lnTo>
                  <a:lnTo>
                    <a:pt x="914" y="234"/>
                  </a:lnTo>
                  <a:lnTo>
                    <a:pt x="914" y="234"/>
                  </a:lnTo>
                  <a:lnTo>
                    <a:pt x="914" y="232"/>
                  </a:lnTo>
                  <a:lnTo>
                    <a:pt x="914" y="230"/>
                  </a:lnTo>
                  <a:lnTo>
                    <a:pt x="916" y="228"/>
                  </a:lnTo>
                  <a:lnTo>
                    <a:pt x="916" y="224"/>
                  </a:lnTo>
                  <a:lnTo>
                    <a:pt x="918" y="222"/>
                  </a:lnTo>
                  <a:lnTo>
                    <a:pt x="918" y="220"/>
                  </a:lnTo>
                  <a:lnTo>
                    <a:pt x="920" y="216"/>
                  </a:lnTo>
                  <a:lnTo>
                    <a:pt x="920" y="216"/>
                  </a:lnTo>
                  <a:lnTo>
                    <a:pt x="920" y="216"/>
                  </a:lnTo>
                  <a:lnTo>
                    <a:pt x="920" y="214"/>
                  </a:lnTo>
                  <a:lnTo>
                    <a:pt x="920" y="214"/>
                  </a:lnTo>
                  <a:lnTo>
                    <a:pt x="920" y="212"/>
                  </a:lnTo>
                  <a:lnTo>
                    <a:pt x="920" y="210"/>
                  </a:lnTo>
                  <a:lnTo>
                    <a:pt x="920" y="210"/>
                  </a:lnTo>
                  <a:lnTo>
                    <a:pt x="920" y="210"/>
                  </a:lnTo>
                  <a:lnTo>
                    <a:pt x="922" y="212"/>
                  </a:lnTo>
                  <a:lnTo>
                    <a:pt x="922" y="212"/>
                  </a:lnTo>
                  <a:lnTo>
                    <a:pt x="924" y="212"/>
                  </a:lnTo>
                  <a:lnTo>
                    <a:pt x="924" y="212"/>
                  </a:lnTo>
                  <a:lnTo>
                    <a:pt x="924" y="212"/>
                  </a:lnTo>
                  <a:lnTo>
                    <a:pt x="926" y="212"/>
                  </a:lnTo>
                  <a:lnTo>
                    <a:pt x="928" y="212"/>
                  </a:lnTo>
                  <a:lnTo>
                    <a:pt x="928" y="212"/>
                  </a:lnTo>
                  <a:lnTo>
                    <a:pt x="928" y="212"/>
                  </a:lnTo>
                  <a:lnTo>
                    <a:pt x="930" y="212"/>
                  </a:lnTo>
                  <a:lnTo>
                    <a:pt x="930" y="212"/>
                  </a:lnTo>
                  <a:lnTo>
                    <a:pt x="930" y="212"/>
                  </a:lnTo>
                  <a:lnTo>
                    <a:pt x="932" y="210"/>
                  </a:lnTo>
                  <a:lnTo>
                    <a:pt x="932" y="210"/>
                  </a:lnTo>
                  <a:lnTo>
                    <a:pt x="932" y="210"/>
                  </a:lnTo>
                  <a:lnTo>
                    <a:pt x="936" y="208"/>
                  </a:lnTo>
                  <a:lnTo>
                    <a:pt x="936" y="208"/>
                  </a:lnTo>
                  <a:lnTo>
                    <a:pt x="936" y="208"/>
                  </a:lnTo>
                  <a:lnTo>
                    <a:pt x="938" y="202"/>
                  </a:lnTo>
                  <a:lnTo>
                    <a:pt x="942" y="196"/>
                  </a:lnTo>
                  <a:lnTo>
                    <a:pt x="946" y="192"/>
                  </a:lnTo>
                  <a:lnTo>
                    <a:pt x="948" y="190"/>
                  </a:lnTo>
                  <a:lnTo>
                    <a:pt x="948" y="190"/>
                  </a:lnTo>
                  <a:lnTo>
                    <a:pt x="950" y="190"/>
                  </a:lnTo>
                  <a:lnTo>
                    <a:pt x="950" y="192"/>
                  </a:lnTo>
                  <a:lnTo>
                    <a:pt x="952" y="194"/>
                  </a:lnTo>
                  <a:lnTo>
                    <a:pt x="952" y="194"/>
                  </a:lnTo>
                  <a:lnTo>
                    <a:pt x="950" y="196"/>
                  </a:lnTo>
                  <a:lnTo>
                    <a:pt x="950" y="200"/>
                  </a:lnTo>
                  <a:lnTo>
                    <a:pt x="950" y="200"/>
                  </a:lnTo>
                  <a:lnTo>
                    <a:pt x="948" y="202"/>
                  </a:lnTo>
                  <a:lnTo>
                    <a:pt x="946" y="204"/>
                  </a:lnTo>
                  <a:lnTo>
                    <a:pt x="944" y="204"/>
                  </a:lnTo>
                  <a:lnTo>
                    <a:pt x="942" y="206"/>
                  </a:lnTo>
                  <a:lnTo>
                    <a:pt x="940" y="208"/>
                  </a:lnTo>
                  <a:lnTo>
                    <a:pt x="940" y="208"/>
                  </a:lnTo>
                  <a:lnTo>
                    <a:pt x="940" y="208"/>
                  </a:lnTo>
                  <a:lnTo>
                    <a:pt x="938" y="210"/>
                  </a:lnTo>
                  <a:lnTo>
                    <a:pt x="936" y="212"/>
                  </a:lnTo>
                  <a:lnTo>
                    <a:pt x="934" y="214"/>
                  </a:lnTo>
                  <a:lnTo>
                    <a:pt x="928" y="218"/>
                  </a:lnTo>
                  <a:lnTo>
                    <a:pt x="928" y="220"/>
                  </a:lnTo>
                  <a:lnTo>
                    <a:pt x="926" y="220"/>
                  </a:lnTo>
                  <a:lnTo>
                    <a:pt x="924" y="222"/>
                  </a:lnTo>
                  <a:lnTo>
                    <a:pt x="924" y="222"/>
                  </a:lnTo>
                  <a:lnTo>
                    <a:pt x="924" y="222"/>
                  </a:lnTo>
                  <a:lnTo>
                    <a:pt x="924" y="224"/>
                  </a:lnTo>
                  <a:lnTo>
                    <a:pt x="922" y="226"/>
                  </a:lnTo>
                  <a:lnTo>
                    <a:pt x="922" y="226"/>
                  </a:lnTo>
                  <a:lnTo>
                    <a:pt x="922" y="226"/>
                  </a:lnTo>
                  <a:lnTo>
                    <a:pt x="922" y="228"/>
                  </a:lnTo>
                  <a:lnTo>
                    <a:pt x="922" y="228"/>
                  </a:lnTo>
                  <a:lnTo>
                    <a:pt x="922" y="228"/>
                  </a:lnTo>
                  <a:lnTo>
                    <a:pt x="922" y="230"/>
                  </a:lnTo>
                  <a:lnTo>
                    <a:pt x="922" y="230"/>
                  </a:lnTo>
                  <a:lnTo>
                    <a:pt x="922" y="232"/>
                  </a:lnTo>
                  <a:lnTo>
                    <a:pt x="922" y="232"/>
                  </a:lnTo>
                  <a:lnTo>
                    <a:pt x="922" y="232"/>
                  </a:lnTo>
                  <a:lnTo>
                    <a:pt x="924" y="234"/>
                  </a:lnTo>
                  <a:lnTo>
                    <a:pt x="924" y="234"/>
                  </a:lnTo>
                  <a:lnTo>
                    <a:pt x="924" y="234"/>
                  </a:lnTo>
                  <a:lnTo>
                    <a:pt x="926" y="234"/>
                  </a:lnTo>
                  <a:lnTo>
                    <a:pt x="926" y="236"/>
                  </a:lnTo>
                  <a:lnTo>
                    <a:pt x="926" y="236"/>
                  </a:lnTo>
                  <a:lnTo>
                    <a:pt x="928" y="236"/>
                  </a:lnTo>
                  <a:lnTo>
                    <a:pt x="930" y="236"/>
                  </a:lnTo>
                  <a:lnTo>
                    <a:pt x="930" y="236"/>
                  </a:lnTo>
                  <a:lnTo>
                    <a:pt x="930" y="236"/>
                  </a:lnTo>
                  <a:lnTo>
                    <a:pt x="932" y="236"/>
                  </a:lnTo>
                  <a:lnTo>
                    <a:pt x="932" y="236"/>
                  </a:lnTo>
                  <a:lnTo>
                    <a:pt x="934" y="234"/>
                  </a:lnTo>
                  <a:lnTo>
                    <a:pt x="936" y="232"/>
                  </a:lnTo>
                  <a:lnTo>
                    <a:pt x="938" y="232"/>
                  </a:lnTo>
                  <a:lnTo>
                    <a:pt x="940" y="230"/>
                  </a:lnTo>
                  <a:lnTo>
                    <a:pt x="942" y="230"/>
                  </a:lnTo>
                  <a:lnTo>
                    <a:pt x="944" y="230"/>
                  </a:lnTo>
                  <a:lnTo>
                    <a:pt x="946" y="230"/>
                  </a:lnTo>
                  <a:lnTo>
                    <a:pt x="950" y="232"/>
                  </a:lnTo>
                  <a:lnTo>
                    <a:pt x="950" y="232"/>
                  </a:lnTo>
                  <a:lnTo>
                    <a:pt x="950" y="232"/>
                  </a:lnTo>
                  <a:lnTo>
                    <a:pt x="948" y="234"/>
                  </a:lnTo>
                  <a:lnTo>
                    <a:pt x="946" y="236"/>
                  </a:lnTo>
                  <a:lnTo>
                    <a:pt x="944" y="236"/>
                  </a:lnTo>
                  <a:lnTo>
                    <a:pt x="942" y="238"/>
                  </a:lnTo>
                  <a:lnTo>
                    <a:pt x="938" y="238"/>
                  </a:lnTo>
                  <a:lnTo>
                    <a:pt x="934" y="238"/>
                  </a:lnTo>
                  <a:lnTo>
                    <a:pt x="930" y="240"/>
                  </a:lnTo>
                  <a:lnTo>
                    <a:pt x="930" y="240"/>
                  </a:lnTo>
                  <a:lnTo>
                    <a:pt x="928" y="240"/>
                  </a:lnTo>
                  <a:lnTo>
                    <a:pt x="926" y="240"/>
                  </a:lnTo>
                  <a:lnTo>
                    <a:pt x="924" y="242"/>
                  </a:lnTo>
                  <a:lnTo>
                    <a:pt x="922" y="244"/>
                  </a:lnTo>
                  <a:lnTo>
                    <a:pt x="922" y="244"/>
                  </a:lnTo>
                  <a:lnTo>
                    <a:pt x="922" y="244"/>
                  </a:lnTo>
                  <a:lnTo>
                    <a:pt x="920" y="246"/>
                  </a:lnTo>
                  <a:lnTo>
                    <a:pt x="920" y="246"/>
                  </a:lnTo>
                  <a:lnTo>
                    <a:pt x="918" y="246"/>
                  </a:lnTo>
                  <a:lnTo>
                    <a:pt x="918" y="248"/>
                  </a:lnTo>
                  <a:lnTo>
                    <a:pt x="918" y="248"/>
                  </a:lnTo>
                  <a:lnTo>
                    <a:pt x="918" y="248"/>
                  </a:lnTo>
                  <a:lnTo>
                    <a:pt x="918" y="250"/>
                  </a:lnTo>
                  <a:lnTo>
                    <a:pt x="918" y="252"/>
                  </a:lnTo>
                  <a:lnTo>
                    <a:pt x="918" y="252"/>
                  </a:lnTo>
                  <a:lnTo>
                    <a:pt x="918" y="252"/>
                  </a:lnTo>
                  <a:lnTo>
                    <a:pt x="918" y="252"/>
                  </a:lnTo>
                  <a:lnTo>
                    <a:pt x="918" y="254"/>
                  </a:lnTo>
                  <a:lnTo>
                    <a:pt x="920" y="256"/>
                  </a:lnTo>
                  <a:lnTo>
                    <a:pt x="924" y="256"/>
                  </a:lnTo>
                  <a:lnTo>
                    <a:pt x="928" y="258"/>
                  </a:lnTo>
                  <a:lnTo>
                    <a:pt x="932" y="258"/>
                  </a:lnTo>
                  <a:lnTo>
                    <a:pt x="932" y="258"/>
                  </a:lnTo>
                  <a:lnTo>
                    <a:pt x="928" y="262"/>
                  </a:lnTo>
                  <a:lnTo>
                    <a:pt x="922" y="264"/>
                  </a:lnTo>
                  <a:lnTo>
                    <a:pt x="918" y="264"/>
                  </a:lnTo>
                  <a:lnTo>
                    <a:pt x="912" y="266"/>
                  </a:lnTo>
                  <a:lnTo>
                    <a:pt x="906" y="266"/>
                  </a:lnTo>
                  <a:lnTo>
                    <a:pt x="900" y="268"/>
                  </a:lnTo>
                  <a:lnTo>
                    <a:pt x="894" y="268"/>
                  </a:lnTo>
                  <a:lnTo>
                    <a:pt x="894" y="268"/>
                  </a:lnTo>
                  <a:lnTo>
                    <a:pt x="892" y="268"/>
                  </a:lnTo>
                  <a:lnTo>
                    <a:pt x="890" y="272"/>
                  </a:lnTo>
                  <a:lnTo>
                    <a:pt x="886" y="272"/>
                  </a:lnTo>
                  <a:lnTo>
                    <a:pt x="882" y="274"/>
                  </a:lnTo>
                  <a:lnTo>
                    <a:pt x="878" y="274"/>
                  </a:lnTo>
                  <a:lnTo>
                    <a:pt x="878" y="274"/>
                  </a:lnTo>
                  <a:lnTo>
                    <a:pt x="878" y="274"/>
                  </a:lnTo>
                  <a:lnTo>
                    <a:pt x="876" y="276"/>
                  </a:lnTo>
                  <a:lnTo>
                    <a:pt x="874" y="276"/>
                  </a:lnTo>
                  <a:lnTo>
                    <a:pt x="870" y="278"/>
                  </a:lnTo>
                  <a:lnTo>
                    <a:pt x="866" y="280"/>
                  </a:lnTo>
                  <a:lnTo>
                    <a:pt x="864" y="282"/>
                  </a:lnTo>
                  <a:lnTo>
                    <a:pt x="862" y="282"/>
                  </a:lnTo>
                  <a:lnTo>
                    <a:pt x="862" y="282"/>
                  </a:lnTo>
                  <a:lnTo>
                    <a:pt x="860" y="284"/>
                  </a:lnTo>
                  <a:lnTo>
                    <a:pt x="860" y="284"/>
                  </a:lnTo>
                  <a:lnTo>
                    <a:pt x="860" y="286"/>
                  </a:lnTo>
                  <a:lnTo>
                    <a:pt x="864" y="292"/>
                  </a:lnTo>
                  <a:lnTo>
                    <a:pt x="868" y="296"/>
                  </a:lnTo>
                  <a:lnTo>
                    <a:pt x="870" y="300"/>
                  </a:lnTo>
                  <a:lnTo>
                    <a:pt x="872" y="304"/>
                  </a:lnTo>
                  <a:lnTo>
                    <a:pt x="872" y="306"/>
                  </a:lnTo>
                  <a:lnTo>
                    <a:pt x="872" y="306"/>
                  </a:lnTo>
                  <a:lnTo>
                    <a:pt x="872" y="308"/>
                  </a:lnTo>
                  <a:lnTo>
                    <a:pt x="872" y="308"/>
                  </a:lnTo>
                  <a:lnTo>
                    <a:pt x="874" y="308"/>
                  </a:lnTo>
                  <a:lnTo>
                    <a:pt x="874" y="310"/>
                  </a:lnTo>
                  <a:lnTo>
                    <a:pt x="874" y="310"/>
                  </a:lnTo>
                  <a:lnTo>
                    <a:pt x="874" y="310"/>
                  </a:lnTo>
                  <a:lnTo>
                    <a:pt x="876" y="312"/>
                  </a:lnTo>
                  <a:lnTo>
                    <a:pt x="876" y="312"/>
                  </a:lnTo>
                  <a:lnTo>
                    <a:pt x="876" y="312"/>
                  </a:lnTo>
                  <a:lnTo>
                    <a:pt x="878" y="312"/>
                  </a:lnTo>
                  <a:lnTo>
                    <a:pt x="878" y="312"/>
                  </a:lnTo>
                  <a:lnTo>
                    <a:pt x="880" y="318"/>
                  </a:lnTo>
                  <a:lnTo>
                    <a:pt x="880" y="322"/>
                  </a:lnTo>
                  <a:lnTo>
                    <a:pt x="880" y="326"/>
                  </a:lnTo>
                  <a:lnTo>
                    <a:pt x="880" y="330"/>
                  </a:lnTo>
                  <a:lnTo>
                    <a:pt x="880" y="330"/>
                  </a:lnTo>
                  <a:lnTo>
                    <a:pt x="876" y="326"/>
                  </a:lnTo>
                  <a:lnTo>
                    <a:pt x="874" y="322"/>
                  </a:lnTo>
                  <a:lnTo>
                    <a:pt x="870" y="318"/>
                  </a:lnTo>
                  <a:lnTo>
                    <a:pt x="870" y="318"/>
                  </a:lnTo>
                  <a:lnTo>
                    <a:pt x="870" y="318"/>
                  </a:lnTo>
                  <a:lnTo>
                    <a:pt x="866" y="316"/>
                  </a:lnTo>
                  <a:lnTo>
                    <a:pt x="862" y="312"/>
                  </a:lnTo>
                  <a:lnTo>
                    <a:pt x="858" y="308"/>
                  </a:lnTo>
                  <a:lnTo>
                    <a:pt x="850" y="300"/>
                  </a:lnTo>
                  <a:lnTo>
                    <a:pt x="840" y="292"/>
                  </a:lnTo>
                  <a:lnTo>
                    <a:pt x="830" y="286"/>
                  </a:lnTo>
                  <a:lnTo>
                    <a:pt x="830" y="286"/>
                  </a:lnTo>
                  <a:lnTo>
                    <a:pt x="828" y="286"/>
                  </a:lnTo>
                  <a:lnTo>
                    <a:pt x="824" y="286"/>
                  </a:lnTo>
                  <a:lnTo>
                    <a:pt x="822" y="286"/>
                  </a:lnTo>
                  <a:lnTo>
                    <a:pt x="820" y="286"/>
                  </a:lnTo>
                  <a:lnTo>
                    <a:pt x="818" y="286"/>
                  </a:lnTo>
                  <a:lnTo>
                    <a:pt x="816" y="288"/>
                  </a:lnTo>
                  <a:lnTo>
                    <a:pt x="816" y="288"/>
                  </a:lnTo>
                  <a:lnTo>
                    <a:pt x="814" y="288"/>
                  </a:lnTo>
                  <a:lnTo>
                    <a:pt x="814" y="288"/>
                  </a:lnTo>
                  <a:lnTo>
                    <a:pt x="814" y="288"/>
                  </a:lnTo>
                  <a:lnTo>
                    <a:pt x="812" y="290"/>
                  </a:lnTo>
                  <a:lnTo>
                    <a:pt x="812" y="292"/>
                  </a:lnTo>
                  <a:lnTo>
                    <a:pt x="812" y="292"/>
                  </a:lnTo>
                  <a:lnTo>
                    <a:pt x="810" y="292"/>
                  </a:lnTo>
                  <a:lnTo>
                    <a:pt x="810" y="296"/>
                  </a:lnTo>
                  <a:lnTo>
                    <a:pt x="810" y="296"/>
                  </a:lnTo>
                  <a:lnTo>
                    <a:pt x="810" y="296"/>
                  </a:lnTo>
                  <a:lnTo>
                    <a:pt x="810" y="300"/>
                  </a:lnTo>
                  <a:lnTo>
                    <a:pt x="810" y="302"/>
                  </a:lnTo>
                  <a:lnTo>
                    <a:pt x="810" y="304"/>
                  </a:lnTo>
                  <a:lnTo>
                    <a:pt x="808" y="304"/>
                  </a:lnTo>
                  <a:lnTo>
                    <a:pt x="804" y="298"/>
                  </a:lnTo>
                  <a:lnTo>
                    <a:pt x="800" y="294"/>
                  </a:lnTo>
                  <a:lnTo>
                    <a:pt x="798" y="292"/>
                  </a:lnTo>
                  <a:lnTo>
                    <a:pt x="794" y="288"/>
                  </a:lnTo>
                  <a:lnTo>
                    <a:pt x="790" y="288"/>
                  </a:lnTo>
                  <a:lnTo>
                    <a:pt x="790" y="284"/>
                  </a:lnTo>
                  <a:lnTo>
                    <a:pt x="788" y="282"/>
                  </a:lnTo>
                  <a:lnTo>
                    <a:pt x="786" y="278"/>
                  </a:lnTo>
                  <a:lnTo>
                    <a:pt x="786" y="278"/>
                  </a:lnTo>
                  <a:lnTo>
                    <a:pt x="786" y="276"/>
                  </a:lnTo>
                  <a:lnTo>
                    <a:pt x="784" y="276"/>
                  </a:lnTo>
                  <a:lnTo>
                    <a:pt x="784" y="276"/>
                  </a:lnTo>
                  <a:lnTo>
                    <a:pt x="784" y="274"/>
                  </a:lnTo>
                  <a:lnTo>
                    <a:pt x="782" y="274"/>
                  </a:lnTo>
                  <a:lnTo>
                    <a:pt x="782" y="274"/>
                  </a:lnTo>
                  <a:lnTo>
                    <a:pt x="782" y="272"/>
                  </a:lnTo>
                  <a:lnTo>
                    <a:pt x="778" y="272"/>
                  </a:lnTo>
                  <a:lnTo>
                    <a:pt x="778" y="272"/>
                  </a:lnTo>
                  <a:lnTo>
                    <a:pt x="778" y="272"/>
                  </a:lnTo>
                  <a:lnTo>
                    <a:pt x="776" y="270"/>
                  </a:lnTo>
                  <a:lnTo>
                    <a:pt x="774" y="268"/>
                  </a:lnTo>
                  <a:lnTo>
                    <a:pt x="770" y="264"/>
                  </a:lnTo>
                  <a:lnTo>
                    <a:pt x="766" y="260"/>
                  </a:lnTo>
                  <a:lnTo>
                    <a:pt x="762" y="256"/>
                  </a:lnTo>
                  <a:lnTo>
                    <a:pt x="756" y="250"/>
                  </a:lnTo>
                  <a:lnTo>
                    <a:pt x="752" y="244"/>
                  </a:lnTo>
                  <a:lnTo>
                    <a:pt x="746" y="236"/>
                  </a:lnTo>
                  <a:lnTo>
                    <a:pt x="740" y="232"/>
                  </a:lnTo>
                  <a:lnTo>
                    <a:pt x="740" y="226"/>
                  </a:lnTo>
                  <a:lnTo>
                    <a:pt x="738" y="218"/>
                  </a:lnTo>
                  <a:lnTo>
                    <a:pt x="736" y="212"/>
                  </a:lnTo>
                  <a:lnTo>
                    <a:pt x="734" y="206"/>
                  </a:lnTo>
                  <a:lnTo>
                    <a:pt x="730" y="202"/>
                  </a:lnTo>
                  <a:lnTo>
                    <a:pt x="730" y="202"/>
                  </a:lnTo>
                  <a:lnTo>
                    <a:pt x="730" y="202"/>
                  </a:lnTo>
                  <a:lnTo>
                    <a:pt x="724" y="196"/>
                  </a:lnTo>
                  <a:lnTo>
                    <a:pt x="724" y="196"/>
                  </a:lnTo>
                  <a:lnTo>
                    <a:pt x="724" y="196"/>
                  </a:lnTo>
                  <a:lnTo>
                    <a:pt x="720" y="192"/>
                  </a:lnTo>
                  <a:lnTo>
                    <a:pt x="720" y="192"/>
                  </a:lnTo>
                  <a:lnTo>
                    <a:pt x="718" y="192"/>
                  </a:lnTo>
                  <a:lnTo>
                    <a:pt x="712" y="190"/>
                  </a:lnTo>
                  <a:lnTo>
                    <a:pt x="712" y="190"/>
                  </a:lnTo>
                  <a:lnTo>
                    <a:pt x="710" y="190"/>
                  </a:lnTo>
                  <a:lnTo>
                    <a:pt x="706" y="190"/>
                  </a:lnTo>
                  <a:lnTo>
                    <a:pt x="706" y="190"/>
                  </a:lnTo>
                  <a:lnTo>
                    <a:pt x="706" y="190"/>
                  </a:lnTo>
                  <a:lnTo>
                    <a:pt x="704" y="192"/>
                  </a:lnTo>
                  <a:lnTo>
                    <a:pt x="704" y="192"/>
                  </a:lnTo>
                  <a:lnTo>
                    <a:pt x="704" y="194"/>
                  </a:lnTo>
                  <a:lnTo>
                    <a:pt x="702" y="196"/>
                  </a:lnTo>
                  <a:lnTo>
                    <a:pt x="702" y="196"/>
                  </a:lnTo>
                  <a:lnTo>
                    <a:pt x="702" y="196"/>
                  </a:lnTo>
                  <a:lnTo>
                    <a:pt x="700" y="198"/>
                  </a:lnTo>
                  <a:lnTo>
                    <a:pt x="698" y="202"/>
                  </a:lnTo>
                  <a:lnTo>
                    <a:pt x="698" y="204"/>
                  </a:lnTo>
                  <a:lnTo>
                    <a:pt x="696" y="210"/>
                  </a:lnTo>
                  <a:lnTo>
                    <a:pt x="696" y="216"/>
                  </a:lnTo>
                  <a:lnTo>
                    <a:pt x="694" y="220"/>
                  </a:lnTo>
                  <a:lnTo>
                    <a:pt x="694" y="222"/>
                  </a:lnTo>
                  <a:lnTo>
                    <a:pt x="692" y="224"/>
                  </a:lnTo>
                  <a:lnTo>
                    <a:pt x="692" y="224"/>
                  </a:lnTo>
                  <a:lnTo>
                    <a:pt x="690" y="224"/>
                  </a:lnTo>
                  <a:lnTo>
                    <a:pt x="690" y="224"/>
                  </a:lnTo>
                  <a:lnTo>
                    <a:pt x="688" y="224"/>
                  </a:lnTo>
                  <a:lnTo>
                    <a:pt x="686" y="226"/>
                  </a:lnTo>
                  <a:lnTo>
                    <a:pt x="686" y="226"/>
                  </a:lnTo>
                  <a:lnTo>
                    <a:pt x="684" y="228"/>
                  </a:lnTo>
                  <a:lnTo>
                    <a:pt x="682" y="230"/>
                  </a:lnTo>
                  <a:lnTo>
                    <a:pt x="682" y="230"/>
                  </a:lnTo>
                  <a:lnTo>
                    <a:pt x="682" y="230"/>
                  </a:lnTo>
                  <a:lnTo>
                    <a:pt x="680" y="232"/>
                  </a:lnTo>
                  <a:lnTo>
                    <a:pt x="680" y="232"/>
                  </a:lnTo>
                  <a:lnTo>
                    <a:pt x="680" y="234"/>
                  </a:lnTo>
                  <a:lnTo>
                    <a:pt x="680" y="234"/>
                  </a:lnTo>
                  <a:lnTo>
                    <a:pt x="678" y="238"/>
                  </a:lnTo>
                  <a:lnTo>
                    <a:pt x="678" y="238"/>
                  </a:lnTo>
                  <a:lnTo>
                    <a:pt x="678" y="238"/>
                  </a:lnTo>
                  <a:lnTo>
                    <a:pt x="680" y="242"/>
                  </a:lnTo>
                  <a:lnTo>
                    <a:pt x="680" y="246"/>
                  </a:lnTo>
                  <a:lnTo>
                    <a:pt x="682" y="248"/>
                  </a:lnTo>
                  <a:lnTo>
                    <a:pt x="682" y="248"/>
                  </a:lnTo>
                  <a:lnTo>
                    <a:pt x="682" y="250"/>
                  </a:lnTo>
                  <a:lnTo>
                    <a:pt x="682" y="250"/>
                  </a:lnTo>
                  <a:lnTo>
                    <a:pt x="682" y="250"/>
                  </a:lnTo>
                  <a:lnTo>
                    <a:pt x="680" y="250"/>
                  </a:lnTo>
                  <a:lnTo>
                    <a:pt x="680" y="248"/>
                  </a:lnTo>
                  <a:lnTo>
                    <a:pt x="680" y="248"/>
                  </a:lnTo>
                  <a:lnTo>
                    <a:pt x="678" y="248"/>
                  </a:lnTo>
                  <a:lnTo>
                    <a:pt x="676" y="248"/>
                  </a:lnTo>
                  <a:lnTo>
                    <a:pt x="676" y="250"/>
                  </a:lnTo>
                  <a:lnTo>
                    <a:pt x="674" y="250"/>
                  </a:lnTo>
                  <a:lnTo>
                    <a:pt x="674" y="250"/>
                  </a:lnTo>
                  <a:lnTo>
                    <a:pt x="672" y="252"/>
                  </a:lnTo>
                  <a:lnTo>
                    <a:pt x="670" y="254"/>
                  </a:lnTo>
                  <a:lnTo>
                    <a:pt x="670" y="254"/>
                  </a:lnTo>
                  <a:lnTo>
                    <a:pt x="670" y="254"/>
                  </a:lnTo>
                  <a:lnTo>
                    <a:pt x="668" y="256"/>
                  </a:lnTo>
                  <a:lnTo>
                    <a:pt x="666" y="260"/>
                  </a:lnTo>
                  <a:lnTo>
                    <a:pt x="666" y="260"/>
                  </a:lnTo>
                  <a:lnTo>
                    <a:pt x="666" y="262"/>
                  </a:lnTo>
                  <a:lnTo>
                    <a:pt x="666" y="266"/>
                  </a:lnTo>
                  <a:lnTo>
                    <a:pt x="666" y="268"/>
                  </a:lnTo>
                  <a:lnTo>
                    <a:pt x="666" y="272"/>
                  </a:lnTo>
                  <a:lnTo>
                    <a:pt x="668" y="276"/>
                  </a:lnTo>
                  <a:lnTo>
                    <a:pt x="668" y="276"/>
                  </a:lnTo>
                  <a:lnTo>
                    <a:pt x="668" y="276"/>
                  </a:lnTo>
                  <a:lnTo>
                    <a:pt x="668" y="278"/>
                  </a:lnTo>
                  <a:lnTo>
                    <a:pt x="668" y="278"/>
                  </a:lnTo>
                  <a:lnTo>
                    <a:pt x="668" y="280"/>
                  </a:lnTo>
                  <a:lnTo>
                    <a:pt x="670" y="282"/>
                  </a:lnTo>
                  <a:lnTo>
                    <a:pt x="670" y="282"/>
                  </a:lnTo>
                  <a:lnTo>
                    <a:pt x="670" y="282"/>
                  </a:lnTo>
                  <a:lnTo>
                    <a:pt x="672" y="284"/>
                  </a:lnTo>
                  <a:lnTo>
                    <a:pt x="672" y="284"/>
                  </a:lnTo>
                  <a:lnTo>
                    <a:pt x="674" y="284"/>
                  </a:lnTo>
                  <a:lnTo>
                    <a:pt x="676" y="286"/>
                  </a:lnTo>
                  <a:lnTo>
                    <a:pt x="676" y="286"/>
                  </a:lnTo>
                  <a:lnTo>
                    <a:pt x="676" y="286"/>
                  </a:lnTo>
                  <a:lnTo>
                    <a:pt x="676" y="286"/>
                  </a:lnTo>
                  <a:lnTo>
                    <a:pt x="674" y="288"/>
                  </a:lnTo>
                  <a:lnTo>
                    <a:pt x="672" y="288"/>
                  </a:lnTo>
                  <a:lnTo>
                    <a:pt x="668" y="288"/>
                  </a:lnTo>
                  <a:lnTo>
                    <a:pt x="666" y="290"/>
                  </a:lnTo>
                  <a:lnTo>
                    <a:pt x="666" y="290"/>
                  </a:lnTo>
                  <a:lnTo>
                    <a:pt x="664" y="290"/>
                  </a:lnTo>
                  <a:lnTo>
                    <a:pt x="662" y="292"/>
                  </a:lnTo>
                  <a:lnTo>
                    <a:pt x="660" y="294"/>
                  </a:lnTo>
                  <a:lnTo>
                    <a:pt x="660" y="296"/>
                  </a:lnTo>
                  <a:lnTo>
                    <a:pt x="660" y="296"/>
                  </a:lnTo>
                  <a:lnTo>
                    <a:pt x="660" y="296"/>
                  </a:lnTo>
                  <a:lnTo>
                    <a:pt x="658" y="298"/>
                  </a:lnTo>
                  <a:lnTo>
                    <a:pt x="658" y="298"/>
                  </a:lnTo>
                  <a:lnTo>
                    <a:pt x="658" y="298"/>
                  </a:lnTo>
                  <a:lnTo>
                    <a:pt x="658" y="300"/>
                  </a:lnTo>
                  <a:lnTo>
                    <a:pt x="658" y="300"/>
                  </a:lnTo>
                  <a:lnTo>
                    <a:pt x="658" y="300"/>
                  </a:lnTo>
                  <a:lnTo>
                    <a:pt x="658" y="302"/>
                  </a:lnTo>
                  <a:lnTo>
                    <a:pt x="658" y="302"/>
                  </a:lnTo>
                  <a:lnTo>
                    <a:pt x="658" y="302"/>
                  </a:lnTo>
                  <a:lnTo>
                    <a:pt x="658" y="302"/>
                  </a:lnTo>
                  <a:close/>
                  <a:moveTo>
                    <a:pt x="970" y="66"/>
                  </a:moveTo>
                  <a:lnTo>
                    <a:pt x="970" y="66"/>
                  </a:lnTo>
                  <a:lnTo>
                    <a:pt x="970" y="66"/>
                  </a:lnTo>
                  <a:lnTo>
                    <a:pt x="972" y="70"/>
                  </a:lnTo>
                  <a:lnTo>
                    <a:pt x="972" y="70"/>
                  </a:lnTo>
                  <a:lnTo>
                    <a:pt x="972" y="70"/>
                  </a:lnTo>
                  <a:lnTo>
                    <a:pt x="972" y="70"/>
                  </a:lnTo>
                  <a:lnTo>
                    <a:pt x="970" y="70"/>
                  </a:lnTo>
                  <a:lnTo>
                    <a:pt x="970" y="66"/>
                  </a:lnTo>
                  <a:lnTo>
                    <a:pt x="968" y="66"/>
                  </a:lnTo>
                  <a:lnTo>
                    <a:pt x="970" y="66"/>
                  </a:lnTo>
                  <a:close/>
                  <a:moveTo>
                    <a:pt x="832" y="200"/>
                  </a:moveTo>
                  <a:lnTo>
                    <a:pt x="832" y="200"/>
                  </a:lnTo>
                  <a:lnTo>
                    <a:pt x="830" y="200"/>
                  </a:lnTo>
                  <a:lnTo>
                    <a:pt x="830" y="202"/>
                  </a:lnTo>
                  <a:lnTo>
                    <a:pt x="828" y="204"/>
                  </a:lnTo>
                  <a:lnTo>
                    <a:pt x="828" y="204"/>
                  </a:lnTo>
                  <a:lnTo>
                    <a:pt x="826" y="206"/>
                  </a:lnTo>
                  <a:lnTo>
                    <a:pt x="824" y="206"/>
                  </a:lnTo>
                  <a:lnTo>
                    <a:pt x="822" y="208"/>
                  </a:lnTo>
                  <a:lnTo>
                    <a:pt x="818" y="210"/>
                  </a:lnTo>
                  <a:lnTo>
                    <a:pt x="812" y="214"/>
                  </a:lnTo>
                  <a:lnTo>
                    <a:pt x="810" y="216"/>
                  </a:lnTo>
                  <a:lnTo>
                    <a:pt x="808" y="216"/>
                  </a:lnTo>
                  <a:lnTo>
                    <a:pt x="806" y="218"/>
                  </a:lnTo>
                  <a:lnTo>
                    <a:pt x="804" y="220"/>
                  </a:lnTo>
                  <a:lnTo>
                    <a:pt x="804" y="220"/>
                  </a:lnTo>
                  <a:lnTo>
                    <a:pt x="802" y="220"/>
                  </a:lnTo>
                  <a:lnTo>
                    <a:pt x="794" y="220"/>
                  </a:lnTo>
                  <a:lnTo>
                    <a:pt x="788" y="220"/>
                  </a:lnTo>
                  <a:lnTo>
                    <a:pt x="792" y="220"/>
                  </a:lnTo>
                  <a:lnTo>
                    <a:pt x="794" y="218"/>
                  </a:lnTo>
                  <a:lnTo>
                    <a:pt x="798" y="218"/>
                  </a:lnTo>
                  <a:lnTo>
                    <a:pt x="798" y="218"/>
                  </a:lnTo>
                  <a:lnTo>
                    <a:pt x="798" y="218"/>
                  </a:lnTo>
                  <a:lnTo>
                    <a:pt x="802" y="214"/>
                  </a:lnTo>
                  <a:lnTo>
                    <a:pt x="802" y="214"/>
                  </a:lnTo>
                  <a:lnTo>
                    <a:pt x="802" y="214"/>
                  </a:lnTo>
                  <a:lnTo>
                    <a:pt x="806" y="212"/>
                  </a:lnTo>
                  <a:lnTo>
                    <a:pt x="810" y="206"/>
                  </a:lnTo>
                  <a:lnTo>
                    <a:pt x="814" y="204"/>
                  </a:lnTo>
                  <a:lnTo>
                    <a:pt x="816" y="202"/>
                  </a:lnTo>
                  <a:lnTo>
                    <a:pt x="818" y="200"/>
                  </a:lnTo>
                  <a:lnTo>
                    <a:pt x="818" y="200"/>
                  </a:lnTo>
                  <a:lnTo>
                    <a:pt x="822" y="200"/>
                  </a:lnTo>
                  <a:lnTo>
                    <a:pt x="826" y="198"/>
                  </a:lnTo>
                  <a:lnTo>
                    <a:pt x="830" y="198"/>
                  </a:lnTo>
                  <a:lnTo>
                    <a:pt x="830" y="198"/>
                  </a:lnTo>
                  <a:lnTo>
                    <a:pt x="832" y="198"/>
                  </a:lnTo>
                  <a:lnTo>
                    <a:pt x="832" y="200"/>
                  </a:lnTo>
                  <a:close/>
                  <a:moveTo>
                    <a:pt x="866" y="216"/>
                  </a:moveTo>
                  <a:lnTo>
                    <a:pt x="864" y="218"/>
                  </a:lnTo>
                  <a:lnTo>
                    <a:pt x="860" y="220"/>
                  </a:lnTo>
                  <a:lnTo>
                    <a:pt x="858" y="222"/>
                  </a:lnTo>
                  <a:lnTo>
                    <a:pt x="856" y="222"/>
                  </a:lnTo>
                  <a:lnTo>
                    <a:pt x="852" y="222"/>
                  </a:lnTo>
                  <a:lnTo>
                    <a:pt x="854" y="220"/>
                  </a:lnTo>
                  <a:lnTo>
                    <a:pt x="860" y="216"/>
                  </a:lnTo>
                  <a:lnTo>
                    <a:pt x="862" y="216"/>
                  </a:lnTo>
                  <a:lnTo>
                    <a:pt x="864" y="214"/>
                  </a:lnTo>
                  <a:lnTo>
                    <a:pt x="866" y="214"/>
                  </a:lnTo>
                  <a:lnTo>
                    <a:pt x="868" y="216"/>
                  </a:lnTo>
                  <a:lnTo>
                    <a:pt x="868" y="216"/>
                  </a:lnTo>
                  <a:lnTo>
                    <a:pt x="866" y="216"/>
                  </a:lnTo>
                  <a:close/>
                  <a:moveTo>
                    <a:pt x="682" y="308"/>
                  </a:moveTo>
                  <a:lnTo>
                    <a:pt x="684" y="308"/>
                  </a:lnTo>
                  <a:lnTo>
                    <a:pt x="688" y="308"/>
                  </a:lnTo>
                  <a:lnTo>
                    <a:pt x="690" y="308"/>
                  </a:lnTo>
                  <a:lnTo>
                    <a:pt x="690" y="308"/>
                  </a:lnTo>
                  <a:lnTo>
                    <a:pt x="688" y="308"/>
                  </a:lnTo>
                  <a:lnTo>
                    <a:pt x="686" y="308"/>
                  </a:lnTo>
                  <a:lnTo>
                    <a:pt x="684" y="308"/>
                  </a:lnTo>
                  <a:lnTo>
                    <a:pt x="682" y="308"/>
                  </a:lnTo>
                  <a:lnTo>
                    <a:pt x="680" y="308"/>
                  </a:lnTo>
                  <a:lnTo>
                    <a:pt x="682" y="308"/>
                  </a:lnTo>
                  <a:close/>
                  <a:moveTo>
                    <a:pt x="1180" y="1518"/>
                  </a:moveTo>
                  <a:lnTo>
                    <a:pt x="1180" y="1518"/>
                  </a:lnTo>
                  <a:lnTo>
                    <a:pt x="1180" y="1518"/>
                  </a:lnTo>
                  <a:lnTo>
                    <a:pt x="1178" y="1518"/>
                  </a:lnTo>
                  <a:lnTo>
                    <a:pt x="1178" y="1518"/>
                  </a:lnTo>
                  <a:lnTo>
                    <a:pt x="1176" y="1518"/>
                  </a:lnTo>
                  <a:lnTo>
                    <a:pt x="1176" y="1518"/>
                  </a:lnTo>
                  <a:lnTo>
                    <a:pt x="1176" y="1516"/>
                  </a:lnTo>
                  <a:lnTo>
                    <a:pt x="1174" y="1516"/>
                  </a:lnTo>
                  <a:lnTo>
                    <a:pt x="1172" y="1514"/>
                  </a:lnTo>
                  <a:lnTo>
                    <a:pt x="1170" y="1512"/>
                  </a:lnTo>
                  <a:lnTo>
                    <a:pt x="1168" y="1510"/>
                  </a:lnTo>
                  <a:lnTo>
                    <a:pt x="1166" y="1508"/>
                  </a:lnTo>
                  <a:lnTo>
                    <a:pt x="1164" y="1506"/>
                  </a:lnTo>
                  <a:lnTo>
                    <a:pt x="1160" y="1504"/>
                  </a:lnTo>
                  <a:lnTo>
                    <a:pt x="1158" y="1500"/>
                  </a:lnTo>
                  <a:lnTo>
                    <a:pt x="1158" y="1500"/>
                  </a:lnTo>
                  <a:lnTo>
                    <a:pt x="1158" y="1500"/>
                  </a:lnTo>
                  <a:lnTo>
                    <a:pt x="1156" y="1500"/>
                  </a:lnTo>
                  <a:lnTo>
                    <a:pt x="1156" y="1500"/>
                  </a:lnTo>
                  <a:lnTo>
                    <a:pt x="1154" y="1500"/>
                  </a:lnTo>
                  <a:lnTo>
                    <a:pt x="1152" y="1498"/>
                  </a:lnTo>
                  <a:lnTo>
                    <a:pt x="1152" y="1498"/>
                  </a:lnTo>
                  <a:lnTo>
                    <a:pt x="1152" y="1498"/>
                  </a:lnTo>
                  <a:lnTo>
                    <a:pt x="1148" y="1500"/>
                  </a:lnTo>
                  <a:lnTo>
                    <a:pt x="1146" y="1500"/>
                  </a:lnTo>
                  <a:lnTo>
                    <a:pt x="1144" y="1502"/>
                  </a:lnTo>
                  <a:lnTo>
                    <a:pt x="1142" y="1502"/>
                  </a:lnTo>
                  <a:lnTo>
                    <a:pt x="1138" y="1504"/>
                  </a:lnTo>
                  <a:lnTo>
                    <a:pt x="1138" y="1504"/>
                  </a:lnTo>
                  <a:lnTo>
                    <a:pt x="1136" y="1506"/>
                  </a:lnTo>
                  <a:lnTo>
                    <a:pt x="1136" y="1506"/>
                  </a:lnTo>
                  <a:lnTo>
                    <a:pt x="1138" y="1508"/>
                  </a:lnTo>
                  <a:lnTo>
                    <a:pt x="1140" y="1512"/>
                  </a:lnTo>
                  <a:lnTo>
                    <a:pt x="1144" y="1514"/>
                  </a:lnTo>
                  <a:lnTo>
                    <a:pt x="1148" y="1516"/>
                  </a:lnTo>
                  <a:lnTo>
                    <a:pt x="1150" y="1518"/>
                  </a:lnTo>
                  <a:lnTo>
                    <a:pt x="1152" y="1518"/>
                  </a:lnTo>
                  <a:lnTo>
                    <a:pt x="1152" y="1520"/>
                  </a:lnTo>
                  <a:lnTo>
                    <a:pt x="1152" y="1520"/>
                  </a:lnTo>
                  <a:lnTo>
                    <a:pt x="1152" y="1520"/>
                  </a:lnTo>
                  <a:lnTo>
                    <a:pt x="1154" y="1522"/>
                  </a:lnTo>
                  <a:lnTo>
                    <a:pt x="1154" y="1522"/>
                  </a:lnTo>
                  <a:lnTo>
                    <a:pt x="1154" y="1522"/>
                  </a:lnTo>
                  <a:lnTo>
                    <a:pt x="1156" y="1524"/>
                  </a:lnTo>
                  <a:lnTo>
                    <a:pt x="1156" y="1524"/>
                  </a:lnTo>
                  <a:lnTo>
                    <a:pt x="1156" y="1524"/>
                  </a:lnTo>
                  <a:lnTo>
                    <a:pt x="1158" y="1524"/>
                  </a:lnTo>
                  <a:lnTo>
                    <a:pt x="1160" y="1524"/>
                  </a:lnTo>
                  <a:lnTo>
                    <a:pt x="1164" y="1526"/>
                  </a:lnTo>
                  <a:lnTo>
                    <a:pt x="1164" y="1526"/>
                  </a:lnTo>
                  <a:lnTo>
                    <a:pt x="1172" y="1526"/>
                  </a:lnTo>
                  <a:lnTo>
                    <a:pt x="1180" y="1524"/>
                  </a:lnTo>
                  <a:lnTo>
                    <a:pt x="1180" y="1524"/>
                  </a:lnTo>
                  <a:lnTo>
                    <a:pt x="1180" y="1524"/>
                  </a:lnTo>
                  <a:lnTo>
                    <a:pt x="1180" y="1524"/>
                  </a:lnTo>
                  <a:lnTo>
                    <a:pt x="1180" y="1524"/>
                  </a:lnTo>
                  <a:lnTo>
                    <a:pt x="1182" y="1522"/>
                  </a:lnTo>
                  <a:lnTo>
                    <a:pt x="1182" y="1522"/>
                  </a:lnTo>
                  <a:lnTo>
                    <a:pt x="1182" y="1520"/>
                  </a:lnTo>
                  <a:lnTo>
                    <a:pt x="1180" y="1518"/>
                  </a:lnTo>
                  <a:lnTo>
                    <a:pt x="1180" y="1518"/>
                  </a:lnTo>
                  <a:lnTo>
                    <a:pt x="1180" y="1518"/>
                  </a:lnTo>
                  <a:lnTo>
                    <a:pt x="1180" y="1518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198" name="Freeform 27"/>
            <p:cNvSpPr>
              <a:spLocks noEditPoints="1"/>
            </p:cNvSpPr>
            <p:nvPr/>
          </p:nvSpPr>
          <p:spPr bwMode="auto">
            <a:xfrm>
              <a:off x="151209" y="1664582"/>
              <a:ext cx="1658209" cy="1227788"/>
            </a:xfrm>
            <a:custGeom>
              <a:avLst/>
              <a:gdLst>
                <a:gd name="T0" fmla="*/ 300 w 1672"/>
                <a:gd name="T1" fmla="*/ 1176 h 1238"/>
                <a:gd name="T2" fmla="*/ 310 w 1672"/>
                <a:gd name="T3" fmla="*/ 1196 h 1238"/>
                <a:gd name="T4" fmla="*/ 356 w 1672"/>
                <a:gd name="T5" fmla="*/ 1236 h 1238"/>
                <a:gd name="T6" fmla="*/ 1656 w 1672"/>
                <a:gd name="T7" fmla="*/ 728 h 1238"/>
                <a:gd name="T8" fmla="*/ 1628 w 1672"/>
                <a:gd name="T9" fmla="*/ 750 h 1238"/>
                <a:gd name="T10" fmla="*/ 1532 w 1672"/>
                <a:gd name="T11" fmla="*/ 788 h 1238"/>
                <a:gd name="T12" fmla="*/ 1432 w 1672"/>
                <a:gd name="T13" fmla="*/ 848 h 1238"/>
                <a:gd name="T14" fmla="*/ 1432 w 1672"/>
                <a:gd name="T15" fmla="*/ 796 h 1238"/>
                <a:gd name="T16" fmla="*/ 1410 w 1672"/>
                <a:gd name="T17" fmla="*/ 758 h 1238"/>
                <a:gd name="T18" fmla="*/ 1366 w 1672"/>
                <a:gd name="T19" fmla="*/ 840 h 1238"/>
                <a:gd name="T20" fmla="*/ 1400 w 1672"/>
                <a:gd name="T21" fmla="*/ 746 h 1238"/>
                <a:gd name="T22" fmla="*/ 1324 w 1672"/>
                <a:gd name="T23" fmla="*/ 722 h 1238"/>
                <a:gd name="T24" fmla="*/ 1238 w 1672"/>
                <a:gd name="T25" fmla="*/ 702 h 1238"/>
                <a:gd name="T26" fmla="*/ 860 w 1672"/>
                <a:gd name="T27" fmla="*/ 704 h 1238"/>
                <a:gd name="T28" fmla="*/ 814 w 1672"/>
                <a:gd name="T29" fmla="*/ 738 h 1238"/>
                <a:gd name="T30" fmla="*/ 886 w 1672"/>
                <a:gd name="T31" fmla="*/ 992 h 1238"/>
                <a:gd name="T32" fmla="*/ 954 w 1672"/>
                <a:gd name="T33" fmla="*/ 1004 h 1238"/>
                <a:gd name="T34" fmla="*/ 1052 w 1672"/>
                <a:gd name="T35" fmla="*/ 1034 h 1238"/>
                <a:gd name="T36" fmla="*/ 1130 w 1672"/>
                <a:gd name="T37" fmla="*/ 1068 h 1238"/>
                <a:gd name="T38" fmla="*/ 1184 w 1672"/>
                <a:gd name="T39" fmla="*/ 1116 h 1238"/>
                <a:gd name="T40" fmla="*/ 1246 w 1672"/>
                <a:gd name="T41" fmla="*/ 1072 h 1238"/>
                <a:gd name="T42" fmla="*/ 1350 w 1672"/>
                <a:gd name="T43" fmla="*/ 1056 h 1238"/>
                <a:gd name="T44" fmla="*/ 1412 w 1672"/>
                <a:gd name="T45" fmla="*/ 1056 h 1238"/>
                <a:gd name="T46" fmla="*/ 1466 w 1672"/>
                <a:gd name="T47" fmla="*/ 1138 h 1238"/>
                <a:gd name="T48" fmla="*/ 1452 w 1672"/>
                <a:gd name="T49" fmla="*/ 1036 h 1238"/>
                <a:gd name="T50" fmla="*/ 1546 w 1672"/>
                <a:gd name="T51" fmla="*/ 912 h 1238"/>
                <a:gd name="T52" fmla="*/ 1632 w 1672"/>
                <a:gd name="T53" fmla="*/ 848 h 1238"/>
                <a:gd name="T54" fmla="*/ 1640 w 1672"/>
                <a:gd name="T55" fmla="*/ 796 h 1238"/>
                <a:gd name="T56" fmla="*/ 678 w 1672"/>
                <a:gd name="T57" fmla="*/ 506 h 1238"/>
                <a:gd name="T58" fmla="*/ 622 w 1672"/>
                <a:gd name="T59" fmla="*/ 436 h 1238"/>
                <a:gd name="T60" fmla="*/ 582 w 1672"/>
                <a:gd name="T61" fmla="*/ 430 h 1238"/>
                <a:gd name="T62" fmla="*/ 572 w 1672"/>
                <a:gd name="T63" fmla="*/ 324 h 1238"/>
                <a:gd name="T64" fmla="*/ 576 w 1672"/>
                <a:gd name="T65" fmla="*/ 66 h 1238"/>
                <a:gd name="T66" fmla="*/ 458 w 1672"/>
                <a:gd name="T67" fmla="*/ 38 h 1238"/>
                <a:gd name="T68" fmla="*/ 388 w 1672"/>
                <a:gd name="T69" fmla="*/ 22 h 1238"/>
                <a:gd name="T70" fmla="*/ 356 w 1672"/>
                <a:gd name="T71" fmla="*/ 2 h 1238"/>
                <a:gd name="T72" fmla="*/ 300 w 1672"/>
                <a:gd name="T73" fmla="*/ 26 h 1238"/>
                <a:gd name="T74" fmla="*/ 256 w 1672"/>
                <a:gd name="T75" fmla="*/ 54 h 1238"/>
                <a:gd name="T76" fmla="*/ 194 w 1672"/>
                <a:gd name="T77" fmla="*/ 118 h 1238"/>
                <a:gd name="T78" fmla="*/ 228 w 1672"/>
                <a:gd name="T79" fmla="*/ 180 h 1238"/>
                <a:gd name="T80" fmla="*/ 238 w 1672"/>
                <a:gd name="T81" fmla="*/ 222 h 1238"/>
                <a:gd name="T82" fmla="*/ 166 w 1672"/>
                <a:gd name="T83" fmla="*/ 236 h 1238"/>
                <a:gd name="T84" fmla="*/ 204 w 1672"/>
                <a:gd name="T85" fmla="*/ 276 h 1238"/>
                <a:gd name="T86" fmla="*/ 274 w 1672"/>
                <a:gd name="T87" fmla="*/ 306 h 1238"/>
                <a:gd name="T88" fmla="*/ 206 w 1672"/>
                <a:gd name="T89" fmla="*/ 378 h 1238"/>
                <a:gd name="T90" fmla="*/ 210 w 1672"/>
                <a:gd name="T91" fmla="*/ 406 h 1238"/>
                <a:gd name="T92" fmla="*/ 252 w 1672"/>
                <a:gd name="T93" fmla="*/ 448 h 1238"/>
                <a:gd name="T94" fmla="*/ 304 w 1672"/>
                <a:gd name="T95" fmla="*/ 464 h 1238"/>
                <a:gd name="T96" fmla="*/ 274 w 1672"/>
                <a:gd name="T97" fmla="*/ 516 h 1238"/>
                <a:gd name="T98" fmla="*/ 160 w 1672"/>
                <a:gd name="T99" fmla="*/ 580 h 1238"/>
                <a:gd name="T100" fmla="*/ 28 w 1672"/>
                <a:gd name="T101" fmla="*/ 616 h 1238"/>
                <a:gd name="T102" fmla="*/ 116 w 1672"/>
                <a:gd name="T103" fmla="*/ 614 h 1238"/>
                <a:gd name="T104" fmla="*/ 196 w 1672"/>
                <a:gd name="T105" fmla="*/ 594 h 1238"/>
                <a:gd name="T106" fmla="*/ 386 w 1672"/>
                <a:gd name="T107" fmla="*/ 442 h 1238"/>
                <a:gd name="T108" fmla="*/ 382 w 1672"/>
                <a:gd name="T109" fmla="*/ 474 h 1238"/>
                <a:gd name="T110" fmla="*/ 488 w 1672"/>
                <a:gd name="T111" fmla="*/ 414 h 1238"/>
                <a:gd name="T112" fmla="*/ 538 w 1672"/>
                <a:gd name="T113" fmla="*/ 418 h 1238"/>
                <a:gd name="T114" fmla="*/ 598 w 1672"/>
                <a:gd name="T115" fmla="*/ 466 h 1238"/>
                <a:gd name="T116" fmla="*/ 624 w 1672"/>
                <a:gd name="T117" fmla="*/ 510 h 1238"/>
                <a:gd name="T118" fmla="*/ 634 w 1672"/>
                <a:gd name="T119" fmla="*/ 482 h 1238"/>
                <a:gd name="T120" fmla="*/ 642 w 1672"/>
                <a:gd name="T121" fmla="*/ 510 h 1238"/>
                <a:gd name="T122" fmla="*/ 648 w 1672"/>
                <a:gd name="T123" fmla="*/ 548 h 1238"/>
                <a:gd name="T124" fmla="*/ 688 w 1672"/>
                <a:gd name="T125" fmla="*/ 520 h 1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72" h="1238">
                  <a:moveTo>
                    <a:pt x="370" y="1220"/>
                  </a:moveTo>
                  <a:lnTo>
                    <a:pt x="366" y="1216"/>
                  </a:lnTo>
                  <a:lnTo>
                    <a:pt x="364" y="1212"/>
                  </a:lnTo>
                  <a:lnTo>
                    <a:pt x="362" y="1210"/>
                  </a:lnTo>
                  <a:lnTo>
                    <a:pt x="360" y="1208"/>
                  </a:lnTo>
                  <a:lnTo>
                    <a:pt x="358" y="1204"/>
                  </a:lnTo>
                  <a:lnTo>
                    <a:pt x="356" y="1200"/>
                  </a:lnTo>
                  <a:lnTo>
                    <a:pt x="354" y="1194"/>
                  </a:lnTo>
                  <a:lnTo>
                    <a:pt x="354" y="1194"/>
                  </a:lnTo>
                  <a:lnTo>
                    <a:pt x="352" y="1192"/>
                  </a:lnTo>
                  <a:lnTo>
                    <a:pt x="348" y="1190"/>
                  </a:lnTo>
                  <a:lnTo>
                    <a:pt x="342" y="1188"/>
                  </a:lnTo>
                  <a:lnTo>
                    <a:pt x="338" y="1186"/>
                  </a:lnTo>
                  <a:lnTo>
                    <a:pt x="332" y="1186"/>
                  </a:lnTo>
                  <a:lnTo>
                    <a:pt x="328" y="1186"/>
                  </a:lnTo>
                  <a:lnTo>
                    <a:pt x="322" y="1186"/>
                  </a:lnTo>
                  <a:lnTo>
                    <a:pt x="316" y="1184"/>
                  </a:lnTo>
                  <a:lnTo>
                    <a:pt x="310" y="1184"/>
                  </a:lnTo>
                  <a:lnTo>
                    <a:pt x="310" y="1184"/>
                  </a:lnTo>
                  <a:lnTo>
                    <a:pt x="310" y="1184"/>
                  </a:lnTo>
                  <a:lnTo>
                    <a:pt x="310" y="1184"/>
                  </a:lnTo>
                  <a:lnTo>
                    <a:pt x="310" y="1184"/>
                  </a:lnTo>
                  <a:lnTo>
                    <a:pt x="310" y="1182"/>
                  </a:lnTo>
                  <a:lnTo>
                    <a:pt x="308" y="1182"/>
                  </a:lnTo>
                  <a:lnTo>
                    <a:pt x="308" y="1182"/>
                  </a:lnTo>
                  <a:lnTo>
                    <a:pt x="308" y="1180"/>
                  </a:lnTo>
                  <a:lnTo>
                    <a:pt x="308" y="1180"/>
                  </a:lnTo>
                  <a:lnTo>
                    <a:pt x="308" y="1180"/>
                  </a:lnTo>
                  <a:lnTo>
                    <a:pt x="308" y="1180"/>
                  </a:lnTo>
                  <a:lnTo>
                    <a:pt x="306" y="1178"/>
                  </a:lnTo>
                  <a:lnTo>
                    <a:pt x="306" y="1178"/>
                  </a:lnTo>
                  <a:lnTo>
                    <a:pt x="306" y="1178"/>
                  </a:lnTo>
                  <a:lnTo>
                    <a:pt x="304" y="1178"/>
                  </a:lnTo>
                  <a:lnTo>
                    <a:pt x="304" y="1178"/>
                  </a:lnTo>
                  <a:lnTo>
                    <a:pt x="304" y="1176"/>
                  </a:lnTo>
                  <a:lnTo>
                    <a:pt x="300" y="1176"/>
                  </a:lnTo>
                  <a:lnTo>
                    <a:pt x="300" y="1176"/>
                  </a:lnTo>
                  <a:lnTo>
                    <a:pt x="298" y="1176"/>
                  </a:lnTo>
                  <a:lnTo>
                    <a:pt x="294" y="1176"/>
                  </a:lnTo>
                  <a:lnTo>
                    <a:pt x="294" y="1176"/>
                  </a:lnTo>
                  <a:lnTo>
                    <a:pt x="292" y="1176"/>
                  </a:lnTo>
                  <a:lnTo>
                    <a:pt x="290" y="1178"/>
                  </a:lnTo>
                  <a:lnTo>
                    <a:pt x="286" y="1180"/>
                  </a:lnTo>
                  <a:lnTo>
                    <a:pt x="284" y="1182"/>
                  </a:lnTo>
                  <a:lnTo>
                    <a:pt x="282" y="1182"/>
                  </a:lnTo>
                  <a:lnTo>
                    <a:pt x="282" y="1182"/>
                  </a:lnTo>
                  <a:lnTo>
                    <a:pt x="282" y="1182"/>
                  </a:lnTo>
                  <a:lnTo>
                    <a:pt x="282" y="1182"/>
                  </a:lnTo>
                  <a:lnTo>
                    <a:pt x="278" y="1182"/>
                  </a:lnTo>
                  <a:lnTo>
                    <a:pt x="278" y="1182"/>
                  </a:lnTo>
                  <a:lnTo>
                    <a:pt x="278" y="1182"/>
                  </a:lnTo>
                  <a:lnTo>
                    <a:pt x="278" y="1184"/>
                  </a:lnTo>
                  <a:lnTo>
                    <a:pt x="278" y="1184"/>
                  </a:lnTo>
                  <a:lnTo>
                    <a:pt x="278" y="1184"/>
                  </a:lnTo>
                  <a:lnTo>
                    <a:pt x="278" y="1186"/>
                  </a:lnTo>
                  <a:lnTo>
                    <a:pt x="276" y="1188"/>
                  </a:lnTo>
                  <a:lnTo>
                    <a:pt x="276" y="1188"/>
                  </a:lnTo>
                  <a:lnTo>
                    <a:pt x="278" y="1192"/>
                  </a:lnTo>
                  <a:lnTo>
                    <a:pt x="278" y="1192"/>
                  </a:lnTo>
                  <a:lnTo>
                    <a:pt x="280" y="1192"/>
                  </a:lnTo>
                  <a:lnTo>
                    <a:pt x="286" y="1192"/>
                  </a:lnTo>
                  <a:lnTo>
                    <a:pt x="292" y="1192"/>
                  </a:lnTo>
                  <a:lnTo>
                    <a:pt x="298" y="1192"/>
                  </a:lnTo>
                  <a:lnTo>
                    <a:pt x="304" y="1190"/>
                  </a:lnTo>
                  <a:lnTo>
                    <a:pt x="304" y="1190"/>
                  </a:lnTo>
                  <a:lnTo>
                    <a:pt x="304" y="1190"/>
                  </a:lnTo>
                  <a:lnTo>
                    <a:pt x="306" y="1190"/>
                  </a:lnTo>
                  <a:lnTo>
                    <a:pt x="306" y="1190"/>
                  </a:lnTo>
                  <a:lnTo>
                    <a:pt x="308" y="1190"/>
                  </a:lnTo>
                  <a:lnTo>
                    <a:pt x="308" y="1188"/>
                  </a:lnTo>
                  <a:lnTo>
                    <a:pt x="308" y="1192"/>
                  </a:lnTo>
                  <a:lnTo>
                    <a:pt x="310" y="1194"/>
                  </a:lnTo>
                  <a:lnTo>
                    <a:pt x="310" y="1196"/>
                  </a:lnTo>
                  <a:lnTo>
                    <a:pt x="310" y="1196"/>
                  </a:lnTo>
                  <a:lnTo>
                    <a:pt x="310" y="1196"/>
                  </a:lnTo>
                  <a:lnTo>
                    <a:pt x="312" y="1198"/>
                  </a:lnTo>
                  <a:lnTo>
                    <a:pt x="312" y="1198"/>
                  </a:lnTo>
                  <a:lnTo>
                    <a:pt x="312" y="1198"/>
                  </a:lnTo>
                  <a:lnTo>
                    <a:pt x="314" y="1200"/>
                  </a:lnTo>
                  <a:lnTo>
                    <a:pt x="314" y="1200"/>
                  </a:lnTo>
                  <a:lnTo>
                    <a:pt x="314" y="1200"/>
                  </a:lnTo>
                  <a:lnTo>
                    <a:pt x="316" y="1202"/>
                  </a:lnTo>
                  <a:lnTo>
                    <a:pt x="318" y="1202"/>
                  </a:lnTo>
                  <a:lnTo>
                    <a:pt x="322" y="1204"/>
                  </a:lnTo>
                  <a:lnTo>
                    <a:pt x="322" y="1204"/>
                  </a:lnTo>
                  <a:lnTo>
                    <a:pt x="322" y="1204"/>
                  </a:lnTo>
                  <a:lnTo>
                    <a:pt x="324" y="1204"/>
                  </a:lnTo>
                  <a:lnTo>
                    <a:pt x="326" y="1206"/>
                  </a:lnTo>
                  <a:lnTo>
                    <a:pt x="330" y="1206"/>
                  </a:lnTo>
                  <a:lnTo>
                    <a:pt x="332" y="1208"/>
                  </a:lnTo>
                  <a:lnTo>
                    <a:pt x="334" y="1208"/>
                  </a:lnTo>
                  <a:lnTo>
                    <a:pt x="336" y="1210"/>
                  </a:lnTo>
                  <a:lnTo>
                    <a:pt x="336" y="1210"/>
                  </a:lnTo>
                  <a:lnTo>
                    <a:pt x="336" y="1212"/>
                  </a:lnTo>
                  <a:lnTo>
                    <a:pt x="338" y="1212"/>
                  </a:lnTo>
                  <a:lnTo>
                    <a:pt x="340" y="1214"/>
                  </a:lnTo>
                  <a:lnTo>
                    <a:pt x="342" y="1214"/>
                  </a:lnTo>
                  <a:lnTo>
                    <a:pt x="342" y="1216"/>
                  </a:lnTo>
                  <a:lnTo>
                    <a:pt x="344" y="1218"/>
                  </a:lnTo>
                  <a:lnTo>
                    <a:pt x="344" y="1222"/>
                  </a:lnTo>
                  <a:lnTo>
                    <a:pt x="344" y="1226"/>
                  </a:lnTo>
                  <a:lnTo>
                    <a:pt x="346" y="1230"/>
                  </a:lnTo>
                  <a:lnTo>
                    <a:pt x="346" y="1232"/>
                  </a:lnTo>
                  <a:lnTo>
                    <a:pt x="346" y="1232"/>
                  </a:lnTo>
                  <a:lnTo>
                    <a:pt x="348" y="1234"/>
                  </a:lnTo>
                  <a:lnTo>
                    <a:pt x="350" y="1236"/>
                  </a:lnTo>
                  <a:lnTo>
                    <a:pt x="350" y="1236"/>
                  </a:lnTo>
                  <a:lnTo>
                    <a:pt x="352" y="1238"/>
                  </a:lnTo>
                  <a:lnTo>
                    <a:pt x="352" y="1238"/>
                  </a:lnTo>
                  <a:lnTo>
                    <a:pt x="354" y="1238"/>
                  </a:lnTo>
                  <a:lnTo>
                    <a:pt x="356" y="1236"/>
                  </a:lnTo>
                  <a:lnTo>
                    <a:pt x="358" y="1234"/>
                  </a:lnTo>
                  <a:lnTo>
                    <a:pt x="362" y="1232"/>
                  </a:lnTo>
                  <a:lnTo>
                    <a:pt x="362" y="1232"/>
                  </a:lnTo>
                  <a:lnTo>
                    <a:pt x="364" y="1230"/>
                  </a:lnTo>
                  <a:lnTo>
                    <a:pt x="366" y="1230"/>
                  </a:lnTo>
                  <a:lnTo>
                    <a:pt x="368" y="1230"/>
                  </a:lnTo>
                  <a:lnTo>
                    <a:pt x="372" y="1228"/>
                  </a:lnTo>
                  <a:lnTo>
                    <a:pt x="372" y="1228"/>
                  </a:lnTo>
                  <a:lnTo>
                    <a:pt x="374" y="1226"/>
                  </a:lnTo>
                  <a:lnTo>
                    <a:pt x="374" y="1226"/>
                  </a:lnTo>
                  <a:lnTo>
                    <a:pt x="374" y="1224"/>
                  </a:lnTo>
                  <a:lnTo>
                    <a:pt x="370" y="1220"/>
                  </a:lnTo>
                  <a:close/>
                  <a:moveTo>
                    <a:pt x="1672" y="778"/>
                  </a:moveTo>
                  <a:lnTo>
                    <a:pt x="1672" y="778"/>
                  </a:lnTo>
                  <a:lnTo>
                    <a:pt x="1672" y="776"/>
                  </a:lnTo>
                  <a:lnTo>
                    <a:pt x="1670" y="774"/>
                  </a:lnTo>
                  <a:lnTo>
                    <a:pt x="1670" y="774"/>
                  </a:lnTo>
                  <a:lnTo>
                    <a:pt x="1670" y="774"/>
                  </a:lnTo>
                  <a:lnTo>
                    <a:pt x="1668" y="774"/>
                  </a:lnTo>
                  <a:lnTo>
                    <a:pt x="1666" y="772"/>
                  </a:lnTo>
                  <a:lnTo>
                    <a:pt x="1662" y="770"/>
                  </a:lnTo>
                  <a:lnTo>
                    <a:pt x="1662" y="768"/>
                  </a:lnTo>
                  <a:lnTo>
                    <a:pt x="1660" y="766"/>
                  </a:lnTo>
                  <a:lnTo>
                    <a:pt x="1660" y="764"/>
                  </a:lnTo>
                  <a:lnTo>
                    <a:pt x="1660" y="762"/>
                  </a:lnTo>
                  <a:lnTo>
                    <a:pt x="1660" y="754"/>
                  </a:lnTo>
                  <a:lnTo>
                    <a:pt x="1660" y="748"/>
                  </a:lnTo>
                  <a:lnTo>
                    <a:pt x="1660" y="744"/>
                  </a:lnTo>
                  <a:lnTo>
                    <a:pt x="1660" y="742"/>
                  </a:lnTo>
                  <a:lnTo>
                    <a:pt x="1660" y="738"/>
                  </a:lnTo>
                  <a:lnTo>
                    <a:pt x="1658" y="732"/>
                  </a:lnTo>
                  <a:lnTo>
                    <a:pt x="1658" y="730"/>
                  </a:lnTo>
                  <a:lnTo>
                    <a:pt x="1658" y="730"/>
                  </a:lnTo>
                  <a:lnTo>
                    <a:pt x="1658" y="730"/>
                  </a:lnTo>
                  <a:lnTo>
                    <a:pt x="1658" y="728"/>
                  </a:lnTo>
                  <a:lnTo>
                    <a:pt x="1656" y="728"/>
                  </a:lnTo>
                  <a:lnTo>
                    <a:pt x="1656" y="728"/>
                  </a:lnTo>
                  <a:lnTo>
                    <a:pt x="1656" y="726"/>
                  </a:lnTo>
                  <a:lnTo>
                    <a:pt x="1656" y="726"/>
                  </a:lnTo>
                  <a:lnTo>
                    <a:pt x="1656" y="726"/>
                  </a:lnTo>
                  <a:lnTo>
                    <a:pt x="1654" y="726"/>
                  </a:lnTo>
                  <a:lnTo>
                    <a:pt x="1652" y="726"/>
                  </a:lnTo>
                  <a:lnTo>
                    <a:pt x="1652" y="726"/>
                  </a:lnTo>
                  <a:lnTo>
                    <a:pt x="1652" y="726"/>
                  </a:lnTo>
                  <a:lnTo>
                    <a:pt x="1650" y="726"/>
                  </a:lnTo>
                  <a:lnTo>
                    <a:pt x="1650" y="726"/>
                  </a:lnTo>
                  <a:lnTo>
                    <a:pt x="1650" y="726"/>
                  </a:lnTo>
                  <a:lnTo>
                    <a:pt x="1648" y="728"/>
                  </a:lnTo>
                  <a:lnTo>
                    <a:pt x="1646" y="728"/>
                  </a:lnTo>
                  <a:lnTo>
                    <a:pt x="1644" y="730"/>
                  </a:lnTo>
                  <a:lnTo>
                    <a:pt x="1642" y="732"/>
                  </a:lnTo>
                  <a:lnTo>
                    <a:pt x="1642" y="732"/>
                  </a:lnTo>
                  <a:lnTo>
                    <a:pt x="1642" y="732"/>
                  </a:lnTo>
                  <a:lnTo>
                    <a:pt x="1640" y="730"/>
                  </a:lnTo>
                  <a:lnTo>
                    <a:pt x="1638" y="730"/>
                  </a:lnTo>
                  <a:lnTo>
                    <a:pt x="1636" y="728"/>
                  </a:lnTo>
                  <a:lnTo>
                    <a:pt x="1634" y="728"/>
                  </a:lnTo>
                  <a:lnTo>
                    <a:pt x="1634" y="728"/>
                  </a:lnTo>
                  <a:lnTo>
                    <a:pt x="1634" y="728"/>
                  </a:lnTo>
                  <a:lnTo>
                    <a:pt x="1632" y="728"/>
                  </a:lnTo>
                  <a:lnTo>
                    <a:pt x="1632" y="728"/>
                  </a:lnTo>
                  <a:lnTo>
                    <a:pt x="1630" y="728"/>
                  </a:lnTo>
                  <a:lnTo>
                    <a:pt x="1630" y="730"/>
                  </a:lnTo>
                  <a:lnTo>
                    <a:pt x="1630" y="730"/>
                  </a:lnTo>
                  <a:lnTo>
                    <a:pt x="1628" y="730"/>
                  </a:lnTo>
                  <a:lnTo>
                    <a:pt x="1628" y="732"/>
                  </a:lnTo>
                  <a:lnTo>
                    <a:pt x="1628" y="732"/>
                  </a:lnTo>
                  <a:lnTo>
                    <a:pt x="1628" y="732"/>
                  </a:lnTo>
                  <a:lnTo>
                    <a:pt x="1628" y="734"/>
                  </a:lnTo>
                  <a:lnTo>
                    <a:pt x="1628" y="738"/>
                  </a:lnTo>
                  <a:lnTo>
                    <a:pt x="1628" y="740"/>
                  </a:lnTo>
                  <a:lnTo>
                    <a:pt x="1628" y="746"/>
                  </a:lnTo>
                  <a:lnTo>
                    <a:pt x="1628" y="748"/>
                  </a:lnTo>
                  <a:lnTo>
                    <a:pt x="1628" y="750"/>
                  </a:lnTo>
                  <a:lnTo>
                    <a:pt x="1626" y="752"/>
                  </a:lnTo>
                  <a:lnTo>
                    <a:pt x="1626" y="752"/>
                  </a:lnTo>
                  <a:lnTo>
                    <a:pt x="1622" y="756"/>
                  </a:lnTo>
                  <a:lnTo>
                    <a:pt x="1618" y="758"/>
                  </a:lnTo>
                  <a:lnTo>
                    <a:pt x="1616" y="760"/>
                  </a:lnTo>
                  <a:lnTo>
                    <a:pt x="1614" y="762"/>
                  </a:lnTo>
                  <a:lnTo>
                    <a:pt x="1614" y="762"/>
                  </a:lnTo>
                  <a:lnTo>
                    <a:pt x="1614" y="762"/>
                  </a:lnTo>
                  <a:lnTo>
                    <a:pt x="1612" y="766"/>
                  </a:lnTo>
                  <a:lnTo>
                    <a:pt x="1608" y="772"/>
                  </a:lnTo>
                  <a:lnTo>
                    <a:pt x="1606" y="776"/>
                  </a:lnTo>
                  <a:lnTo>
                    <a:pt x="1606" y="776"/>
                  </a:lnTo>
                  <a:lnTo>
                    <a:pt x="1604" y="778"/>
                  </a:lnTo>
                  <a:lnTo>
                    <a:pt x="1602" y="778"/>
                  </a:lnTo>
                  <a:lnTo>
                    <a:pt x="1600" y="780"/>
                  </a:lnTo>
                  <a:lnTo>
                    <a:pt x="1596" y="780"/>
                  </a:lnTo>
                  <a:lnTo>
                    <a:pt x="1592" y="780"/>
                  </a:lnTo>
                  <a:lnTo>
                    <a:pt x="1584" y="780"/>
                  </a:lnTo>
                  <a:lnTo>
                    <a:pt x="1580" y="780"/>
                  </a:lnTo>
                  <a:lnTo>
                    <a:pt x="1578" y="780"/>
                  </a:lnTo>
                  <a:lnTo>
                    <a:pt x="1570" y="778"/>
                  </a:lnTo>
                  <a:lnTo>
                    <a:pt x="1564" y="778"/>
                  </a:lnTo>
                  <a:lnTo>
                    <a:pt x="1558" y="778"/>
                  </a:lnTo>
                  <a:lnTo>
                    <a:pt x="1554" y="778"/>
                  </a:lnTo>
                  <a:lnTo>
                    <a:pt x="1550" y="778"/>
                  </a:lnTo>
                  <a:lnTo>
                    <a:pt x="1548" y="778"/>
                  </a:lnTo>
                  <a:lnTo>
                    <a:pt x="1546" y="778"/>
                  </a:lnTo>
                  <a:lnTo>
                    <a:pt x="1542" y="780"/>
                  </a:lnTo>
                  <a:lnTo>
                    <a:pt x="1542" y="780"/>
                  </a:lnTo>
                  <a:lnTo>
                    <a:pt x="1542" y="780"/>
                  </a:lnTo>
                  <a:lnTo>
                    <a:pt x="1538" y="782"/>
                  </a:lnTo>
                  <a:lnTo>
                    <a:pt x="1538" y="784"/>
                  </a:lnTo>
                  <a:lnTo>
                    <a:pt x="1536" y="786"/>
                  </a:lnTo>
                  <a:lnTo>
                    <a:pt x="1534" y="786"/>
                  </a:lnTo>
                  <a:lnTo>
                    <a:pt x="1534" y="788"/>
                  </a:lnTo>
                  <a:lnTo>
                    <a:pt x="1534" y="788"/>
                  </a:lnTo>
                  <a:lnTo>
                    <a:pt x="1532" y="788"/>
                  </a:lnTo>
                  <a:lnTo>
                    <a:pt x="1532" y="792"/>
                  </a:lnTo>
                  <a:lnTo>
                    <a:pt x="1530" y="794"/>
                  </a:lnTo>
                  <a:lnTo>
                    <a:pt x="1528" y="798"/>
                  </a:lnTo>
                  <a:lnTo>
                    <a:pt x="1526" y="802"/>
                  </a:lnTo>
                  <a:lnTo>
                    <a:pt x="1526" y="804"/>
                  </a:lnTo>
                  <a:lnTo>
                    <a:pt x="1524" y="808"/>
                  </a:lnTo>
                  <a:lnTo>
                    <a:pt x="1522" y="808"/>
                  </a:lnTo>
                  <a:lnTo>
                    <a:pt x="1518" y="810"/>
                  </a:lnTo>
                  <a:lnTo>
                    <a:pt x="1516" y="812"/>
                  </a:lnTo>
                  <a:lnTo>
                    <a:pt x="1508" y="812"/>
                  </a:lnTo>
                  <a:lnTo>
                    <a:pt x="1506" y="812"/>
                  </a:lnTo>
                  <a:lnTo>
                    <a:pt x="1502" y="814"/>
                  </a:lnTo>
                  <a:lnTo>
                    <a:pt x="1498" y="814"/>
                  </a:lnTo>
                  <a:lnTo>
                    <a:pt x="1496" y="814"/>
                  </a:lnTo>
                  <a:lnTo>
                    <a:pt x="1496" y="814"/>
                  </a:lnTo>
                  <a:lnTo>
                    <a:pt x="1496" y="814"/>
                  </a:lnTo>
                  <a:lnTo>
                    <a:pt x="1494" y="816"/>
                  </a:lnTo>
                  <a:lnTo>
                    <a:pt x="1492" y="816"/>
                  </a:lnTo>
                  <a:lnTo>
                    <a:pt x="1492" y="816"/>
                  </a:lnTo>
                  <a:lnTo>
                    <a:pt x="1490" y="816"/>
                  </a:lnTo>
                  <a:lnTo>
                    <a:pt x="1488" y="818"/>
                  </a:lnTo>
                  <a:lnTo>
                    <a:pt x="1488" y="820"/>
                  </a:lnTo>
                  <a:lnTo>
                    <a:pt x="1486" y="820"/>
                  </a:lnTo>
                  <a:lnTo>
                    <a:pt x="1484" y="822"/>
                  </a:lnTo>
                  <a:lnTo>
                    <a:pt x="1482" y="824"/>
                  </a:lnTo>
                  <a:lnTo>
                    <a:pt x="1480" y="826"/>
                  </a:lnTo>
                  <a:lnTo>
                    <a:pt x="1476" y="828"/>
                  </a:lnTo>
                  <a:lnTo>
                    <a:pt x="1468" y="836"/>
                  </a:lnTo>
                  <a:lnTo>
                    <a:pt x="1464" y="838"/>
                  </a:lnTo>
                  <a:lnTo>
                    <a:pt x="1460" y="842"/>
                  </a:lnTo>
                  <a:lnTo>
                    <a:pt x="1456" y="844"/>
                  </a:lnTo>
                  <a:lnTo>
                    <a:pt x="1452" y="846"/>
                  </a:lnTo>
                  <a:lnTo>
                    <a:pt x="1450" y="846"/>
                  </a:lnTo>
                  <a:lnTo>
                    <a:pt x="1444" y="848"/>
                  </a:lnTo>
                  <a:lnTo>
                    <a:pt x="1440" y="848"/>
                  </a:lnTo>
                  <a:lnTo>
                    <a:pt x="1436" y="848"/>
                  </a:lnTo>
                  <a:lnTo>
                    <a:pt x="1432" y="848"/>
                  </a:lnTo>
                  <a:lnTo>
                    <a:pt x="1428" y="848"/>
                  </a:lnTo>
                  <a:lnTo>
                    <a:pt x="1426" y="848"/>
                  </a:lnTo>
                  <a:lnTo>
                    <a:pt x="1426" y="846"/>
                  </a:lnTo>
                  <a:lnTo>
                    <a:pt x="1426" y="846"/>
                  </a:lnTo>
                  <a:lnTo>
                    <a:pt x="1426" y="846"/>
                  </a:lnTo>
                  <a:lnTo>
                    <a:pt x="1426" y="844"/>
                  </a:lnTo>
                  <a:lnTo>
                    <a:pt x="1426" y="844"/>
                  </a:lnTo>
                  <a:lnTo>
                    <a:pt x="1428" y="840"/>
                  </a:lnTo>
                  <a:lnTo>
                    <a:pt x="1430" y="836"/>
                  </a:lnTo>
                  <a:lnTo>
                    <a:pt x="1434" y="830"/>
                  </a:lnTo>
                  <a:lnTo>
                    <a:pt x="1436" y="826"/>
                  </a:lnTo>
                  <a:lnTo>
                    <a:pt x="1438" y="822"/>
                  </a:lnTo>
                  <a:lnTo>
                    <a:pt x="1440" y="818"/>
                  </a:lnTo>
                  <a:lnTo>
                    <a:pt x="1440" y="818"/>
                  </a:lnTo>
                  <a:lnTo>
                    <a:pt x="1440" y="818"/>
                  </a:lnTo>
                  <a:lnTo>
                    <a:pt x="1442" y="812"/>
                  </a:lnTo>
                  <a:lnTo>
                    <a:pt x="1442" y="812"/>
                  </a:lnTo>
                  <a:lnTo>
                    <a:pt x="1442" y="806"/>
                  </a:lnTo>
                  <a:lnTo>
                    <a:pt x="1442" y="806"/>
                  </a:lnTo>
                  <a:lnTo>
                    <a:pt x="1442" y="806"/>
                  </a:lnTo>
                  <a:lnTo>
                    <a:pt x="1440" y="802"/>
                  </a:lnTo>
                  <a:lnTo>
                    <a:pt x="1440" y="802"/>
                  </a:lnTo>
                  <a:lnTo>
                    <a:pt x="1440" y="802"/>
                  </a:lnTo>
                  <a:lnTo>
                    <a:pt x="1440" y="800"/>
                  </a:lnTo>
                  <a:lnTo>
                    <a:pt x="1440" y="800"/>
                  </a:lnTo>
                  <a:lnTo>
                    <a:pt x="1440" y="800"/>
                  </a:lnTo>
                  <a:lnTo>
                    <a:pt x="1438" y="798"/>
                  </a:lnTo>
                  <a:lnTo>
                    <a:pt x="1438" y="798"/>
                  </a:lnTo>
                  <a:lnTo>
                    <a:pt x="1438" y="798"/>
                  </a:lnTo>
                  <a:lnTo>
                    <a:pt x="1436" y="796"/>
                  </a:lnTo>
                  <a:lnTo>
                    <a:pt x="1436" y="796"/>
                  </a:lnTo>
                  <a:lnTo>
                    <a:pt x="1436" y="796"/>
                  </a:lnTo>
                  <a:lnTo>
                    <a:pt x="1434" y="796"/>
                  </a:lnTo>
                  <a:lnTo>
                    <a:pt x="1434" y="796"/>
                  </a:lnTo>
                  <a:lnTo>
                    <a:pt x="1434" y="796"/>
                  </a:lnTo>
                  <a:lnTo>
                    <a:pt x="1432" y="796"/>
                  </a:lnTo>
                  <a:lnTo>
                    <a:pt x="1432" y="796"/>
                  </a:lnTo>
                  <a:lnTo>
                    <a:pt x="1432" y="798"/>
                  </a:lnTo>
                  <a:lnTo>
                    <a:pt x="1428" y="798"/>
                  </a:lnTo>
                  <a:lnTo>
                    <a:pt x="1424" y="802"/>
                  </a:lnTo>
                  <a:lnTo>
                    <a:pt x="1422" y="804"/>
                  </a:lnTo>
                  <a:lnTo>
                    <a:pt x="1418" y="806"/>
                  </a:lnTo>
                  <a:lnTo>
                    <a:pt x="1416" y="808"/>
                  </a:lnTo>
                  <a:lnTo>
                    <a:pt x="1418" y="804"/>
                  </a:lnTo>
                  <a:lnTo>
                    <a:pt x="1420" y="800"/>
                  </a:lnTo>
                  <a:lnTo>
                    <a:pt x="1422" y="796"/>
                  </a:lnTo>
                  <a:lnTo>
                    <a:pt x="1424" y="792"/>
                  </a:lnTo>
                  <a:lnTo>
                    <a:pt x="1424" y="786"/>
                  </a:lnTo>
                  <a:lnTo>
                    <a:pt x="1426" y="782"/>
                  </a:lnTo>
                  <a:lnTo>
                    <a:pt x="1426" y="782"/>
                  </a:lnTo>
                  <a:lnTo>
                    <a:pt x="1426" y="782"/>
                  </a:lnTo>
                  <a:lnTo>
                    <a:pt x="1426" y="780"/>
                  </a:lnTo>
                  <a:lnTo>
                    <a:pt x="1426" y="776"/>
                  </a:lnTo>
                  <a:lnTo>
                    <a:pt x="1426" y="776"/>
                  </a:lnTo>
                  <a:lnTo>
                    <a:pt x="1426" y="776"/>
                  </a:lnTo>
                  <a:lnTo>
                    <a:pt x="1424" y="770"/>
                  </a:lnTo>
                  <a:lnTo>
                    <a:pt x="1424" y="770"/>
                  </a:lnTo>
                  <a:lnTo>
                    <a:pt x="1424" y="770"/>
                  </a:lnTo>
                  <a:lnTo>
                    <a:pt x="1422" y="766"/>
                  </a:lnTo>
                  <a:lnTo>
                    <a:pt x="1422" y="766"/>
                  </a:lnTo>
                  <a:lnTo>
                    <a:pt x="1422" y="766"/>
                  </a:lnTo>
                  <a:lnTo>
                    <a:pt x="1420" y="764"/>
                  </a:lnTo>
                  <a:lnTo>
                    <a:pt x="1420" y="764"/>
                  </a:lnTo>
                  <a:lnTo>
                    <a:pt x="1420" y="764"/>
                  </a:lnTo>
                  <a:lnTo>
                    <a:pt x="1418" y="762"/>
                  </a:lnTo>
                  <a:lnTo>
                    <a:pt x="1418" y="762"/>
                  </a:lnTo>
                  <a:lnTo>
                    <a:pt x="1418" y="762"/>
                  </a:lnTo>
                  <a:lnTo>
                    <a:pt x="1416" y="760"/>
                  </a:lnTo>
                  <a:lnTo>
                    <a:pt x="1416" y="760"/>
                  </a:lnTo>
                  <a:lnTo>
                    <a:pt x="1416" y="760"/>
                  </a:lnTo>
                  <a:lnTo>
                    <a:pt x="1414" y="760"/>
                  </a:lnTo>
                  <a:lnTo>
                    <a:pt x="1414" y="760"/>
                  </a:lnTo>
                  <a:lnTo>
                    <a:pt x="1414" y="760"/>
                  </a:lnTo>
                  <a:lnTo>
                    <a:pt x="1410" y="758"/>
                  </a:lnTo>
                  <a:lnTo>
                    <a:pt x="1410" y="758"/>
                  </a:lnTo>
                  <a:lnTo>
                    <a:pt x="1408" y="758"/>
                  </a:lnTo>
                  <a:lnTo>
                    <a:pt x="1404" y="758"/>
                  </a:lnTo>
                  <a:lnTo>
                    <a:pt x="1404" y="758"/>
                  </a:lnTo>
                  <a:lnTo>
                    <a:pt x="1404" y="758"/>
                  </a:lnTo>
                  <a:lnTo>
                    <a:pt x="1400" y="758"/>
                  </a:lnTo>
                  <a:lnTo>
                    <a:pt x="1400" y="758"/>
                  </a:lnTo>
                  <a:lnTo>
                    <a:pt x="1400" y="758"/>
                  </a:lnTo>
                  <a:lnTo>
                    <a:pt x="1398" y="758"/>
                  </a:lnTo>
                  <a:lnTo>
                    <a:pt x="1398" y="758"/>
                  </a:lnTo>
                  <a:lnTo>
                    <a:pt x="1398" y="758"/>
                  </a:lnTo>
                  <a:lnTo>
                    <a:pt x="1394" y="760"/>
                  </a:lnTo>
                  <a:lnTo>
                    <a:pt x="1394" y="760"/>
                  </a:lnTo>
                  <a:lnTo>
                    <a:pt x="1394" y="762"/>
                  </a:lnTo>
                  <a:lnTo>
                    <a:pt x="1390" y="764"/>
                  </a:lnTo>
                  <a:lnTo>
                    <a:pt x="1390" y="764"/>
                  </a:lnTo>
                  <a:lnTo>
                    <a:pt x="1390" y="764"/>
                  </a:lnTo>
                  <a:lnTo>
                    <a:pt x="1388" y="768"/>
                  </a:lnTo>
                  <a:lnTo>
                    <a:pt x="1384" y="772"/>
                  </a:lnTo>
                  <a:lnTo>
                    <a:pt x="1382" y="776"/>
                  </a:lnTo>
                  <a:lnTo>
                    <a:pt x="1382" y="780"/>
                  </a:lnTo>
                  <a:lnTo>
                    <a:pt x="1378" y="786"/>
                  </a:lnTo>
                  <a:lnTo>
                    <a:pt x="1376" y="794"/>
                  </a:lnTo>
                  <a:lnTo>
                    <a:pt x="1374" y="798"/>
                  </a:lnTo>
                  <a:lnTo>
                    <a:pt x="1374" y="802"/>
                  </a:lnTo>
                  <a:lnTo>
                    <a:pt x="1374" y="808"/>
                  </a:lnTo>
                  <a:lnTo>
                    <a:pt x="1374" y="812"/>
                  </a:lnTo>
                  <a:lnTo>
                    <a:pt x="1376" y="820"/>
                  </a:lnTo>
                  <a:lnTo>
                    <a:pt x="1376" y="826"/>
                  </a:lnTo>
                  <a:lnTo>
                    <a:pt x="1378" y="828"/>
                  </a:lnTo>
                  <a:lnTo>
                    <a:pt x="1376" y="832"/>
                  </a:lnTo>
                  <a:lnTo>
                    <a:pt x="1376" y="834"/>
                  </a:lnTo>
                  <a:lnTo>
                    <a:pt x="1376" y="836"/>
                  </a:lnTo>
                  <a:lnTo>
                    <a:pt x="1374" y="838"/>
                  </a:lnTo>
                  <a:lnTo>
                    <a:pt x="1372" y="838"/>
                  </a:lnTo>
                  <a:lnTo>
                    <a:pt x="1370" y="840"/>
                  </a:lnTo>
                  <a:lnTo>
                    <a:pt x="1366" y="840"/>
                  </a:lnTo>
                  <a:lnTo>
                    <a:pt x="1366" y="842"/>
                  </a:lnTo>
                  <a:lnTo>
                    <a:pt x="1364" y="840"/>
                  </a:lnTo>
                  <a:lnTo>
                    <a:pt x="1364" y="840"/>
                  </a:lnTo>
                  <a:lnTo>
                    <a:pt x="1362" y="838"/>
                  </a:lnTo>
                  <a:lnTo>
                    <a:pt x="1362" y="836"/>
                  </a:lnTo>
                  <a:lnTo>
                    <a:pt x="1360" y="832"/>
                  </a:lnTo>
                  <a:lnTo>
                    <a:pt x="1360" y="828"/>
                  </a:lnTo>
                  <a:lnTo>
                    <a:pt x="1358" y="822"/>
                  </a:lnTo>
                  <a:lnTo>
                    <a:pt x="1358" y="816"/>
                  </a:lnTo>
                  <a:lnTo>
                    <a:pt x="1358" y="812"/>
                  </a:lnTo>
                  <a:lnTo>
                    <a:pt x="1358" y="808"/>
                  </a:lnTo>
                  <a:lnTo>
                    <a:pt x="1358" y="798"/>
                  </a:lnTo>
                  <a:lnTo>
                    <a:pt x="1360" y="790"/>
                  </a:lnTo>
                  <a:lnTo>
                    <a:pt x="1360" y="790"/>
                  </a:lnTo>
                  <a:lnTo>
                    <a:pt x="1362" y="782"/>
                  </a:lnTo>
                  <a:lnTo>
                    <a:pt x="1364" y="780"/>
                  </a:lnTo>
                  <a:lnTo>
                    <a:pt x="1366" y="776"/>
                  </a:lnTo>
                  <a:lnTo>
                    <a:pt x="1368" y="774"/>
                  </a:lnTo>
                  <a:lnTo>
                    <a:pt x="1372" y="770"/>
                  </a:lnTo>
                  <a:lnTo>
                    <a:pt x="1376" y="768"/>
                  </a:lnTo>
                  <a:lnTo>
                    <a:pt x="1380" y="766"/>
                  </a:lnTo>
                  <a:lnTo>
                    <a:pt x="1384" y="764"/>
                  </a:lnTo>
                  <a:lnTo>
                    <a:pt x="1388" y="762"/>
                  </a:lnTo>
                  <a:lnTo>
                    <a:pt x="1392" y="760"/>
                  </a:lnTo>
                  <a:lnTo>
                    <a:pt x="1392" y="760"/>
                  </a:lnTo>
                  <a:lnTo>
                    <a:pt x="1392" y="758"/>
                  </a:lnTo>
                  <a:lnTo>
                    <a:pt x="1394" y="756"/>
                  </a:lnTo>
                  <a:lnTo>
                    <a:pt x="1394" y="756"/>
                  </a:lnTo>
                  <a:lnTo>
                    <a:pt x="1396" y="756"/>
                  </a:lnTo>
                  <a:lnTo>
                    <a:pt x="1398" y="754"/>
                  </a:lnTo>
                  <a:lnTo>
                    <a:pt x="1398" y="752"/>
                  </a:lnTo>
                  <a:lnTo>
                    <a:pt x="1398" y="752"/>
                  </a:lnTo>
                  <a:lnTo>
                    <a:pt x="1398" y="750"/>
                  </a:lnTo>
                  <a:lnTo>
                    <a:pt x="1400" y="748"/>
                  </a:lnTo>
                  <a:lnTo>
                    <a:pt x="1400" y="748"/>
                  </a:lnTo>
                  <a:lnTo>
                    <a:pt x="1400" y="748"/>
                  </a:lnTo>
                  <a:lnTo>
                    <a:pt x="1400" y="746"/>
                  </a:lnTo>
                  <a:lnTo>
                    <a:pt x="1400" y="746"/>
                  </a:lnTo>
                  <a:lnTo>
                    <a:pt x="1400" y="744"/>
                  </a:lnTo>
                  <a:lnTo>
                    <a:pt x="1400" y="742"/>
                  </a:lnTo>
                  <a:lnTo>
                    <a:pt x="1400" y="742"/>
                  </a:lnTo>
                  <a:lnTo>
                    <a:pt x="1400" y="742"/>
                  </a:lnTo>
                  <a:lnTo>
                    <a:pt x="1400" y="740"/>
                  </a:lnTo>
                  <a:lnTo>
                    <a:pt x="1400" y="740"/>
                  </a:lnTo>
                  <a:lnTo>
                    <a:pt x="1400" y="738"/>
                  </a:lnTo>
                  <a:lnTo>
                    <a:pt x="1398" y="736"/>
                  </a:lnTo>
                  <a:lnTo>
                    <a:pt x="1398" y="736"/>
                  </a:lnTo>
                  <a:lnTo>
                    <a:pt x="1398" y="736"/>
                  </a:lnTo>
                  <a:lnTo>
                    <a:pt x="1396" y="736"/>
                  </a:lnTo>
                  <a:lnTo>
                    <a:pt x="1396" y="736"/>
                  </a:lnTo>
                  <a:lnTo>
                    <a:pt x="1394" y="734"/>
                  </a:lnTo>
                  <a:lnTo>
                    <a:pt x="1392" y="734"/>
                  </a:lnTo>
                  <a:lnTo>
                    <a:pt x="1386" y="732"/>
                  </a:lnTo>
                  <a:lnTo>
                    <a:pt x="1382" y="732"/>
                  </a:lnTo>
                  <a:lnTo>
                    <a:pt x="1376" y="732"/>
                  </a:lnTo>
                  <a:lnTo>
                    <a:pt x="1368" y="732"/>
                  </a:lnTo>
                  <a:lnTo>
                    <a:pt x="1362" y="732"/>
                  </a:lnTo>
                  <a:lnTo>
                    <a:pt x="1356" y="732"/>
                  </a:lnTo>
                  <a:lnTo>
                    <a:pt x="1348" y="732"/>
                  </a:lnTo>
                  <a:lnTo>
                    <a:pt x="1342" y="732"/>
                  </a:lnTo>
                  <a:lnTo>
                    <a:pt x="1334" y="732"/>
                  </a:lnTo>
                  <a:lnTo>
                    <a:pt x="1326" y="734"/>
                  </a:lnTo>
                  <a:lnTo>
                    <a:pt x="1320" y="736"/>
                  </a:lnTo>
                  <a:lnTo>
                    <a:pt x="1312" y="736"/>
                  </a:lnTo>
                  <a:lnTo>
                    <a:pt x="1308" y="736"/>
                  </a:lnTo>
                  <a:lnTo>
                    <a:pt x="1306" y="736"/>
                  </a:lnTo>
                  <a:lnTo>
                    <a:pt x="1304" y="736"/>
                  </a:lnTo>
                  <a:lnTo>
                    <a:pt x="1302" y="736"/>
                  </a:lnTo>
                  <a:lnTo>
                    <a:pt x="1304" y="736"/>
                  </a:lnTo>
                  <a:lnTo>
                    <a:pt x="1306" y="734"/>
                  </a:lnTo>
                  <a:lnTo>
                    <a:pt x="1308" y="732"/>
                  </a:lnTo>
                  <a:lnTo>
                    <a:pt x="1314" y="728"/>
                  </a:lnTo>
                  <a:lnTo>
                    <a:pt x="1318" y="724"/>
                  </a:lnTo>
                  <a:lnTo>
                    <a:pt x="1324" y="722"/>
                  </a:lnTo>
                  <a:lnTo>
                    <a:pt x="1326" y="720"/>
                  </a:lnTo>
                  <a:lnTo>
                    <a:pt x="1328" y="718"/>
                  </a:lnTo>
                  <a:lnTo>
                    <a:pt x="1328" y="716"/>
                  </a:lnTo>
                  <a:lnTo>
                    <a:pt x="1328" y="716"/>
                  </a:lnTo>
                  <a:lnTo>
                    <a:pt x="1330" y="716"/>
                  </a:lnTo>
                  <a:lnTo>
                    <a:pt x="1330" y="714"/>
                  </a:lnTo>
                  <a:lnTo>
                    <a:pt x="1330" y="714"/>
                  </a:lnTo>
                  <a:lnTo>
                    <a:pt x="1330" y="712"/>
                  </a:lnTo>
                  <a:lnTo>
                    <a:pt x="1330" y="710"/>
                  </a:lnTo>
                  <a:lnTo>
                    <a:pt x="1330" y="710"/>
                  </a:lnTo>
                  <a:lnTo>
                    <a:pt x="1328" y="710"/>
                  </a:lnTo>
                  <a:lnTo>
                    <a:pt x="1326" y="708"/>
                  </a:lnTo>
                  <a:lnTo>
                    <a:pt x="1326" y="708"/>
                  </a:lnTo>
                  <a:lnTo>
                    <a:pt x="1326" y="708"/>
                  </a:lnTo>
                  <a:lnTo>
                    <a:pt x="1322" y="706"/>
                  </a:lnTo>
                  <a:lnTo>
                    <a:pt x="1318" y="706"/>
                  </a:lnTo>
                  <a:lnTo>
                    <a:pt x="1314" y="706"/>
                  </a:lnTo>
                  <a:lnTo>
                    <a:pt x="1310" y="706"/>
                  </a:lnTo>
                  <a:lnTo>
                    <a:pt x="1306" y="704"/>
                  </a:lnTo>
                  <a:lnTo>
                    <a:pt x="1302" y="704"/>
                  </a:lnTo>
                  <a:lnTo>
                    <a:pt x="1296" y="704"/>
                  </a:lnTo>
                  <a:lnTo>
                    <a:pt x="1292" y="704"/>
                  </a:lnTo>
                  <a:lnTo>
                    <a:pt x="1282" y="704"/>
                  </a:lnTo>
                  <a:lnTo>
                    <a:pt x="1272" y="704"/>
                  </a:lnTo>
                  <a:lnTo>
                    <a:pt x="1260" y="704"/>
                  </a:lnTo>
                  <a:lnTo>
                    <a:pt x="1258" y="704"/>
                  </a:lnTo>
                  <a:lnTo>
                    <a:pt x="1256" y="704"/>
                  </a:lnTo>
                  <a:lnTo>
                    <a:pt x="1256" y="704"/>
                  </a:lnTo>
                  <a:lnTo>
                    <a:pt x="1256" y="704"/>
                  </a:lnTo>
                  <a:lnTo>
                    <a:pt x="1256" y="704"/>
                  </a:lnTo>
                  <a:lnTo>
                    <a:pt x="1254" y="704"/>
                  </a:lnTo>
                  <a:lnTo>
                    <a:pt x="1254" y="704"/>
                  </a:lnTo>
                  <a:lnTo>
                    <a:pt x="1252" y="704"/>
                  </a:lnTo>
                  <a:lnTo>
                    <a:pt x="1250" y="704"/>
                  </a:lnTo>
                  <a:lnTo>
                    <a:pt x="1248" y="702"/>
                  </a:lnTo>
                  <a:lnTo>
                    <a:pt x="1244" y="702"/>
                  </a:lnTo>
                  <a:lnTo>
                    <a:pt x="1238" y="702"/>
                  </a:lnTo>
                  <a:lnTo>
                    <a:pt x="1232" y="702"/>
                  </a:lnTo>
                  <a:lnTo>
                    <a:pt x="1210" y="702"/>
                  </a:lnTo>
                  <a:lnTo>
                    <a:pt x="1206" y="702"/>
                  </a:lnTo>
                  <a:lnTo>
                    <a:pt x="1192" y="702"/>
                  </a:lnTo>
                  <a:lnTo>
                    <a:pt x="1180" y="702"/>
                  </a:lnTo>
                  <a:lnTo>
                    <a:pt x="1164" y="702"/>
                  </a:lnTo>
                  <a:lnTo>
                    <a:pt x="1148" y="702"/>
                  </a:lnTo>
                  <a:lnTo>
                    <a:pt x="1132" y="702"/>
                  </a:lnTo>
                  <a:lnTo>
                    <a:pt x="1116" y="702"/>
                  </a:lnTo>
                  <a:lnTo>
                    <a:pt x="1100" y="702"/>
                  </a:lnTo>
                  <a:lnTo>
                    <a:pt x="1084" y="702"/>
                  </a:lnTo>
                  <a:lnTo>
                    <a:pt x="1068" y="702"/>
                  </a:lnTo>
                  <a:lnTo>
                    <a:pt x="1052" y="702"/>
                  </a:lnTo>
                  <a:lnTo>
                    <a:pt x="1038" y="702"/>
                  </a:lnTo>
                  <a:lnTo>
                    <a:pt x="1026" y="702"/>
                  </a:lnTo>
                  <a:lnTo>
                    <a:pt x="1020" y="702"/>
                  </a:lnTo>
                  <a:lnTo>
                    <a:pt x="932" y="702"/>
                  </a:lnTo>
                  <a:lnTo>
                    <a:pt x="916" y="702"/>
                  </a:lnTo>
                  <a:lnTo>
                    <a:pt x="910" y="702"/>
                  </a:lnTo>
                  <a:lnTo>
                    <a:pt x="902" y="702"/>
                  </a:lnTo>
                  <a:lnTo>
                    <a:pt x="896" y="704"/>
                  </a:lnTo>
                  <a:lnTo>
                    <a:pt x="890" y="704"/>
                  </a:lnTo>
                  <a:lnTo>
                    <a:pt x="886" y="704"/>
                  </a:lnTo>
                  <a:lnTo>
                    <a:pt x="880" y="704"/>
                  </a:lnTo>
                  <a:lnTo>
                    <a:pt x="876" y="704"/>
                  </a:lnTo>
                  <a:lnTo>
                    <a:pt x="872" y="704"/>
                  </a:lnTo>
                  <a:lnTo>
                    <a:pt x="870" y="704"/>
                  </a:lnTo>
                  <a:lnTo>
                    <a:pt x="868" y="704"/>
                  </a:lnTo>
                  <a:lnTo>
                    <a:pt x="866" y="702"/>
                  </a:lnTo>
                  <a:lnTo>
                    <a:pt x="866" y="702"/>
                  </a:lnTo>
                  <a:lnTo>
                    <a:pt x="864" y="702"/>
                  </a:lnTo>
                  <a:lnTo>
                    <a:pt x="864" y="702"/>
                  </a:lnTo>
                  <a:lnTo>
                    <a:pt x="864" y="702"/>
                  </a:lnTo>
                  <a:lnTo>
                    <a:pt x="862" y="704"/>
                  </a:lnTo>
                  <a:lnTo>
                    <a:pt x="860" y="704"/>
                  </a:lnTo>
                  <a:lnTo>
                    <a:pt x="860" y="704"/>
                  </a:lnTo>
                  <a:lnTo>
                    <a:pt x="860" y="704"/>
                  </a:lnTo>
                  <a:lnTo>
                    <a:pt x="858" y="706"/>
                  </a:lnTo>
                  <a:lnTo>
                    <a:pt x="858" y="706"/>
                  </a:lnTo>
                  <a:lnTo>
                    <a:pt x="858" y="708"/>
                  </a:lnTo>
                  <a:lnTo>
                    <a:pt x="858" y="710"/>
                  </a:lnTo>
                  <a:lnTo>
                    <a:pt x="858" y="710"/>
                  </a:lnTo>
                  <a:lnTo>
                    <a:pt x="860" y="710"/>
                  </a:lnTo>
                  <a:lnTo>
                    <a:pt x="860" y="714"/>
                  </a:lnTo>
                  <a:lnTo>
                    <a:pt x="862" y="718"/>
                  </a:lnTo>
                  <a:lnTo>
                    <a:pt x="864" y="722"/>
                  </a:lnTo>
                  <a:lnTo>
                    <a:pt x="866" y="728"/>
                  </a:lnTo>
                  <a:lnTo>
                    <a:pt x="868" y="732"/>
                  </a:lnTo>
                  <a:lnTo>
                    <a:pt x="868" y="734"/>
                  </a:lnTo>
                  <a:lnTo>
                    <a:pt x="868" y="736"/>
                  </a:lnTo>
                  <a:lnTo>
                    <a:pt x="868" y="738"/>
                  </a:lnTo>
                  <a:lnTo>
                    <a:pt x="868" y="738"/>
                  </a:lnTo>
                  <a:lnTo>
                    <a:pt x="866" y="740"/>
                  </a:lnTo>
                  <a:lnTo>
                    <a:pt x="866" y="740"/>
                  </a:lnTo>
                  <a:lnTo>
                    <a:pt x="862" y="742"/>
                  </a:lnTo>
                  <a:lnTo>
                    <a:pt x="856" y="742"/>
                  </a:lnTo>
                  <a:lnTo>
                    <a:pt x="854" y="742"/>
                  </a:lnTo>
                  <a:lnTo>
                    <a:pt x="850" y="740"/>
                  </a:lnTo>
                  <a:lnTo>
                    <a:pt x="844" y="740"/>
                  </a:lnTo>
                  <a:lnTo>
                    <a:pt x="840" y="738"/>
                  </a:lnTo>
                  <a:lnTo>
                    <a:pt x="834" y="736"/>
                  </a:lnTo>
                  <a:lnTo>
                    <a:pt x="828" y="734"/>
                  </a:lnTo>
                  <a:lnTo>
                    <a:pt x="824" y="734"/>
                  </a:lnTo>
                  <a:lnTo>
                    <a:pt x="824" y="734"/>
                  </a:lnTo>
                  <a:lnTo>
                    <a:pt x="824" y="734"/>
                  </a:lnTo>
                  <a:lnTo>
                    <a:pt x="820" y="734"/>
                  </a:lnTo>
                  <a:lnTo>
                    <a:pt x="820" y="734"/>
                  </a:lnTo>
                  <a:lnTo>
                    <a:pt x="820" y="734"/>
                  </a:lnTo>
                  <a:lnTo>
                    <a:pt x="818" y="734"/>
                  </a:lnTo>
                  <a:lnTo>
                    <a:pt x="818" y="734"/>
                  </a:lnTo>
                  <a:lnTo>
                    <a:pt x="816" y="736"/>
                  </a:lnTo>
                  <a:lnTo>
                    <a:pt x="814" y="736"/>
                  </a:lnTo>
                  <a:lnTo>
                    <a:pt x="814" y="736"/>
                  </a:lnTo>
                  <a:lnTo>
                    <a:pt x="814" y="738"/>
                  </a:lnTo>
                  <a:lnTo>
                    <a:pt x="814" y="740"/>
                  </a:lnTo>
                  <a:lnTo>
                    <a:pt x="814" y="740"/>
                  </a:lnTo>
                  <a:lnTo>
                    <a:pt x="814" y="740"/>
                  </a:lnTo>
                  <a:lnTo>
                    <a:pt x="812" y="742"/>
                  </a:lnTo>
                  <a:lnTo>
                    <a:pt x="812" y="746"/>
                  </a:lnTo>
                  <a:lnTo>
                    <a:pt x="812" y="750"/>
                  </a:lnTo>
                  <a:lnTo>
                    <a:pt x="814" y="754"/>
                  </a:lnTo>
                  <a:lnTo>
                    <a:pt x="814" y="758"/>
                  </a:lnTo>
                  <a:lnTo>
                    <a:pt x="814" y="764"/>
                  </a:lnTo>
                  <a:lnTo>
                    <a:pt x="816" y="770"/>
                  </a:lnTo>
                  <a:lnTo>
                    <a:pt x="816" y="778"/>
                  </a:lnTo>
                  <a:lnTo>
                    <a:pt x="818" y="786"/>
                  </a:lnTo>
                  <a:lnTo>
                    <a:pt x="820" y="802"/>
                  </a:lnTo>
                  <a:lnTo>
                    <a:pt x="820" y="810"/>
                  </a:lnTo>
                  <a:lnTo>
                    <a:pt x="822" y="818"/>
                  </a:lnTo>
                  <a:lnTo>
                    <a:pt x="822" y="824"/>
                  </a:lnTo>
                  <a:lnTo>
                    <a:pt x="822" y="832"/>
                  </a:lnTo>
                  <a:lnTo>
                    <a:pt x="822" y="844"/>
                  </a:lnTo>
                  <a:lnTo>
                    <a:pt x="822" y="852"/>
                  </a:lnTo>
                  <a:lnTo>
                    <a:pt x="822" y="858"/>
                  </a:lnTo>
                  <a:lnTo>
                    <a:pt x="822" y="866"/>
                  </a:lnTo>
                  <a:lnTo>
                    <a:pt x="824" y="872"/>
                  </a:lnTo>
                  <a:lnTo>
                    <a:pt x="828" y="886"/>
                  </a:lnTo>
                  <a:lnTo>
                    <a:pt x="832" y="902"/>
                  </a:lnTo>
                  <a:lnTo>
                    <a:pt x="838" y="916"/>
                  </a:lnTo>
                  <a:lnTo>
                    <a:pt x="840" y="922"/>
                  </a:lnTo>
                  <a:lnTo>
                    <a:pt x="844" y="930"/>
                  </a:lnTo>
                  <a:lnTo>
                    <a:pt x="848" y="938"/>
                  </a:lnTo>
                  <a:lnTo>
                    <a:pt x="854" y="946"/>
                  </a:lnTo>
                  <a:lnTo>
                    <a:pt x="858" y="956"/>
                  </a:lnTo>
                  <a:lnTo>
                    <a:pt x="864" y="964"/>
                  </a:lnTo>
                  <a:lnTo>
                    <a:pt x="870" y="972"/>
                  </a:lnTo>
                  <a:lnTo>
                    <a:pt x="876" y="980"/>
                  </a:lnTo>
                  <a:lnTo>
                    <a:pt x="882" y="986"/>
                  </a:lnTo>
                  <a:lnTo>
                    <a:pt x="884" y="990"/>
                  </a:lnTo>
                  <a:lnTo>
                    <a:pt x="886" y="992"/>
                  </a:lnTo>
                  <a:lnTo>
                    <a:pt x="886" y="992"/>
                  </a:lnTo>
                  <a:lnTo>
                    <a:pt x="886" y="992"/>
                  </a:lnTo>
                  <a:lnTo>
                    <a:pt x="892" y="996"/>
                  </a:lnTo>
                  <a:lnTo>
                    <a:pt x="892" y="996"/>
                  </a:lnTo>
                  <a:lnTo>
                    <a:pt x="892" y="996"/>
                  </a:lnTo>
                  <a:lnTo>
                    <a:pt x="896" y="998"/>
                  </a:lnTo>
                  <a:lnTo>
                    <a:pt x="896" y="998"/>
                  </a:lnTo>
                  <a:lnTo>
                    <a:pt x="898" y="998"/>
                  </a:lnTo>
                  <a:lnTo>
                    <a:pt x="902" y="1000"/>
                  </a:lnTo>
                  <a:lnTo>
                    <a:pt x="906" y="1002"/>
                  </a:lnTo>
                  <a:lnTo>
                    <a:pt x="912" y="1002"/>
                  </a:lnTo>
                  <a:lnTo>
                    <a:pt x="916" y="1002"/>
                  </a:lnTo>
                  <a:lnTo>
                    <a:pt x="918" y="1002"/>
                  </a:lnTo>
                  <a:lnTo>
                    <a:pt x="922" y="1004"/>
                  </a:lnTo>
                  <a:lnTo>
                    <a:pt x="924" y="1004"/>
                  </a:lnTo>
                  <a:lnTo>
                    <a:pt x="926" y="1006"/>
                  </a:lnTo>
                  <a:lnTo>
                    <a:pt x="926" y="1008"/>
                  </a:lnTo>
                  <a:lnTo>
                    <a:pt x="928" y="1010"/>
                  </a:lnTo>
                  <a:lnTo>
                    <a:pt x="930" y="1010"/>
                  </a:lnTo>
                  <a:lnTo>
                    <a:pt x="930" y="1010"/>
                  </a:lnTo>
                  <a:lnTo>
                    <a:pt x="930" y="1012"/>
                  </a:lnTo>
                  <a:lnTo>
                    <a:pt x="932" y="1012"/>
                  </a:lnTo>
                  <a:lnTo>
                    <a:pt x="932" y="1012"/>
                  </a:lnTo>
                  <a:lnTo>
                    <a:pt x="932" y="1012"/>
                  </a:lnTo>
                  <a:lnTo>
                    <a:pt x="934" y="1014"/>
                  </a:lnTo>
                  <a:lnTo>
                    <a:pt x="934" y="1014"/>
                  </a:lnTo>
                  <a:lnTo>
                    <a:pt x="934" y="1014"/>
                  </a:lnTo>
                  <a:lnTo>
                    <a:pt x="936" y="1014"/>
                  </a:lnTo>
                  <a:lnTo>
                    <a:pt x="936" y="1014"/>
                  </a:lnTo>
                  <a:lnTo>
                    <a:pt x="938" y="1014"/>
                  </a:lnTo>
                  <a:lnTo>
                    <a:pt x="940" y="1014"/>
                  </a:lnTo>
                  <a:lnTo>
                    <a:pt x="940" y="1014"/>
                  </a:lnTo>
                  <a:lnTo>
                    <a:pt x="940" y="1014"/>
                  </a:lnTo>
                  <a:lnTo>
                    <a:pt x="942" y="1012"/>
                  </a:lnTo>
                  <a:lnTo>
                    <a:pt x="946" y="1010"/>
                  </a:lnTo>
                  <a:lnTo>
                    <a:pt x="948" y="1008"/>
                  </a:lnTo>
                  <a:lnTo>
                    <a:pt x="952" y="1006"/>
                  </a:lnTo>
                  <a:lnTo>
                    <a:pt x="954" y="1004"/>
                  </a:lnTo>
                  <a:lnTo>
                    <a:pt x="956" y="1004"/>
                  </a:lnTo>
                  <a:lnTo>
                    <a:pt x="956" y="1004"/>
                  </a:lnTo>
                  <a:lnTo>
                    <a:pt x="958" y="1004"/>
                  </a:lnTo>
                  <a:lnTo>
                    <a:pt x="958" y="1004"/>
                  </a:lnTo>
                  <a:lnTo>
                    <a:pt x="958" y="1006"/>
                  </a:lnTo>
                  <a:lnTo>
                    <a:pt x="960" y="1006"/>
                  </a:lnTo>
                  <a:lnTo>
                    <a:pt x="960" y="1008"/>
                  </a:lnTo>
                  <a:lnTo>
                    <a:pt x="962" y="1010"/>
                  </a:lnTo>
                  <a:lnTo>
                    <a:pt x="964" y="1012"/>
                  </a:lnTo>
                  <a:lnTo>
                    <a:pt x="964" y="1012"/>
                  </a:lnTo>
                  <a:lnTo>
                    <a:pt x="964" y="1014"/>
                  </a:lnTo>
                  <a:lnTo>
                    <a:pt x="966" y="1016"/>
                  </a:lnTo>
                  <a:lnTo>
                    <a:pt x="970" y="1018"/>
                  </a:lnTo>
                  <a:lnTo>
                    <a:pt x="974" y="1020"/>
                  </a:lnTo>
                  <a:lnTo>
                    <a:pt x="980" y="1022"/>
                  </a:lnTo>
                  <a:lnTo>
                    <a:pt x="984" y="1024"/>
                  </a:lnTo>
                  <a:lnTo>
                    <a:pt x="994" y="1028"/>
                  </a:lnTo>
                  <a:lnTo>
                    <a:pt x="998" y="1030"/>
                  </a:lnTo>
                  <a:lnTo>
                    <a:pt x="1002" y="1032"/>
                  </a:lnTo>
                  <a:lnTo>
                    <a:pt x="1004" y="1032"/>
                  </a:lnTo>
                  <a:lnTo>
                    <a:pt x="1008" y="1034"/>
                  </a:lnTo>
                  <a:lnTo>
                    <a:pt x="1010" y="1034"/>
                  </a:lnTo>
                  <a:lnTo>
                    <a:pt x="1012" y="1034"/>
                  </a:lnTo>
                  <a:lnTo>
                    <a:pt x="1016" y="1036"/>
                  </a:lnTo>
                  <a:lnTo>
                    <a:pt x="1018" y="1036"/>
                  </a:lnTo>
                  <a:lnTo>
                    <a:pt x="1020" y="1036"/>
                  </a:lnTo>
                  <a:lnTo>
                    <a:pt x="1024" y="1036"/>
                  </a:lnTo>
                  <a:lnTo>
                    <a:pt x="1028" y="1036"/>
                  </a:lnTo>
                  <a:lnTo>
                    <a:pt x="1036" y="1036"/>
                  </a:lnTo>
                  <a:lnTo>
                    <a:pt x="1040" y="1036"/>
                  </a:lnTo>
                  <a:lnTo>
                    <a:pt x="1044" y="1036"/>
                  </a:lnTo>
                  <a:lnTo>
                    <a:pt x="1048" y="1034"/>
                  </a:lnTo>
                  <a:lnTo>
                    <a:pt x="1048" y="1034"/>
                  </a:lnTo>
                  <a:lnTo>
                    <a:pt x="1050" y="1034"/>
                  </a:lnTo>
                  <a:lnTo>
                    <a:pt x="1052" y="1034"/>
                  </a:lnTo>
                  <a:lnTo>
                    <a:pt x="1052" y="1034"/>
                  </a:lnTo>
                  <a:lnTo>
                    <a:pt x="1052" y="1034"/>
                  </a:lnTo>
                  <a:lnTo>
                    <a:pt x="1054" y="1032"/>
                  </a:lnTo>
                  <a:lnTo>
                    <a:pt x="1054" y="1032"/>
                  </a:lnTo>
                  <a:lnTo>
                    <a:pt x="1056" y="1030"/>
                  </a:lnTo>
                  <a:lnTo>
                    <a:pt x="1056" y="1028"/>
                  </a:lnTo>
                  <a:lnTo>
                    <a:pt x="1056" y="1028"/>
                  </a:lnTo>
                  <a:lnTo>
                    <a:pt x="1056" y="1028"/>
                  </a:lnTo>
                  <a:lnTo>
                    <a:pt x="1056" y="1026"/>
                  </a:lnTo>
                  <a:lnTo>
                    <a:pt x="1056" y="1026"/>
                  </a:lnTo>
                  <a:lnTo>
                    <a:pt x="1056" y="1026"/>
                  </a:lnTo>
                  <a:lnTo>
                    <a:pt x="1056" y="1022"/>
                  </a:lnTo>
                  <a:lnTo>
                    <a:pt x="1058" y="1020"/>
                  </a:lnTo>
                  <a:lnTo>
                    <a:pt x="1058" y="1020"/>
                  </a:lnTo>
                  <a:lnTo>
                    <a:pt x="1058" y="1020"/>
                  </a:lnTo>
                  <a:lnTo>
                    <a:pt x="1060" y="1020"/>
                  </a:lnTo>
                  <a:lnTo>
                    <a:pt x="1062" y="1022"/>
                  </a:lnTo>
                  <a:lnTo>
                    <a:pt x="1066" y="1024"/>
                  </a:lnTo>
                  <a:lnTo>
                    <a:pt x="1068" y="1026"/>
                  </a:lnTo>
                  <a:lnTo>
                    <a:pt x="1072" y="1028"/>
                  </a:lnTo>
                  <a:lnTo>
                    <a:pt x="1080" y="1034"/>
                  </a:lnTo>
                  <a:lnTo>
                    <a:pt x="1084" y="1036"/>
                  </a:lnTo>
                  <a:lnTo>
                    <a:pt x="1088" y="1040"/>
                  </a:lnTo>
                  <a:lnTo>
                    <a:pt x="1094" y="1046"/>
                  </a:lnTo>
                  <a:lnTo>
                    <a:pt x="1100" y="1050"/>
                  </a:lnTo>
                  <a:lnTo>
                    <a:pt x="1106" y="1056"/>
                  </a:lnTo>
                  <a:lnTo>
                    <a:pt x="1112" y="1060"/>
                  </a:lnTo>
                  <a:lnTo>
                    <a:pt x="1116" y="1064"/>
                  </a:lnTo>
                  <a:lnTo>
                    <a:pt x="1122" y="1066"/>
                  </a:lnTo>
                  <a:lnTo>
                    <a:pt x="1122" y="1066"/>
                  </a:lnTo>
                  <a:lnTo>
                    <a:pt x="1122" y="1066"/>
                  </a:lnTo>
                  <a:lnTo>
                    <a:pt x="1124" y="1068"/>
                  </a:lnTo>
                  <a:lnTo>
                    <a:pt x="1124" y="1068"/>
                  </a:lnTo>
                  <a:lnTo>
                    <a:pt x="1124" y="1068"/>
                  </a:lnTo>
                  <a:lnTo>
                    <a:pt x="1126" y="1068"/>
                  </a:lnTo>
                  <a:lnTo>
                    <a:pt x="1126" y="1068"/>
                  </a:lnTo>
                  <a:lnTo>
                    <a:pt x="1126" y="1068"/>
                  </a:lnTo>
                  <a:lnTo>
                    <a:pt x="1130" y="1068"/>
                  </a:lnTo>
                  <a:lnTo>
                    <a:pt x="1130" y="1068"/>
                  </a:lnTo>
                  <a:lnTo>
                    <a:pt x="1130" y="1068"/>
                  </a:lnTo>
                  <a:lnTo>
                    <a:pt x="1132" y="1066"/>
                  </a:lnTo>
                  <a:lnTo>
                    <a:pt x="1132" y="1066"/>
                  </a:lnTo>
                  <a:lnTo>
                    <a:pt x="1134" y="1066"/>
                  </a:lnTo>
                  <a:lnTo>
                    <a:pt x="1136" y="1064"/>
                  </a:lnTo>
                  <a:lnTo>
                    <a:pt x="1138" y="1062"/>
                  </a:lnTo>
                  <a:lnTo>
                    <a:pt x="1140" y="1062"/>
                  </a:lnTo>
                  <a:lnTo>
                    <a:pt x="1140" y="1060"/>
                  </a:lnTo>
                  <a:lnTo>
                    <a:pt x="1142" y="1060"/>
                  </a:lnTo>
                  <a:lnTo>
                    <a:pt x="1146" y="1062"/>
                  </a:lnTo>
                  <a:lnTo>
                    <a:pt x="1148" y="1064"/>
                  </a:lnTo>
                  <a:lnTo>
                    <a:pt x="1152" y="1066"/>
                  </a:lnTo>
                  <a:lnTo>
                    <a:pt x="1156" y="1068"/>
                  </a:lnTo>
                  <a:lnTo>
                    <a:pt x="1160" y="1070"/>
                  </a:lnTo>
                  <a:lnTo>
                    <a:pt x="1164" y="1072"/>
                  </a:lnTo>
                  <a:lnTo>
                    <a:pt x="1166" y="1076"/>
                  </a:lnTo>
                  <a:lnTo>
                    <a:pt x="1168" y="1078"/>
                  </a:lnTo>
                  <a:lnTo>
                    <a:pt x="1170" y="1080"/>
                  </a:lnTo>
                  <a:lnTo>
                    <a:pt x="1172" y="1082"/>
                  </a:lnTo>
                  <a:lnTo>
                    <a:pt x="1172" y="1082"/>
                  </a:lnTo>
                  <a:lnTo>
                    <a:pt x="1172" y="1086"/>
                  </a:lnTo>
                  <a:lnTo>
                    <a:pt x="1172" y="1090"/>
                  </a:lnTo>
                  <a:lnTo>
                    <a:pt x="1172" y="1096"/>
                  </a:lnTo>
                  <a:lnTo>
                    <a:pt x="1174" y="1100"/>
                  </a:lnTo>
                  <a:lnTo>
                    <a:pt x="1174" y="1100"/>
                  </a:lnTo>
                  <a:lnTo>
                    <a:pt x="1174" y="1100"/>
                  </a:lnTo>
                  <a:lnTo>
                    <a:pt x="1174" y="1102"/>
                  </a:lnTo>
                  <a:lnTo>
                    <a:pt x="1174" y="1102"/>
                  </a:lnTo>
                  <a:lnTo>
                    <a:pt x="1174" y="1104"/>
                  </a:lnTo>
                  <a:lnTo>
                    <a:pt x="1176" y="1108"/>
                  </a:lnTo>
                  <a:lnTo>
                    <a:pt x="1176" y="1108"/>
                  </a:lnTo>
                  <a:lnTo>
                    <a:pt x="1178" y="1108"/>
                  </a:lnTo>
                  <a:lnTo>
                    <a:pt x="1180" y="1112"/>
                  </a:lnTo>
                  <a:lnTo>
                    <a:pt x="1180" y="1112"/>
                  </a:lnTo>
                  <a:lnTo>
                    <a:pt x="1180" y="1114"/>
                  </a:lnTo>
                  <a:lnTo>
                    <a:pt x="1184" y="1116"/>
                  </a:lnTo>
                  <a:lnTo>
                    <a:pt x="1184" y="1116"/>
                  </a:lnTo>
                  <a:lnTo>
                    <a:pt x="1186" y="1118"/>
                  </a:lnTo>
                  <a:lnTo>
                    <a:pt x="1188" y="1118"/>
                  </a:lnTo>
                  <a:lnTo>
                    <a:pt x="1190" y="1120"/>
                  </a:lnTo>
                  <a:lnTo>
                    <a:pt x="1190" y="1120"/>
                  </a:lnTo>
                  <a:lnTo>
                    <a:pt x="1190" y="1120"/>
                  </a:lnTo>
                  <a:lnTo>
                    <a:pt x="1192" y="1120"/>
                  </a:lnTo>
                  <a:lnTo>
                    <a:pt x="1196" y="1120"/>
                  </a:lnTo>
                  <a:lnTo>
                    <a:pt x="1204" y="1120"/>
                  </a:lnTo>
                  <a:lnTo>
                    <a:pt x="1206" y="1120"/>
                  </a:lnTo>
                  <a:lnTo>
                    <a:pt x="1210" y="1118"/>
                  </a:lnTo>
                  <a:lnTo>
                    <a:pt x="1214" y="1118"/>
                  </a:lnTo>
                  <a:lnTo>
                    <a:pt x="1214" y="1118"/>
                  </a:lnTo>
                  <a:lnTo>
                    <a:pt x="1214" y="1118"/>
                  </a:lnTo>
                  <a:lnTo>
                    <a:pt x="1216" y="1116"/>
                  </a:lnTo>
                  <a:lnTo>
                    <a:pt x="1216" y="1116"/>
                  </a:lnTo>
                  <a:lnTo>
                    <a:pt x="1216" y="1116"/>
                  </a:lnTo>
                  <a:lnTo>
                    <a:pt x="1218" y="1114"/>
                  </a:lnTo>
                  <a:lnTo>
                    <a:pt x="1218" y="1114"/>
                  </a:lnTo>
                  <a:lnTo>
                    <a:pt x="1218" y="1112"/>
                  </a:lnTo>
                  <a:lnTo>
                    <a:pt x="1218" y="1112"/>
                  </a:lnTo>
                  <a:lnTo>
                    <a:pt x="1218" y="1112"/>
                  </a:lnTo>
                  <a:lnTo>
                    <a:pt x="1218" y="1110"/>
                  </a:lnTo>
                  <a:lnTo>
                    <a:pt x="1218" y="1108"/>
                  </a:lnTo>
                  <a:lnTo>
                    <a:pt x="1218" y="1106"/>
                  </a:lnTo>
                  <a:lnTo>
                    <a:pt x="1218" y="1104"/>
                  </a:lnTo>
                  <a:lnTo>
                    <a:pt x="1216" y="1102"/>
                  </a:lnTo>
                  <a:lnTo>
                    <a:pt x="1216" y="1100"/>
                  </a:lnTo>
                  <a:lnTo>
                    <a:pt x="1218" y="1098"/>
                  </a:lnTo>
                  <a:lnTo>
                    <a:pt x="1218" y="1096"/>
                  </a:lnTo>
                  <a:lnTo>
                    <a:pt x="1220" y="1094"/>
                  </a:lnTo>
                  <a:lnTo>
                    <a:pt x="1224" y="1088"/>
                  </a:lnTo>
                  <a:lnTo>
                    <a:pt x="1228" y="1082"/>
                  </a:lnTo>
                  <a:lnTo>
                    <a:pt x="1232" y="1080"/>
                  </a:lnTo>
                  <a:lnTo>
                    <a:pt x="1234" y="1078"/>
                  </a:lnTo>
                  <a:lnTo>
                    <a:pt x="1238" y="1076"/>
                  </a:lnTo>
                  <a:lnTo>
                    <a:pt x="1242" y="1074"/>
                  </a:lnTo>
                  <a:lnTo>
                    <a:pt x="1246" y="1072"/>
                  </a:lnTo>
                  <a:lnTo>
                    <a:pt x="1252" y="1068"/>
                  </a:lnTo>
                  <a:lnTo>
                    <a:pt x="1256" y="1066"/>
                  </a:lnTo>
                  <a:lnTo>
                    <a:pt x="1262" y="1066"/>
                  </a:lnTo>
                  <a:lnTo>
                    <a:pt x="1266" y="1064"/>
                  </a:lnTo>
                  <a:lnTo>
                    <a:pt x="1272" y="1062"/>
                  </a:lnTo>
                  <a:lnTo>
                    <a:pt x="1276" y="1062"/>
                  </a:lnTo>
                  <a:lnTo>
                    <a:pt x="1282" y="1062"/>
                  </a:lnTo>
                  <a:lnTo>
                    <a:pt x="1286" y="1064"/>
                  </a:lnTo>
                  <a:lnTo>
                    <a:pt x="1292" y="1064"/>
                  </a:lnTo>
                  <a:lnTo>
                    <a:pt x="1298" y="1066"/>
                  </a:lnTo>
                  <a:lnTo>
                    <a:pt x="1302" y="1066"/>
                  </a:lnTo>
                  <a:lnTo>
                    <a:pt x="1308" y="1068"/>
                  </a:lnTo>
                  <a:lnTo>
                    <a:pt x="1312" y="1068"/>
                  </a:lnTo>
                  <a:lnTo>
                    <a:pt x="1316" y="1070"/>
                  </a:lnTo>
                  <a:lnTo>
                    <a:pt x="1320" y="1070"/>
                  </a:lnTo>
                  <a:lnTo>
                    <a:pt x="1322" y="1072"/>
                  </a:lnTo>
                  <a:lnTo>
                    <a:pt x="1324" y="1072"/>
                  </a:lnTo>
                  <a:lnTo>
                    <a:pt x="1328" y="1072"/>
                  </a:lnTo>
                  <a:lnTo>
                    <a:pt x="1330" y="1074"/>
                  </a:lnTo>
                  <a:lnTo>
                    <a:pt x="1332" y="1074"/>
                  </a:lnTo>
                  <a:lnTo>
                    <a:pt x="1332" y="1074"/>
                  </a:lnTo>
                  <a:lnTo>
                    <a:pt x="1334" y="1074"/>
                  </a:lnTo>
                  <a:lnTo>
                    <a:pt x="1336" y="1072"/>
                  </a:lnTo>
                  <a:lnTo>
                    <a:pt x="1336" y="1072"/>
                  </a:lnTo>
                  <a:lnTo>
                    <a:pt x="1336" y="1072"/>
                  </a:lnTo>
                  <a:lnTo>
                    <a:pt x="1338" y="1072"/>
                  </a:lnTo>
                  <a:lnTo>
                    <a:pt x="1338" y="1072"/>
                  </a:lnTo>
                  <a:lnTo>
                    <a:pt x="1340" y="1070"/>
                  </a:lnTo>
                  <a:lnTo>
                    <a:pt x="1340" y="1068"/>
                  </a:lnTo>
                  <a:lnTo>
                    <a:pt x="1340" y="1068"/>
                  </a:lnTo>
                  <a:lnTo>
                    <a:pt x="1342" y="1068"/>
                  </a:lnTo>
                  <a:lnTo>
                    <a:pt x="1342" y="1066"/>
                  </a:lnTo>
                  <a:lnTo>
                    <a:pt x="1344" y="1064"/>
                  </a:lnTo>
                  <a:lnTo>
                    <a:pt x="1346" y="1060"/>
                  </a:lnTo>
                  <a:lnTo>
                    <a:pt x="1348" y="1058"/>
                  </a:lnTo>
                  <a:lnTo>
                    <a:pt x="1348" y="1056"/>
                  </a:lnTo>
                  <a:lnTo>
                    <a:pt x="1350" y="1056"/>
                  </a:lnTo>
                  <a:lnTo>
                    <a:pt x="1352" y="1054"/>
                  </a:lnTo>
                  <a:lnTo>
                    <a:pt x="1356" y="1054"/>
                  </a:lnTo>
                  <a:lnTo>
                    <a:pt x="1360" y="1054"/>
                  </a:lnTo>
                  <a:lnTo>
                    <a:pt x="1364" y="1054"/>
                  </a:lnTo>
                  <a:lnTo>
                    <a:pt x="1368" y="1054"/>
                  </a:lnTo>
                  <a:lnTo>
                    <a:pt x="1372" y="1054"/>
                  </a:lnTo>
                  <a:lnTo>
                    <a:pt x="1376" y="1054"/>
                  </a:lnTo>
                  <a:lnTo>
                    <a:pt x="1378" y="1054"/>
                  </a:lnTo>
                  <a:lnTo>
                    <a:pt x="1380" y="1054"/>
                  </a:lnTo>
                  <a:lnTo>
                    <a:pt x="1382" y="1054"/>
                  </a:lnTo>
                  <a:lnTo>
                    <a:pt x="1382" y="1056"/>
                  </a:lnTo>
                  <a:lnTo>
                    <a:pt x="1384" y="1056"/>
                  </a:lnTo>
                  <a:lnTo>
                    <a:pt x="1384" y="1058"/>
                  </a:lnTo>
                  <a:lnTo>
                    <a:pt x="1384" y="1058"/>
                  </a:lnTo>
                  <a:lnTo>
                    <a:pt x="1386" y="1058"/>
                  </a:lnTo>
                  <a:lnTo>
                    <a:pt x="1386" y="1058"/>
                  </a:lnTo>
                  <a:lnTo>
                    <a:pt x="1386" y="1058"/>
                  </a:lnTo>
                  <a:lnTo>
                    <a:pt x="1388" y="1058"/>
                  </a:lnTo>
                  <a:lnTo>
                    <a:pt x="1388" y="1058"/>
                  </a:lnTo>
                  <a:lnTo>
                    <a:pt x="1392" y="1060"/>
                  </a:lnTo>
                  <a:lnTo>
                    <a:pt x="1394" y="1060"/>
                  </a:lnTo>
                  <a:lnTo>
                    <a:pt x="1398" y="1060"/>
                  </a:lnTo>
                  <a:lnTo>
                    <a:pt x="1398" y="1060"/>
                  </a:lnTo>
                  <a:lnTo>
                    <a:pt x="1398" y="1060"/>
                  </a:lnTo>
                  <a:lnTo>
                    <a:pt x="1402" y="1060"/>
                  </a:lnTo>
                  <a:lnTo>
                    <a:pt x="1402" y="1060"/>
                  </a:lnTo>
                  <a:lnTo>
                    <a:pt x="1402" y="1060"/>
                  </a:lnTo>
                  <a:lnTo>
                    <a:pt x="1404" y="1060"/>
                  </a:lnTo>
                  <a:lnTo>
                    <a:pt x="1404" y="1060"/>
                  </a:lnTo>
                  <a:lnTo>
                    <a:pt x="1404" y="1060"/>
                  </a:lnTo>
                  <a:lnTo>
                    <a:pt x="1406" y="1058"/>
                  </a:lnTo>
                  <a:lnTo>
                    <a:pt x="1408" y="1056"/>
                  </a:lnTo>
                  <a:lnTo>
                    <a:pt x="1410" y="1054"/>
                  </a:lnTo>
                  <a:lnTo>
                    <a:pt x="1410" y="1054"/>
                  </a:lnTo>
                  <a:lnTo>
                    <a:pt x="1410" y="1054"/>
                  </a:lnTo>
                  <a:lnTo>
                    <a:pt x="1412" y="1056"/>
                  </a:lnTo>
                  <a:lnTo>
                    <a:pt x="1412" y="1056"/>
                  </a:lnTo>
                  <a:lnTo>
                    <a:pt x="1414" y="1058"/>
                  </a:lnTo>
                  <a:lnTo>
                    <a:pt x="1416" y="1060"/>
                  </a:lnTo>
                  <a:lnTo>
                    <a:pt x="1420" y="1064"/>
                  </a:lnTo>
                  <a:lnTo>
                    <a:pt x="1424" y="1070"/>
                  </a:lnTo>
                  <a:lnTo>
                    <a:pt x="1428" y="1076"/>
                  </a:lnTo>
                  <a:lnTo>
                    <a:pt x="1432" y="1080"/>
                  </a:lnTo>
                  <a:lnTo>
                    <a:pt x="1434" y="1086"/>
                  </a:lnTo>
                  <a:lnTo>
                    <a:pt x="1436" y="1088"/>
                  </a:lnTo>
                  <a:lnTo>
                    <a:pt x="1438" y="1092"/>
                  </a:lnTo>
                  <a:lnTo>
                    <a:pt x="1438" y="1094"/>
                  </a:lnTo>
                  <a:lnTo>
                    <a:pt x="1438" y="1098"/>
                  </a:lnTo>
                  <a:lnTo>
                    <a:pt x="1436" y="1100"/>
                  </a:lnTo>
                  <a:lnTo>
                    <a:pt x="1436" y="1102"/>
                  </a:lnTo>
                  <a:lnTo>
                    <a:pt x="1436" y="1106"/>
                  </a:lnTo>
                  <a:lnTo>
                    <a:pt x="1436" y="1106"/>
                  </a:lnTo>
                  <a:lnTo>
                    <a:pt x="1436" y="1106"/>
                  </a:lnTo>
                  <a:lnTo>
                    <a:pt x="1436" y="1108"/>
                  </a:lnTo>
                  <a:lnTo>
                    <a:pt x="1436" y="1108"/>
                  </a:lnTo>
                  <a:lnTo>
                    <a:pt x="1436" y="1108"/>
                  </a:lnTo>
                  <a:lnTo>
                    <a:pt x="1436" y="1112"/>
                  </a:lnTo>
                  <a:lnTo>
                    <a:pt x="1436" y="1112"/>
                  </a:lnTo>
                  <a:lnTo>
                    <a:pt x="1436" y="1112"/>
                  </a:lnTo>
                  <a:lnTo>
                    <a:pt x="1438" y="1116"/>
                  </a:lnTo>
                  <a:lnTo>
                    <a:pt x="1440" y="1118"/>
                  </a:lnTo>
                  <a:lnTo>
                    <a:pt x="1444" y="1126"/>
                  </a:lnTo>
                  <a:lnTo>
                    <a:pt x="1448" y="1128"/>
                  </a:lnTo>
                  <a:lnTo>
                    <a:pt x="1450" y="1132"/>
                  </a:lnTo>
                  <a:lnTo>
                    <a:pt x="1452" y="1134"/>
                  </a:lnTo>
                  <a:lnTo>
                    <a:pt x="1456" y="1136"/>
                  </a:lnTo>
                  <a:lnTo>
                    <a:pt x="1456" y="1136"/>
                  </a:lnTo>
                  <a:lnTo>
                    <a:pt x="1456" y="1136"/>
                  </a:lnTo>
                  <a:lnTo>
                    <a:pt x="1460" y="1138"/>
                  </a:lnTo>
                  <a:lnTo>
                    <a:pt x="1460" y="1138"/>
                  </a:lnTo>
                  <a:lnTo>
                    <a:pt x="1462" y="1138"/>
                  </a:lnTo>
                  <a:lnTo>
                    <a:pt x="1464" y="1138"/>
                  </a:lnTo>
                  <a:lnTo>
                    <a:pt x="1466" y="1138"/>
                  </a:lnTo>
                  <a:lnTo>
                    <a:pt x="1466" y="1138"/>
                  </a:lnTo>
                  <a:lnTo>
                    <a:pt x="1468" y="1138"/>
                  </a:lnTo>
                  <a:lnTo>
                    <a:pt x="1470" y="1138"/>
                  </a:lnTo>
                  <a:lnTo>
                    <a:pt x="1470" y="1138"/>
                  </a:lnTo>
                  <a:lnTo>
                    <a:pt x="1470" y="1138"/>
                  </a:lnTo>
                  <a:lnTo>
                    <a:pt x="1472" y="1136"/>
                  </a:lnTo>
                  <a:lnTo>
                    <a:pt x="1472" y="1136"/>
                  </a:lnTo>
                  <a:lnTo>
                    <a:pt x="1472" y="1136"/>
                  </a:lnTo>
                  <a:lnTo>
                    <a:pt x="1474" y="1134"/>
                  </a:lnTo>
                  <a:lnTo>
                    <a:pt x="1474" y="1134"/>
                  </a:lnTo>
                  <a:lnTo>
                    <a:pt x="1474" y="1132"/>
                  </a:lnTo>
                  <a:lnTo>
                    <a:pt x="1476" y="1130"/>
                  </a:lnTo>
                  <a:lnTo>
                    <a:pt x="1476" y="1130"/>
                  </a:lnTo>
                  <a:lnTo>
                    <a:pt x="1476" y="1130"/>
                  </a:lnTo>
                  <a:lnTo>
                    <a:pt x="1476" y="1128"/>
                  </a:lnTo>
                  <a:lnTo>
                    <a:pt x="1476" y="1126"/>
                  </a:lnTo>
                  <a:lnTo>
                    <a:pt x="1478" y="1120"/>
                  </a:lnTo>
                  <a:lnTo>
                    <a:pt x="1478" y="1114"/>
                  </a:lnTo>
                  <a:lnTo>
                    <a:pt x="1478" y="1106"/>
                  </a:lnTo>
                  <a:lnTo>
                    <a:pt x="1476" y="1100"/>
                  </a:lnTo>
                  <a:lnTo>
                    <a:pt x="1476" y="1094"/>
                  </a:lnTo>
                  <a:lnTo>
                    <a:pt x="1476" y="1086"/>
                  </a:lnTo>
                  <a:lnTo>
                    <a:pt x="1474" y="1082"/>
                  </a:lnTo>
                  <a:lnTo>
                    <a:pt x="1474" y="1082"/>
                  </a:lnTo>
                  <a:lnTo>
                    <a:pt x="1474" y="1080"/>
                  </a:lnTo>
                  <a:lnTo>
                    <a:pt x="1472" y="1076"/>
                  </a:lnTo>
                  <a:lnTo>
                    <a:pt x="1470" y="1072"/>
                  </a:lnTo>
                  <a:lnTo>
                    <a:pt x="1466" y="1066"/>
                  </a:lnTo>
                  <a:lnTo>
                    <a:pt x="1462" y="1064"/>
                  </a:lnTo>
                  <a:lnTo>
                    <a:pt x="1460" y="1060"/>
                  </a:lnTo>
                  <a:lnTo>
                    <a:pt x="1458" y="1056"/>
                  </a:lnTo>
                  <a:lnTo>
                    <a:pt x="1456" y="1052"/>
                  </a:lnTo>
                  <a:lnTo>
                    <a:pt x="1454" y="1050"/>
                  </a:lnTo>
                  <a:lnTo>
                    <a:pt x="1452" y="1046"/>
                  </a:lnTo>
                  <a:lnTo>
                    <a:pt x="1452" y="1044"/>
                  </a:lnTo>
                  <a:lnTo>
                    <a:pt x="1452" y="1040"/>
                  </a:lnTo>
                  <a:lnTo>
                    <a:pt x="1452" y="1038"/>
                  </a:lnTo>
                  <a:lnTo>
                    <a:pt x="1452" y="1036"/>
                  </a:lnTo>
                  <a:lnTo>
                    <a:pt x="1452" y="1034"/>
                  </a:lnTo>
                  <a:lnTo>
                    <a:pt x="1454" y="1030"/>
                  </a:lnTo>
                  <a:lnTo>
                    <a:pt x="1458" y="1026"/>
                  </a:lnTo>
                  <a:lnTo>
                    <a:pt x="1460" y="1024"/>
                  </a:lnTo>
                  <a:lnTo>
                    <a:pt x="1462" y="1022"/>
                  </a:lnTo>
                  <a:lnTo>
                    <a:pt x="1464" y="1020"/>
                  </a:lnTo>
                  <a:lnTo>
                    <a:pt x="1468" y="1018"/>
                  </a:lnTo>
                  <a:lnTo>
                    <a:pt x="1474" y="1014"/>
                  </a:lnTo>
                  <a:lnTo>
                    <a:pt x="1482" y="1008"/>
                  </a:lnTo>
                  <a:lnTo>
                    <a:pt x="1490" y="1002"/>
                  </a:lnTo>
                  <a:lnTo>
                    <a:pt x="1498" y="998"/>
                  </a:lnTo>
                  <a:lnTo>
                    <a:pt x="1504" y="992"/>
                  </a:lnTo>
                  <a:lnTo>
                    <a:pt x="1508" y="990"/>
                  </a:lnTo>
                  <a:lnTo>
                    <a:pt x="1510" y="988"/>
                  </a:lnTo>
                  <a:lnTo>
                    <a:pt x="1516" y="984"/>
                  </a:lnTo>
                  <a:lnTo>
                    <a:pt x="1520" y="982"/>
                  </a:lnTo>
                  <a:lnTo>
                    <a:pt x="1526" y="978"/>
                  </a:lnTo>
                  <a:lnTo>
                    <a:pt x="1530" y="976"/>
                  </a:lnTo>
                  <a:lnTo>
                    <a:pt x="1534" y="972"/>
                  </a:lnTo>
                  <a:lnTo>
                    <a:pt x="1538" y="968"/>
                  </a:lnTo>
                  <a:lnTo>
                    <a:pt x="1540" y="964"/>
                  </a:lnTo>
                  <a:lnTo>
                    <a:pt x="1540" y="964"/>
                  </a:lnTo>
                  <a:lnTo>
                    <a:pt x="1542" y="964"/>
                  </a:lnTo>
                  <a:lnTo>
                    <a:pt x="1544" y="960"/>
                  </a:lnTo>
                  <a:lnTo>
                    <a:pt x="1544" y="960"/>
                  </a:lnTo>
                  <a:lnTo>
                    <a:pt x="1544" y="958"/>
                  </a:lnTo>
                  <a:lnTo>
                    <a:pt x="1546" y="954"/>
                  </a:lnTo>
                  <a:lnTo>
                    <a:pt x="1546" y="954"/>
                  </a:lnTo>
                  <a:lnTo>
                    <a:pt x="1546" y="954"/>
                  </a:lnTo>
                  <a:lnTo>
                    <a:pt x="1546" y="948"/>
                  </a:lnTo>
                  <a:lnTo>
                    <a:pt x="1546" y="942"/>
                  </a:lnTo>
                  <a:lnTo>
                    <a:pt x="1546" y="936"/>
                  </a:lnTo>
                  <a:lnTo>
                    <a:pt x="1546" y="928"/>
                  </a:lnTo>
                  <a:lnTo>
                    <a:pt x="1544" y="922"/>
                  </a:lnTo>
                  <a:lnTo>
                    <a:pt x="1544" y="916"/>
                  </a:lnTo>
                  <a:lnTo>
                    <a:pt x="1544" y="918"/>
                  </a:lnTo>
                  <a:lnTo>
                    <a:pt x="1546" y="912"/>
                  </a:lnTo>
                  <a:lnTo>
                    <a:pt x="1548" y="906"/>
                  </a:lnTo>
                  <a:lnTo>
                    <a:pt x="1550" y="902"/>
                  </a:lnTo>
                  <a:lnTo>
                    <a:pt x="1552" y="896"/>
                  </a:lnTo>
                  <a:lnTo>
                    <a:pt x="1556" y="892"/>
                  </a:lnTo>
                  <a:lnTo>
                    <a:pt x="1560" y="888"/>
                  </a:lnTo>
                  <a:lnTo>
                    <a:pt x="1562" y="884"/>
                  </a:lnTo>
                  <a:lnTo>
                    <a:pt x="1566" y="880"/>
                  </a:lnTo>
                  <a:lnTo>
                    <a:pt x="1570" y="876"/>
                  </a:lnTo>
                  <a:lnTo>
                    <a:pt x="1572" y="874"/>
                  </a:lnTo>
                  <a:lnTo>
                    <a:pt x="1574" y="872"/>
                  </a:lnTo>
                  <a:lnTo>
                    <a:pt x="1578" y="872"/>
                  </a:lnTo>
                  <a:lnTo>
                    <a:pt x="1580" y="870"/>
                  </a:lnTo>
                  <a:lnTo>
                    <a:pt x="1586" y="870"/>
                  </a:lnTo>
                  <a:lnTo>
                    <a:pt x="1590" y="868"/>
                  </a:lnTo>
                  <a:lnTo>
                    <a:pt x="1594" y="866"/>
                  </a:lnTo>
                  <a:lnTo>
                    <a:pt x="1598" y="866"/>
                  </a:lnTo>
                  <a:lnTo>
                    <a:pt x="1604" y="864"/>
                  </a:lnTo>
                  <a:lnTo>
                    <a:pt x="1608" y="862"/>
                  </a:lnTo>
                  <a:lnTo>
                    <a:pt x="1614" y="862"/>
                  </a:lnTo>
                  <a:lnTo>
                    <a:pt x="1620" y="860"/>
                  </a:lnTo>
                  <a:lnTo>
                    <a:pt x="1624" y="858"/>
                  </a:lnTo>
                  <a:lnTo>
                    <a:pt x="1628" y="856"/>
                  </a:lnTo>
                  <a:lnTo>
                    <a:pt x="1628" y="856"/>
                  </a:lnTo>
                  <a:lnTo>
                    <a:pt x="1628" y="856"/>
                  </a:lnTo>
                  <a:lnTo>
                    <a:pt x="1630" y="856"/>
                  </a:lnTo>
                  <a:lnTo>
                    <a:pt x="1630" y="856"/>
                  </a:lnTo>
                  <a:lnTo>
                    <a:pt x="1630" y="856"/>
                  </a:lnTo>
                  <a:lnTo>
                    <a:pt x="1632" y="854"/>
                  </a:lnTo>
                  <a:lnTo>
                    <a:pt x="1632" y="854"/>
                  </a:lnTo>
                  <a:lnTo>
                    <a:pt x="1632" y="854"/>
                  </a:lnTo>
                  <a:lnTo>
                    <a:pt x="1632" y="852"/>
                  </a:lnTo>
                  <a:lnTo>
                    <a:pt x="1632" y="852"/>
                  </a:lnTo>
                  <a:lnTo>
                    <a:pt x="1632" y="852"/>
                  </a:lnTo>
                  <a:lnTo>
                    <a:pt x="1632" y="852"/>
                  </a:lnTo>
                  <a:lnTo>
                    <a:pt x="1632" y="852"/>
                  </a:lnTo>
                  <a:lnTo>
                    <a:pt x="1632" y="850"/>
                  </a:lnTo>
                  <a:lnTo>
                    <a:pt x="1632" y="848"/>
                  </a:lnTo>
                  <a:lnTo>
                    <a:pt x="1632" y="848"/>
                  </a:lnTo>
                  <a:lnTo>
                    <a:pt x="1632" y="846"/>
                  </a:lnTo>
                  <a:lnTo>
                    <a:pt x="1630" y="844"/>
                  </a:lnTo>
                  <a:lnTo>
                    <a:pt x="1630" y="844"/>
                  </a:lnTo>
                  <a:lnTo>
                    <a:pt x="1630" y="844"/>
                  </a:lnTo>
                  <a:lnTo>
                    <a:pt x="1628" y="842"/>
                  </a:lnTo>
                  <a:lnTo>
                    <a:pt x="1626" y="840"/>
                  </a:lnTo>
                  <a:lnTo>
                    <a:pt x="1624" y="838"/>
                  </a:lnTo>
                  <a:lnTo>
                    <a:pt x="1622" y="836"/>
                  </a:lnTo>
                  <a:lnTo>
                    <a:pt x="1622" y="836"/>
                  </a:lnTo>
                  <a:lnTo>
                    <a:pt x="1622" y="834"/>
                  </a:lnTo>
                  <a:lnTo>
                    <a:pt x="1622" y="830"/>
                  </a:lnTo>
                  <a:lnTo>
                    <a:pt x="1622" y="824"/>
                  </a:lnTo>
                  <a:lnTo>
                    <a:pt x="1622" y="822"/>
                  </a:lnTo>
                  <a:lnTo>
                    <a:pt x="1622" y="820"/>
                  </a:lnTo>
                  <a:lnTo>
                    <a:pt x="1624" y="816"/>
                  </a:lnTo>
                  <a:lnTo>
                    <a:pt x="1624" y="816"/>
                  </a:lnTo>
                  <a:lnTo>
                    <a:pt x="1624" y="816"/>
                  </a:lnTo>
                  <a:lnTo>
                    <a:pt x="1624" y="814"/>
                  </a:lnTo>
                  <a:lnTo>
                    <a:pt x="1626" y="814"/>
                  </a:lnTo>
                  <a:lnTo>
                    <a:pt x="1630" y="814"/>
                  </a:lnTo>
                  <a:lnTo>
                    <a:pt x="1630" y="814"/>
                  </a:lnTo>
                  <a:lnTo>
                    <a:pt x="1630" y="814"/>
                  </a:lnTo>
                  <a:lnTo>
                    <a:pt x="1632" y="812"/>
                  </a:lnTo>
                  <a:lnTo>
                    <a:pt x="1632" y="812"/>
                  </a:lnTo>
                  <a:lnTo>
                    <a:pt x="1632" y="812"/>
                  </a:lnTo>
                  <a:lnTo>
                    <a:pt x="1632" y="812"/>
                  </a:lnTo>
                  <a:lnTo>
                    <a:pt x="1632" y="812"/>
                  </a:lnTo>
                  <a:lnTo>
                    <a:pt x="1634" y="810"/>
                  </a:lnTo>
                  <a:lnTo>
                    <a:pt x="1634" y="810"/>
                  </a:lnTo>
                  <a:lnTo>
                    <a:pt x="1634" y="810"/>
                  </a:lnTo>
                  <a:lnTo>
                    <a:pt x="1634" y="808"/>
                  </a:lnTo>
                  <a:lnTo>
                    <a:pt x="1636" y="808"/>
                  </a:lnTo>
                  <a:lnTo>
                    <a:pt x="1636" y="802"/>
                  </a:lnTo>
                  <a:lnTo>
                    <a:pt x="1638" y="798"/>
                  </a:lnTo>
                  <a:lnTo>
                    <a:pt x="1638" y="798"/>
                  </a:lnTo>
                  <a:lnTo>
                    <a:pt x="1640" y="796"/>
                  </a:lnTo>
                  <a:lnTo>
                    <a:pt x="1640" y="796"/>
                  </a:lnTo>
                  <a:lnTo>
                    <a:pt x="1640" y="796"/>
                  </a:lnTo>
                  <a:lnTo>
                    <a:pt x="1644" y="796"/>
                  </a:lnTo>
                  <a:lnTo>
                    <a:pt x="1648" y="796"/>
                  </a:lnTo>
                  <a:lnTo>
                    <a:pt x="1652" y="796"/>
                  </a:lnTo>
                  <a:lnTo>
                    <a:pt x="1652" y="796"/>
                  </a:lnTo>
                  <a:lnTo>
                    <a:pt x="1652" y="796"/>
                  </a:lnTo>
                  <a:lnTo>
                    <a:pt x="1654" y="796"/>
                  </a:lnTo>
                  <a:lnTo>
                    <a:pt x="1654" y="796"/>
                  </a:lnTo>
                  <a:lnTo>
                    <a:pt x="1654" y="796"/>
                  </a:lnTo>
                  <a:lnTo>
                    <a:pt x="1656" y="794"/>
                  </a:lnTo>
                  <a:lnTo>
                    <a:pt x="1660" y="794"/>
                  </a:lnTo>
                  <a:lnTo>
                    <a:pt x="1664" y="790"/>
                  </a:lnTo>
                  <a:lnTo>
                    <a:pt x="1666" y="788"/>
                  </a:lnTo>
                  <a:lnTo>
                    <a:pt x="1670" y="784"/>
                  </a:lnTo>
                  <a:lnTo>
                    <a:pt x="1670" y="782"/>
                  </a:lnTo>
                  <a:lnTo>
                    <a:pt x="1670" y="782"/>
                  </a:lnTo>
                  <a:lnTo>
                    <a:pt x="1672" y="782"/>
                  </a:lnTo>
                  <a:lnTo>
                    <a:pt x="1672" y="780"/>
                  </a:lnTo>
                  <a:lnTo>
                    <a:pt x="1672" y="780"/>
                  </a:lnTo>
                  <a:lnTo>
                    <a:pt x="1672" y="780"/>
                  </a:lnTo>
                  <a:lnTo>
                    <a:pt x="1672" y="778"/>
                  </a:lnTo>
                  <a:close/>
                  <a:moveTo>
                    <a:pt x="688" y="518"/>
                  </a:moveTo>
                  <a:lnTo>
                    <a:pt x="688" y="516"/>
                  </a:lnTo>
                  <a:lnTo>
                    <a:pt x="688" y="516"/>
                  </a:lnTo>
                  <a:lnTo>
                    <a:pt x="688" y="516"/>
                  </a:lnTo>
                  <a:lnTo>
                    <a:pt x="686" y="514"/>
                  </a:lnTo>
                  <a:lnTo>
                    <a:pt x="686" y="514"/>
                  </a:lnTo>
                  <a:lnTo>
                    <a:pt x="686" y="514"/>
                  </a:lnTo>
                  <a:lnTo>
                    <a:pt x="684" y="512"/>
                  </a:lnTo>
                  <a:lnTo>
                    <a:pt x="684" y="512"/>
                  </a:lnTo>
                  <a:lnTo>
                    <a:pt x="682" y="512"/>
                  </a:lnTo>
                  <a:lnTo>
                    <a:pt x="682" y="512"/>
                  </a:lnTo>
                  <a:lnTo>
                    <a:pt x="682" y="512"/>
                  </a:lnTo>
                  <a:lnTo>
                    <a:pt x="680" y="510"/>
                  </a:lnTo>
                  <a:lnTo>
                    <a:pt x="678" y="508"/>
                  </a:lnTo>
                  <a:lnTo>
                    <a:pt x="678" y="506"/>
                  </a:lnTo>
                  <a:lnTo>
                    <a:pt x="678" y="506"/>
                  </a:lnTo>
                  <a:lnTo>
                    <a:pt x="676" y="506"/>
                  </a:lnTo>
                  <a:lnTo>
                    <a:pt x="672" y="504"/>
                  </a:lnTo>
                  <a:lnTo>
                    <a:pt x="670" y="504"/>
                  </a:lnTo>
                  <a:lnTo>
                    <a:pt x="668" y="504"/>
                  </a:lnTo>
                  <a:lnTo>
                    <a:pt x="668" y="504"/>
                  </a:lnTo>
                  <a:lnTo>
                    <a:pt x="666" y="502"/>
                  </a:lnTo>
                  <a:lnTo>
                    <a:pt x="666" y="502"/>
                  </a:lnTo>
                  <a:lnTo>
                    <a:pt x="664" y="502"/>
                  </a:lnTo>
                  <a:lnTo>
                    <a:pt x="664" y="500"/>
                  </a:lnTo>
                  <a:lnTo>
                    <a:pt x="664" y="498"/>
                  </a:lnTo>
                  <a:lnTo>
                    <a:pt x="662" y="494"/>
                  </a:lnTo>
                  <a:lnTo>
                    <a:pt x="662" y="494"/>
                  </a:lnTo>
                  <a:lnTo>
                    <a:pt x="662" y="492"/>
                  </a:lnTo>
                  <a:lnTo>
                    <a:pt x="660" y="490"/>
                  </a:lnTo>
                  <a:lnTo>
                    <a:pt x="658" y="490"/>
                  </a:lnTo>
                  <a:lnTo>
                    <a:pt x="656" y="484"/>
                  </a:lnTo>
                  <a:lnTo>
                    <a:pt x="656" y="484"/>
                  </a:lnTo>
                  <a:lnTo>
                    <a:pt x="656" y="484"/>
                  </a:lnTo>
                  <a:lnTo>
                    <a:pt x="652" y="482"/>
                  </a:lnTo>
                  <a:lnTo>
                    <a:pt x="650" y="478"/>
                  </a:lnTo>
                  <a:lnTo>
                    <a:pt x="648" y="476"/>
                  </a:lnTo>
                  <a:lnTo>
                    <a:pt x="646" y="472"/>
                  </a:lnTo>
                  <a:lnTo>
                    <a:pt x="646" y="472"/>
                  </a:lnTo>
                  <a:lnTo>
                    <a:pt x="646" y="470"/>
                  </a:lnTo>
                  <a:lnTo>
                    <a:pt x="644" y="466"/>
                  </a:lnTo>
                  <a:lnTo>
                    <a:pt x="642" y="462"/>
                  </a:lnTo>
                  <a:lnTo>
                    <a:pt x="640" y="456"/>
                  </a:lnTo>
                  <a:lnTo>
                    <a:pt x="638" y="452"/>
                  </a:lnTo>
                  <a:lnTo>
                    <a:pt x="638" y="452"/>
                  </a:lnTo>
                  <a:lnTo>
                    <a:pt x="638" y="452"/>
                  </a:lnTo>
                  <a:lnTo>
                    <a:pt x="632" y="446"/>
                  </a:lnTo>
                  <a:lnTo>
                    <a:pt x="628" y="440"/>
                  </a:lnTo>
                  <a:lnTo>
                    <a:pt x="628" y="440"/>
                  </a:lnTo>
                  <a:lnTo>
                    <a:pt x="628" y="440"/>
                  </a:lnTo>
                  <a:lnTo>
                    <a:pt x="624" y="438"/>
                  </a:lnTo>
                  <a:lnTo>
                    <a:pt x="622" y="436"/>
                  </a:lnTo>
                  <a:lnTo>
                    <a:pt x="620" y="436"/>
                  </a:lnTo>
                  <a:lnTo>
                    <a:pt x="620" y="434"/>
                  </a:lnTo>
                  <a:lnTo>
                    <a:pt x="620" y="434"/>
                  </a:lnTo>
                  <a:lnTo>
                    <a:pt x="620" y="434"/>
                  </a:lnTo>
                  <a:lnTo>
                    <a:pt x="618" y="432"/>
                  </a:lnTo>
                  <a:lnTo>
                    <a:pt x="616" y="430"/>
                  </a:lnTo>
                  <a:lnTo>
                    <a:pt x="614" y="428"/>
                  </a:lnTo>
                  <a:lnTo>
                    <a:pt x="614" y="428"/>
                  </a:lnTo>
                  <a:lnTo>
                    <a:pt x="614" y="428"/>
                  </a:lnTo>
                  <a:lnTo>
                    <a:pt x="610" y="428"/>
                  </a:lnTo>
                  <a:lnTo>
                    <a:pt x="610" y="428"/>
                  </a:lnTo>
                  <a:lnTo>
                    <a:pt x="610" y="428"/>
                  </a:lnTo>
                  <a:lnTo>
                    <a:pt x="606" y="428"/>
                  </a:lnTo>
                  <a:lnTo>
                    <a:pt x="604" y="428"/>
                  </a:lnTo>
                  <a:lnTo>
                    <a:pt x="604" y="428"/>
                  </a:lnTo>
                  <a:lnTo>
                    <a:pt x="604" y="428"/>
                  </a:lnTo>
                  <a:lnTo>
                    <a:pt x="602" y="430"/>
                  </a:lnTo>
                  <a:lnTo>
                    <a:pt x="602" y="430"/>
                  </a:lnTo>
                  <a:lnTo>
                    <a:pt x="602" y="430"/>
                  </a:lnTo>
                  <a:lnTo>
                    <a:pt x="600" y="432"/>
                  </a:lnTo>
                  <a:lnTo>
                    <a:pt x="600" y="432"/>
                  </a:lnTo>
                  <a:lnTo>
                    <a:pt x="600" y="432"/>
                  </a:lnTo>
                  <a:lnTo>
                    <a:pt x="600" y="434"/>
                  </a:lnTo>
                  <a:lnTo>
                    <a:pt x="600" y="434"/>
                  </a:lnTo>
                  <a:lnTo>
                    <a:pt x="600" y="436"/>
                  </a:lnTo>
                  <a:lnTo>
                    <a:pt x="600" y="440"/>
                  </a:lnTo>
                  <a:lnTo>
                    <a:pt x="600" y="440"/>
                  </a:lnTo>
                  <a:lnTo>
                    <a:pt x="598" y="440"/>
                  </a:lnTo>
                  <a:lnTo>
                    <a:pt x="594" y="440"/>
                  </a:lnTo>
                  <a:lnTo>
                    <a:pt x="594" y="440"/>
                  </a:lnTo>
                  <a:lnTo>
                    <a:pt x="592" y="440"/>
                  </a:lnTo>
                  <a:lnTo>
                    <a:pt x="592" y="438"/>
                  </a:lnTo>
                  <a:lnTo>
                    <a:pt x="590" y="436"/>
                  </a:lnTo>
                  <a:lnTo>
                    <a:pt x="590" y="436"/>
                  </a:lnTo>
                  <a:lnTo>
                    <a:pt x="590" y="436"/>
                  </a:lnTo>
                  <a:lnTo>
                    <a:pt x="586" y="434"/>
                  </a:lnTo>
                  <a:lnTo>
                    <a:pt x="582" y="430"/>
                  </a:lnTo>
                  <a:lnTo>
                    <a:pt x="580" y="428"/>
                  </a:lnTo>
                  <a:lnTo>
                    <a:pt x="578" y="422"/>
                  </a:lnTo>
                  <a:lnTo>
                    <a:pt x="578" y="422"/>
                  </a:lnTo>
                  <a:lnTo>
                    <a:pt x="578" y="420"/>
                  </a:lnTo>
                  <a:lnTo>
                    <a:pt x="578" y="418"/>
                  </a:lnTo>
                  <a:lnTo>
                    <a:pt x="578" y="418"/>
                  </a:lnTo>
                  <a:lnTo>
                    <a:pt x="576" y="416"/>
                  </a:lnTo>
                  <a:lnTo>
                    <a:pt x="576" y="416"/>
                  </a:lnTo>
                  <a:lnTo>
                    <a:pt x="576" y="416"/>
                  </a:lnTo>
                  <a:lnTo>
                    <a:pt x="576" y="414"/>
                  </a:lnTo>
                  <a:lnTo>
                    <a:pt x="574" y="414"/>
                  </a:lnTo>
                  <a:lnTo>
                    <a:pt x="574" y="414"/>
                  </a:lnTo>
                  <a:lnTo>
                    <a:pt x="574" y="412"/>
                  </a:lnTo>
                  <a:lnTo>
                    <a:pt x="572" y="412"/>
                  </a:lnTo>
                  <a:lnTo>
                    <a:pt x="572" y="412"/>
                  </a:lnTo>
                  <a:lnTo>
                    <a:pt x="572" y="412"/>
                  </a:lnTo>
                  <a:lnTo>
                    <a:pt x="572" y="412"/>
                  </a:lnTo>
                  <a:lnTo>
                    <a:pt x="572" y="412"/>
                  </a:lnTo>
                  <a:lnTo>
                    <a:pt x="572" y="412"/>
                  </a:lnTo>
                  <a:lnTo>
                    <a:pt x="574" y="408"/>
                  </a:lnTo>
                  <a:lnTo>
                    <a:pt x="574" y="406"/>
                  </a:lnTo>
                  <a:lnTo>
                    <a:pt x="574" y="404"/>
                  </a:lnTo>
                  <a:lnTo>
                    <a:pt x="574" y="400"/>
                  </a:lnTo>
                  <a:lnTo>
                    <a:pt x="574" y="396"/>
                  </a:lnTo>
                  <a:lnTo>
                    <a:pt x="574" y="394"/>
                  </a:lnTo>
                  <a:lnTo>
                    <a:pt x="572" y="392"/>
                  </a:lnTo>
                  <a:lnTo>
                    <a:pt x="572" y="390"/>
                  </a:lnTo>
                  <a:lnTo>
                    <a:pt x="572" y="386"/>
                  </a:lnTo>
                  <a:lnTo>
                    <a:pt x="572" y="382"/>
                  </a:lnTo>
                  <a:lnTo>
                    <a:pt x="572" y="378"/>
                  </a:lnTo>
                  <a:lnTo>
                    <a:pt x="572" y="372"/>
                  </a:lnTo>
                  <a:lnTo>
                    <a:pt x="572" y="364"/>
                  </a:lnTo>
                  <a:lnTo>
                    <a:pt x="572" y="358"/>
                  </a:lnTo>
                  <a:lnTo>
                    <a:pt x="572" y="348"/>
                  </a:lnTo>
                  <a:lnTo>
                    <a:pt x="572" y="338"/>
                  </a:lnTo>
                  <a:lnTo>
                    <a:pt x="572" y="330"/>
                  </a:lnTo>
                  <a:lnTo>
                    <a:pt x="572" y="324"/>
                  </a:lnTo>
                  <a:lnTo>
                    <a:pt x="572" y="316"/>
                  </a:lnTo>
                  <a:lnTo>
                    <a:pt x="572" y="310"/>
                  </a:lnTo>
                  <a:lnTo>
                    <a:pt x="572" y="302"/>
                  </a:lnTo>
                  <a:lnTo>
                    <a:pt x="572" y="292"/>
                  </a:lnTo>
                  <a:lnTo>
                    <a:pt x="572" y="276"/>
                  </a:lnTo>
                  <a:lnTo>
                    <a:pt x="572" y="256"/>
                  </a:lnTo>
                  <a:lnTo>
                    <a:pt x="572" y="238"/>
                  </a:lnTo>
                  <a:lnTo>
                    <a:pt x="572" y="218"/>
                  </a:lnTo>
                  <a:lnTo>
                    <a:pt x="572" y="200"/>
                  </a:lnTo>
                  <a:lnTo>
                    <a:pt x="572" y="180"/>
                  </a:lnTo>
                  <a:lnTo>
                    <a:pt x="572" y="162"/>
                  </a:lnTo>
                  <a:lnTo>
                    <a:pt x="572" y="144"/>
                  </a:lnTo>
                  <a:lnTo>
                    <a:pt x="572" y="136"/>
                  </a:lnTo>
                  <a:lnTo>
                    <a:pt x="572" y="130"/>
                  </a:lnTo>
                  <a:lnTo>
                    <a:pt x="572" y="122"/>
                  </a:lnTo>
                  <a:lnTo>
                    <a:pt x="572" y="114"/>
                  </a:lnTo>
                  <a:lnTo>
                    <a:pt x="572" y="108"/>
                  </a:lnTo>
                  <a:lnTo>
                    <a:pt x="574" y="102"/>
                  </a:lnTo>
                  <a:lnTo>
                    <a:pt x="574" y="88"/>
                  </a:lnTo>
                  <a:lnTo>
                    <a:pt x="574" y="86"/>
                  </a:lnTo>
                  <a:lnTo>
                    <a:pt x="574" y="82"/>
                  </a:lnTo>
                  <a:lnTo>
                    <a:pt x="574" y="80"/>
                  </a:lnTo>
                  <a:lnTo>
                    <a:pt x="574" y="74"/>
                  </a:lnTo>
                  <a:lnTo>
                    <a:pt x="574" y="74"/>
                  </a:lnTo>
                  <a:lnTo>
                    <a:pt x="574" y="74"/>
                  </a:lnTo>
                  <a:lnTo>
                    <a:pt x="574" y="74"/>
                  </a:lnTo>
                  <a:lnTo>
                    <a:pt x="576" y="74"/>
                  </a:lnTo>
                  <a:lnTo>
                    <a:pt x="576" y="74"/>
                  </a:lnTo>
                  <a:lnTo>
                    <a:pt x="576" y="72"/>
                  </a:lnTo>
                  <a:lnTo>
                    <a:pt x="576" y="72"/>
                  </a:lnTo>
                  <a:lnTo>
                    <a:pt x="576" y="72"/>
                  </a:lnTo>
                  <a:lnTo>
                    <a:pt x="576" y="70"/>
                  </a:lnTo>
                  <a:lnTo>
                    <a:pt x="576" y="68"/>
                  </a:lnTo>
                  <a:lnTo>
                    <a:pt x="576" y="68"/>
                  </a:lnTo>
                  <a:lnTo>
                    <a:pt x="576" y="68"/>
                  </a:lnTo>
                  <a:lnTo>
                    <a:pt x="576" y="66"/>
                  </a:lnTo>
                  <a:lnTo>
                    <a:pt x="576" y="66"/>
                  </a:lnTo>
                  <a:lnTo>
                    <a:pt x="576" y="66"/>
                  </a:lnTo>
                  <a:lnTo>
                    <a:pt x="576" y="64"/>
                  </a:lnTo>
                  <a:lnTo>
                    <a:pt x="576" y="64"/>
                  </a:lnTo>
                  <a:lnTo>
                    <a:pt x="574" y="64"/>
                  </a:lnTo>
                  <a:lnTo>
                    <a:pt x="574" y="64"/>
                  </a:lnTo>
                  <a:lnTo>
                    <a:pt x="574" y="64"/>
                  </a:lnTo>
                  <a:lnTo>
                    <a:pt x="570" y="64"/>
                  </a:lnTo>
                  <a:lnTo>
                    <a:pt x="570" y="66"/>
                  </a:lnTo>
                  <a:lnTo>
                    <a:pt x="570" y="66"/>
                  </a:lnTo>
                  <a:lnTo>
                    <a:pt x="570" y="66"/>
                  </a:lnTo>
                  <a:lnTo>
                    <a:pt x="570" y="68"/>
                  </a:lnTo>
                  <a:lnTo>
                    <a:pt x="570" y="68"/>
                  </a:lnTo>
                  <a:lnTo>
                    <a:pt x="570" y="68"/>
                  </a:lnTo>
                  <a:lnTo>
                    <a:pt x="570" y="68"/>
                  </a:lnTo>
                  <a:lnTo>
                    <a:pt x="568" y="68"/>
                  </a:lnTo>
                  <a:lnTo>
                    <a:pt x="566" y="68"/>
                  </a:lnTo>
                  <a:lnTo>
                    <a:pt x="560" y="66"/>
                  </a:lnTo>
                  <a:lnTo>
                    <a:pt x="554" y="66"/>
                  </a:lnTo>
                  <a:lnTo>
                    <a:pt x="546" y="66"/>
                  </a:lnTo>
                  <a:lnTo>
                    <a:pt x="538" y="66"/>
                  </a:lnTo>
                  <a:lnTo>
                    <a:pt x="532" y="68"/>
                  </a:lnTo>
                  <a:lnTo>
                    <a:pt x="524" y="68"/>
                  </a:lnTo>
                  <a:lnTo>
                    <a:pt x="518" y="66"/>
                  </a:lnTo>
                  <a:lnTo>
                    <a:pt x="508" y="66"/>
                  </a:lnTo>
                  <a:lnTo>
                    <a:pt x="498" y="64"/>
                  </a:lnTo>
                  <a:lnTo>
                    <a:pt x="490" y="62"/>
                  </a:lnTo>
                  <a:lnTo>
                    <a:pt x="486" y="60"/>
                  </a:lnTo>
                  <a:lnTo>
                    <a:pt x="482" y="60"/>
                  </a:lnTo>
                  <a:lnTo>
                    <a:pt x="478" y="56"/>
                  </a:lnTo>
                  <a:lnTo>
                    <a:pt x="478" y="58"/>
                  </a:lnTo>
                  <a:lnTo>
                    <a:pt x="474" y="54"/>
                  </a:lnTo>
                  <a:lnTo>
                    <a:pt x="470" y="50"/>
                  </a:lnTo>
                  <a:lnTo>
                    <a:pt x="464" y="44"/>
                  </a:lnTo>
                  <a:lnTo>
                    <a:pt x="460" y="40"/>
                  </a:lnTo>
                  <a:lnTo>
                    <a:pt x="460" y="40"/>
                  </a:lnTo>
                  <a:lnTo>
                    <a:pt x="460" y="40"/>
                  </a:lnTo>
                  <a:lnTo>
                    <a:pt x="458" y="38"/>
                  </a:lnTo>
                  <a:lnTo>
                    <a:pt x="458" y="38"/>
                  </a:lnTo>
                  <a:lnTo>
                    <a:pt x="456" y="38"/>
                  </a:lnTo>
                  <a:lnTo>
                    <a:pt x="452" y="38"/>
                  </a:lnTo>
                  <a:lnTo>
                    <a:pt x="452" y="38"/>
                  </a:lnTo>
                  <a:lnTo>
                    <a:pt x="452" y="38"/>
                  </a:lnTo>
                  <a:lnTo>
                    <a:pt x="448" y="38"/>
                  </a:lnTo>
                  <a:lnTo>
                    <a:pt x="448" y="38"/>
                  </a:lnTo>
                  <a:lnTo>
                    <a:pt x="448" y="38"/>
                  </a:lnTo>
                  <a:lnTo>
                    <a:pt x="444" y="38"/>
                  </a:lnTo>
                  <a:lnTo>
                    <a:pt x="444" y="38"/>
                  </a:lnTo>
                  <a:lnTo>
                    <a:pt x="444" y="40"/>
                  </a:lnTo>
                  <a:lnTo>
                    <a:pt x="440" y="42"/>
                  </a:lnTo>
                  <a:lnTo>
                    <a:pt x="436" y="44"/>
                  </a:lnTo>
                  <a:lnTo>
                    <a:pt x="434" y="46"/>
                  </a:lnTo>
                  <a:lnTo>
                    <a:pt x="430" y="48"/>
                  </a:lnTo>
                  <a:lnTo>
                    <a:pt x="428" y="50"/>
                  </a:lnTo>
                  <a:lnTo>
                    <a:pt x="426" y="50"/>
                  </a:lnTo>
                  <a:lnTo>
                    <a:pt x="424" y="50"/>
                  </a:lnTo>
                  <a:lnTo>
                    <a:pt x="422" y="50"/>
                  </a:lnTo>
                  <a:lnTo>
                    <a:pt x="420" y="50"/>
                  </a:lnTo>
                  <a:lnTo>
                    <a:pt x="420" y="50"/>
                  </a:lnTo>
                  <a:lnTo>
                    <a:pt x="418" y="46"/>
                  </a:lnTo>
                  <a:lnTo>
                    <a:pt x="414" y="44"/>
                  </a:lnTo>
                  <a:lnTo>
                    <a:pt x="412" y="42"/>
                  </a:lnTo>
                  <a:lnTo>
                    <a:pt x="412" y="40"/>
                  </a:lnTo>
                  <a:lnTo>
                    <a:pt x="408" y="36"/>
                  </a:lnTo>
                  <a:lnTo>
                    <a:pt x="406" y="32"/>
                  </a:lnTo>
                  <a:lnTo>
                    <a:pt x="404" y="30"/>
                  </a:lnTo>
                  <a:lnTo>
                    <a:pt x="402" y="28"/>
                  </a:lnTo>
                  <a:lnTo>
                    <a:pt x="400" y="26"/>
                  </a:lnTo>
                  <a:lnTo>
                    <a:pt x="400" y="26"/>
                  </a:lnTo>
                  <a:lnTo>
                    <a:pt x="398" y="26"/>
                  </a:lnTo>
                  <a:lnTo>
                    <a:pt x="396" y="24"/>
                  </a:lnTo>
                  <a:lnTo>
                    <a:pt x="396" y="24"/>
                  </a:lnTo>
                  <a:lnTo>
                    <a:pt x="396" y="24"/>
                  </a:lnTo>
                  <a:lnTo>
                    <a:pt x="392" y="22"/>
                  </a:lnTo>
                  <a:lnTo>
                    <a:pt x="388" y="22"/>
                  </a:lnTo>
                  <a:lnTo>
                    <a:pt x="384" y="20"/>
                  </a:lnTo>
                  <a:lnTo>
                    <a:pt x="382" y="20"/>
                  </a:lnTo>
                  <a:lnTo>
                    <a:pt x="382" y="20"/>
                  </a:lnTo>
                  <a:lnTo>
                    <a:pt x="380" y="20"/>
                  </a:lnTo>
                  <a:lnTo>
                    <a:pt x="376" y="20"/>
                  </a:lnTo>
                  <a:lnTo>
                    <a:pt x="376" y="20"/>
                  </a:lnTo>
                  <a:lnTo>
                    <a:pt x="376" y="20"/>
                  </a:lnTo>
                  <a:lnTo>
                    <a:pt x="374" y="20"/>
                  </a:lnTo>
                  <a:lnTo>
                    <a:pt x="370" y="22"/>
                  </a:lnTo>
                  <a:lnTo>
                    <a:pt x="368" y="24"/>
                  </a:lnTo>
                  <a:lnTo>
                    <a:pt x="364" y="26"/>
                  </a:lnTo>
                  <a:lnTo>
                    <a:pt x="360" y="28"/>
                  </a:lnTo>
                  <a:lnTo>
                    <a:pt x="358" y="30"/>
                  </a:lnTo>
                  <a:lnTo>
                    <a:pt x="354" y="34"/>
                  </a:lnTo>
                  <a:lnTo>
                    <a:pt x="352" y="36"/>
                  </a:lnTo>
                  <a:lnTo>
                    <a:pt x="350" y="36"/>
                  </a:lnTo>
                  <a:lnTo>
                    <a:pt x="350" y="36"/>
                  </a:lnTo>
                  <a:lnTo>
                    <a:pt x="352" y="30"/>
                  </a:lnTo>
                  <a:lnTo>
                    <a:pt x="352" y="26"/>
                  </a:lnTo>
                  <a:lnTo>
                    <a:pt x="354" y="24"/>
                  </a:lnTo>
                  <a:lnTo>
                    <a:pt x="354" y="22"/>
                  </a:lnTo>
                  <a:lnTo>
                    <a:pt x="358" y="16"/>
                  </a:lnTo>
                  <a:lnTo>
                    <a:pt x="360" y="14"/>
                  </a:lnTo>
                  <a:lnTo>
                    <a:pt x="360" y="12"/>
                  </a:lnTo>
                  <a:lnTo>
                    <a:pt x="360" y="12"/>
                  </a:lnTo>
                  <a:lnTo>
                    <a:pt x="360" y="10"/>
                  </a:lnTo>
                  <a:lnTo>
                    <a:pt x="362" y="8"/>
                  </a:lnTo>
                  <a:lnTo>
                    <a:pt x="362" y="8"/>
                  </a:lnTo>
                  <a:lnTo>
                    <a:pt x="362" y="8"/>
                  </a:lnTo>
                  <a:lnTo>
                    <a:pt x="360" y="6"/>
                  </a:lnTo>
                  <a:lnTo>
                    <a:pt x="360" y="6"/>
                  </a:lnTo>
                  <a:lnTo>
                    <a:pt x="360" y="4"/>
                  </a:lnTo>
                  <a:lnTo>
                    <a:pt x="358" y="4"/>
                  </a:lnTo>
                  <a:lnTo>
                    <a:pt x="358" y="4"/>
                  </a:lnTo>
                  <a:lnTo>
                    <a:pt x="358" y="4"/>
                  </a:lnTo>
                  <a:lnTo>
                    <a:pt x="356" y="2"/>
                  </a:lnTo>
                  <a:lnTo>
                    <a:pt x="356" y="2"/>
                  </a:lnTo>
                  <a:lnTo>
                    <a:pt x="356" y="2"/>
                  </a:lnTo>
                  <a:lnTo>
                    <a:pt x="354" y="0"/>
                  </a:lnTo>
                  <a:lnTo>
                    <a:pt x="350" y="0"/>
                  </a:lnTo>
                  <a:lnTo>
                    <a:pt x="350" y="0"/>
                  </a:lnTo>
                  <a:lnTo>
                    <a:pt x="350" y="0"/>
                  </a:lnTo>
                  <a:lnTo>
                    <a:pt x="346" y="0"/>
                  </a:lnTo>
                  <a:lnTo>
                    <a:pt x="344" y="0"/>
                  </a:lnTo>
                  <a:lnTo>
                    <a:pt x="344" y="0"/>
                  </a:lnTo>
                  <a:lnTo>
                    <a:pt x="344" y="0"/>
                  </a:lnTo>
                  <a:lnTo>
                    <a:pt x="342" y="0"/>
                  </a:lnTo>
                  <a:lnTo>
                    <a:pt x="342" y="0"/>
                  </a:lnTo>
                  <a:lnTo>
                    <a:pt x="340" y="2"/>
                  </a:lnTo>
                  <a:lnTo>
                    <a:pt x="338" y="2"/>
                  </a:lnTo>
                  <a:lnTo>
                    <a:pt x="338" y="2"/>
                  </a:lnTo>
                  <a:lnTo>
                    <a:pt x="338" y="4"/>
                  </a:lnTo>
                  <a:lnTo>
                    <a:pt x="336" y="6"/>
                  </a:lnTo>
                  <a:lnTo>
                    <a:pt x="336" y="6"/>
                  </a:lnTo>
                  <a:lnTo>
                    <a:pt x="336" y="6"/>
                  </a:lnTo>
                  <a:lnTo>
                    <a:pt x="336" y="8"/>
                  </a:lnTo>
                  <a:lnTo>
                    <a:pt x="334" y="12"/>
                  </a:lnTo>
                  <a:lnTo>
                    <a:pt x="334" y="16"/>
                  </a:lnTo>
                  <a:lnTo>
                    <a:pt x="334" y="20"/>
                  </a:lnTo>
                  <a:lnTo>
                    <a:pt x="332" y="22"/>
                  </a:lnTo>
                  <a:lnTo>
                    <a:pt x="332" y="24"/>
                  </a:lnTo>
                  <a:lnTo>
                    <a:pt x="330" y="26"/>
                  </a:lnTo>
                  <a:lnTo>
                    <a:pt x="328" y="26"/>
                  </a:lnTo>
                  <a:lnTo>
                    <a:pt x="326" y="26"/>
                  </a:lnTo>
                  <a:lnTo>
                    <a:pt x="322" y="26"/>
                  </a:lnTo>
                  <a:lnTo>
                    <a:pt x="318" y="26"/>
                  </a:lnTo>
                  <a:lnTo>
                    <a:pt x="312" y="26"/>
                  </a:lnTo>
                  <a:lnTo>
                    <a:pt x="308" y="26"/>
                  </a:lnTo>
                  <a:lnTo>
                    <a:pt x="304" y="24"/>
                  </a:lnTo>
                  <a:lnTo>
                    <a:pt x="304" y="24"/>
                  </a:lnTo>
                  <a:lnTo>
                    <a:pt x="304" y="24"/>
                  </a:lnTo>
                  <a:lnTo>
                    <a:pt x="302" y="26"/>
                  </a:lnTo>
                  <a:lnTo>
                    <a:pt x="302" y="26"/>
                  </a:lnTo>
                  <a:lnTo>
                    <a:pt x="300" y="26"/>
                  </a:lnTo>
                  <a:lnTo>
                    <a:pt x="298" y="26"/>
                  </a:lnTo>
                  <a:lnTo>
                    <a:pt x="298" y="26"/>
                  </a:lnTo>
                  <a:lnTo>
                    <a:pt x="298" y="28"/>
                  </a:lnTo>
                  <a:lnTo>
                    <a:pt x="296" y="28"/>
                  </a:lnTo>
                  <a:lnTo>
                    <a:pt x="296" y="28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2"/>
                  </a:lnTo>
                  <a:lnTo>
                    <a:pt x="294" y="34"/>
                  </a:lnTo>
                  <a:lnTo>
                    <a:pt x="294" y="34"/>
                  </a:lnTo>
                  <a:lnTo>
                    <a:pt x="294" y="34"/>
                  </a:lnTo>
                  <a:lnTo>
                    <a:pt x="294" y="38"/>
                  </a:lnTo>
                  <a:lnTo>
                    <a:pt x="294" y="42"/>
                  </a:lnTo>
                  <a:lnTo>
                    <a:pt x="292" y="44"/>
                  </a:lnTo>
                  <a:lnTo>
                    <a:pt x="294" y="46"/>
                  </a:lnTo>
                  <a:lnTo>
                    <a:pt x="294" y="52"/>
                  </a:lnTo>
                  <a:lnTo>
                    <a:pt x="294" y="54"/>
                  </a:lnTo>
                  <a:lnTo>
                    <a:pt x="294" y="54"/>
                  </a:lnTo>
                  <a:lnTo>
                    <a:pt x="292" y="54"/>
                  </a:lnTo>
                  <a:lnTo>
                    <a:pt x="290" y="52"/>
                  </a:lnTo>
                  <a:lnTo>
                    <a:pt x="286" y="52"/>
                  </a:lnTo>
                  <a:lnTo>
                    <a:pt x="284" y="50"/>
                  </a:lnTo>
                  <a:lnTo>
                    <a:pt x="282" y="50"/>
                  </a:lnTo>
                  <a:lnTo>
                    <a:pt x="280" y="50"/>
                  </a:lnTo>
                  <a:lnTo>
                    <a:pt x="272" y="50"/>
                  </a:lnTo>
                  <a:lnTo>
                    <a:pt x="270" y="48"/>
                  </a:lnTo>
                  <a:lnTo>
                    <a:pt x="266" y="50"/>
                  </a:lnTo>
                  <a:lnTo>
                    <a:pt x="266" y="50"/>
                  </a:lnTo>
                  <a:lnTo>
                    <a:pt x="266" y="50"/>
                  </a:lnTo>
                  <a:lnTo>
                    <a:pt x="262" y="50"/>
                  </a:lnTo>
                  <a:lnTo>
                    <a:pt x="262" y="50"/>
                  </a:lnTo>
                  <a:lnTo>
                    <a:pt x="262" y="50"/>
                  </a:lnTo>
                  <a:lnTo>
                    <a:pt x="260" y="52"/>
                  </a:lnTo>
                  <a:lnTo>
                    <a:pt x="260" y="52"/>
                  </a:lnTo>
                  <a:lnTo>
                    <a:pt x="258" y="52"/>
                  </a:lnTo>
                  <a:lnTo>
                    <a:pt x="256" y="54"/>
                  </a:lnTo>
                  <a:lnTo>
                    <a:pt x="252" y="56"/>
                  </a:lnTo>
                  <a:lnTo>
                    <a:pt x="250" y="58"/>
                  </a:lnTo>
                  <a:lnTo>
                    <a:pt x="248" y="62"/>
                  </a:lnTo>
                  <a:lnTo>
                    <a:pt x="244" y="68"/>
                  </a:lnTo>
                  <a:lnTo>
                    <a:pt x="242" y="72"/>
                  </a:lnTo>
                  <a:lnTo>
                    <a:pt x="242" y="74"/>
                  </a:lnTo>
                  <a:lnTo>
                    <a:pt x="240" y="78"/>
                  </a:lnTo>
                  <a:lnTo>
                    <a:pt x="240" y="80"/>
                  </a:lnTo>
                  <a:lnTo>
                    <a:pt x="240" y="80"/>
                  </a:lnTo>
                  <a:lnTo>
                    <a:pt x="240" y="80"/>
                  </a:lnTo>
                  <a:lnTo>
                    <a:pt x="240" y="86"/>
                  </a:lnTo>
                  <a:lnTo>
                    <a:pt x="240" y="90"/>
                  </a:lnTo>
                  <a:lnTo>
                    <a:pt x="240" y="92"/>
                  </a:lnTo>
                  <a:lnTo>
                    <a:pt x="240" y="94"/>
                  </a:lnTo>
                  <a:lnTo>
                    <a:pt x="240" y="94"/>
                  </a:lnTo>
                  <a:lnTo>
                    <a:pt x="238" y="94"/>
                  </a:lnTo>
                  <a:lnTo>
                    <a:pt x="236" y="96"/>
                  </a:lnTo>
                  <a:lnTo>
                    <a:pt x="232" y="96"/>
                  </a:lnTo>
                  <a:lnTo>
                    <a:pt x="230" y="98"/>
                  </a:lnTo>
                  <a:lnTo>
                    <a:pt x="230" y="98"/>
                  </a:lnTo>
                  <a:lnTo>
                    <a:pt x="230" y="98"/>
                  </a:lnTo>
                  <a:lnTo>
                    <a:pt x="228" y="98"/>
                  </a:lnTo>
                  <a:lnTo>
                    <a:pt x="228" y="98"/>
                  </a:lnTo>
                  <a:lnTo>
                    <a:pt x="228" y="98"/>
                  </a:lnTo>
                  <a:lnTo>
                    <a:pt x="224" y="102"/>
                  </a:lnTo>
                  <a:lnTo>
                    <a:pt x="222" y="104"/>
                  </a:lnTo>
                  <a:lnTo>
                    <a:pt x="218" y="108"/>
                  </a:lnTo>
                  <a:lnTo>
                    <a:pt x="214" y="110"/>
                  </a:lnTo>
                  <a:lnTo>
                    <a:pt x="214" y="110"/>
                  </a:lnTo>
                  <a:lnTo>
                    <a:pt x="212" y="112"/>
                  </a:lnTo>
                  <a:lnTo>
                    <a:pt x="206" y="112"/>
                  </a:lnTo>
                  <a:lnTo>
                    <a:pt x="200" y="114"/>
                  </a:lnTo>
                  <a:lnTo>
                    <a:pt x="198" y="114"/>
                  </a:lnTo>
                  <a:lnTo>
                    <a:pt x="196" y="116"/>
                  </a:lnTo>
                  <a:lnTo>
                    <a:pt x="196" y="116"/>
                  </a:lnTo>
                  <a:lnTo>
                    <a:pt x="196" y="116"/>
                  </a:lnTo>
                  <a:lnTo>
                    <a:pt x="194" y="118"/>
                  </a:lnTo>
                  <a:lnTo>
                    <a:pt x="194" y="118"/>
                  </a:lnTo>
                  <a:lnTo>
                    <a:pt x="194" y="120"/>
                  </a:lnTo>
                  <a:lnTo>
                    <a:pt x="192" y="122"/>
                  </a:lnTo>
                  <a:lnTo>
                    <a:pt x="192" y="122"/>
                  </a:lnTo>
                  <a:lnTo>
                    <a:pt x="190" y="122"/>
                  </a:lnTo>
                  <a:lnTo>
                    <a:pt x="190" y="126"/>
                  </a:lnTo>
                  <a:lnTo>
                    <a:pt x="190" y="126"/>
                  </a:lnTo>
                  <a:lnTo>
                    <a:pt x="190" y="126"/>
                  </a:lnTo>
                  <a:lnTo>
                    <a:pt x="190" y="130"/>
                  </a:lnTo>
                  <a:lnTo>
                    <a:pt x="190" y="130"/>
                  </a:lnTo>
                  <a:lnTo>
                    <a:pt x="190" y="130"/>
                  </a:lnTo>
                  <a:lnTo>
                    <a:pt x="190" y="134"/>
                  </a:lnTo>
                  <a:lnTo>
                    <a:pt x="190" y="134"/>
                  </a:lnTo>
                  <a:lnTo>
                    <a:pt x="190" y="134"/>
                  </a:lnTo>
                  <a:lnTo>
                    <a:pt x="190" y="138"/>
                  </a:lnTo>
                  <a:lnTo>
                    <a:pt x="190" y="138"/>
                  </a:lnTo>
                  <a:lnTo>
                    <a:pt x="190" y="138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4" y="142"/>
                  </a:lnTo>
                  <a:lnTo>
                    <a:pt x="196" y="144"/>
                  </a:lnTo>
                  <a:lnTo>
                    <a:pt x="198" y="146"/>
                  </a:lnTo>
                  <a:lnTo>
                    <a:pt x="202" y="148"/>
                  </a:lnTo>
                  <a:lnTo>
                    <a:pt x="206" y="150"/>
                  </a:lnTo>
                  <a:lnTo>
                    <a:pt x="212" y="156"/>
                  </a:lnTo>
                  <a:lnTo>
                    <a:pt x="216" y="158"/>
                  </a:lnTo>
                  <a:lnTo>
                    <a:pt x="220" y="160"/>
                  </a:lnTo>
                  <a:lnTo>
                    <a:pt x="224" y="162"/>
                  </a:lnTo>
                  <a:lnTo>
                    <a:pt x="226" y="166"/>
                  </a:lnTo>
                  <a:lnTo>
                    <a:pt x="228" y="168"/>
                  </a:lnTo>
                  <a:lnTo>
                    <a:pt x="228" y="170"/>
                  </a:lnTo>
                  <a:lnTo>
                    <a:pt x="228" y="172"/>
                  </a:lnTo>
                  <a:lnTo>
                    <a:pt x="228" y="174"/>
                  </a:lnTo>
                  <a:lnTo>
                    <a:pt x="228" y="178"/>
                  </a:lnTo>
                  <a:lnTo>
                    <a:pt x="228" y="180"/>
                  </a:lnTo>
                  <a:lnTo>
                    <a:pt x="228" y="180"/>
                  </a:lnTo>
                  <a:lnTo>
                    <a:pt x="230" y="180"/>
                  </a:lnTo>
                  <a:lnTo>
                    <a:pt x="230" y="182"/>
                  </a:lnTo>
                  <a:lnTo>
                    <a:pt x="230" y="182"/>
                  </a:lnTo>
                  <a:lnTo>
                    <a:pt x="230" y="184"/>
                  </a:lnTo>
                  <a:lnTo>
                    <a:pt x="232" y="186"/>
                  </a:lnTo>
                  <a:lnTo>
                    <a:pt x="232" y="186"/>
                  </a:lnTo>
                  <a:lnTo>
                    <a:pt x="232" y="186"/>
                  </a:lnTo>
                  <a:lnTo>
                    <a:pt x="234" y="186"/>
                  </a:lnTo>
                  <a:lnTo>
                    <a:pt x="234" y="186"/>
                  </a:lnTo>
                  <a:lnTo>
                    <a:pt x="236" y="188"/>
                  </a:lnTo>
                  <a:lnTo>
                    <a:pt x="238" y="188"/>
                  </a:lnTo>
                  <a:lnTo>
                    <a:pt x="242" y="188"/>
                  </a:lnTo>
                  <a:lnTo>
                    <a:pt x="246" y="188"/>
                  </a:lnTo>
                  <a:lnTo>
                    <a:pt x="252" y="188"/>
                  </a:lnTo>
                  <a:lnTo>
                    <a:pt x="254" y="188"/>
                  </a:lnTo>
                  <a:lnTo>
                    <a:pt x="258" y="188"/>
                  </a:lnTo>
                  <a:lnTo>
                    <a:pt x="262" y="190"/>
                  </a:lnTo>
                  <a:lnTo>
                    <a:pt x="266" y="192"/>
                  </a:lnTo>
                  <a:lnTo>
                    <a:pt x="270" y="196"/>
                  </a:lnTo>
                  <a:lnTo>
                    <a:pt x="272" y="198"/>
                  </a:lnTo>
                  <a:lnTo>
                    <a:pt x="272" y="200"/>
                  </a:lnTo>
                  <a:lnTo>
                    <a:pt x="274" y="202"/>
                  </a:lnTo>
                  <a:lnTo>
                    <a:pt x="274" y="204"/>
                  </a:lnTo>
                  <a:lnTo>
                    <a:pt x="274" y="208"/>
                  </a:lnTo>
                  <a:lnTo>
                    <a:pt x="274" y="206"/>
                  </a:lnTo>
                  <a:lnTo>
                    <a:pt x="276" y="210"/>
                  </a:lnTo>
                  <a:lnTo>
                    <a:pt x="274" y="212"/>
                  </a:lnTo>
                  <a:lnTo>
                    <a:pt x="274" y="212"/>
                  </a:lnTo>
                  <a:lnTo>
                    <a:pt x="272" y="214"/>
                  </a:lnTo>
                  <a:lnTo>
                    <a:pt x="272" y="214"/>
                  </a:lnTo>
                  <a:lnTo>
                    <a:pt x="270" y="216"/>
                  </a:lnTo>
                  <a:lnTo>
                    <a:pt x="266" y="218"/>
                  </a:lnTo>
                  <a:lnTo>
                    <a:pt x="260" y="218"/>
                  </a:lnTo>
                  <a:lnTo>
                    <a:pt x="254" y="220"/>
                  </a:lnTo>
                  <a:lnTo>
                    <a:pt x="248" y="222"/>
                  </a:lnTo>
                  <a:lnTo>
                    <a:pt x="242" y="222"/>
                  </a:lnTo>
                  <a:lnTo>
                    <a:pt x="238" y="222"/>
                  </a:lnTo>
                  <a:lnTo>
                    <a:pt x="236" y="222"/>
                  </a:lnTo>
                  <a:lnTo>
                    <a:pt x="236" y="222"/>
                  </a:lnTo>
                  <a:lnTo>
                    <a:pt x="234" y="220"/>
                  </a:lnTo>
                  <a:lnTo>
                    <a:pt x="236" y="218"/>
                  </a:lnTo>
                  <a:lnTo>
                    <a:pt x="236" y="214"/>
                  </a:lnTo>
                  <a:lnTo>
                    <a:pt x="238" y="210"/>
                  </a:lnTo>
                  <a:lnTo>
                    <a:pt x="238" y="210"/>
                  </a:lnTo>
                  <a:lnTo>
                    <a:pt x="238" y="210"/>
                  </a:lnTo>
                  <a:lnTo>
                    <a:pt x="238" y="206"/>
                  </a:lnTo>
                  <a:lnTo>
                    <a:pt x="238" y="206"/>
                  </a:lnTo>
                  <a:lnTo>
                    <a:pt x="238" y="206"/>
                  </a:lnTo>
                  <a:lnTo>
                    <a:pt x="236" y="204"/>
                  </a:lnTo>
                  <a:lnTo>
                    <a:pt x="236" y="204"/>
                  </a:lnTo>
                  <a:lnTo>
                    <a:pt x="236" y="204"/>
                  </a:lnTo>
                  <a:lnTo>
                    <a:pt x="236" y="202"/>
                  </a:lnTo>
                  <a:lnTo>
                    <a:pt x="236" y="202"/>
                  </a:lnTo>
                  <a:lnTo>
                    <a:pt x="234" y="202"/>
                  </a:lnTo>
                  <a:lnTo>
                    <a:pt x="232" y="202"/>
                  </a:lnTo>
                  <a:lnTo>
                    <a:pt x="232" y="202"/>
                  </a:lnTo>
                  <a:lnTo>
                    <a:pt x="232" y="202"/>
                  </a:lnTo>
                  <a:lnTo>
                    <a:pt x="230" y="202"/>
                  </a:lnTo>
                  <a:lnTo>
                    <a:pt x="230" y="202"/>
                  </a:lnTo>
                  <a:lnTo>
                    <a:pt x="230" y="202"/>
                  </a:lnTo>
                  <a:lnTo>
                    <a:pt x="226" y="202"/>
                  </a:lnTo>
                  <a:lnTo>
                    <a:pt x="224" y="204"/>
                  </a:lnTo>
                  <a:lnTo>
                    <a:pt x="220" y="206"/>
                  </a:lnTo>
                  <a:lnTo>
                    <a:pt x="216" y="208"/>
                  </a:lnTo>
                  <a:lnTo>
                    <a:pt x="208" y="212"/>
                  </a:lnTo>
                  <a:lnTo>
                    <a:pt x="198" y="216"/>
                  </a:lnTo>
                  <a:lnTo>
                    <a:pt x="188" y="222"/>
                  </a:lnTo>
                  <a:lnTo>
                    <a:pt x="184" y="224"/>
                  </a:lnTo>
                  <a:lnTo>
                    <a:pt x="180" y="226"/>
                  </a:lnTo>
                  <a:lnTo>
                    <a:pt x="176" y="228"/>
                  </a:lnTo>
                  <a:lnTo>
                    <a:pt x="172" y="230"/>
                  </a:lnTo>
                  <a:lnTo>
                    <a:pt x="170" y="232"/>
                  </a:lnTo>
                  <a:lnTo>
                    <a:pt x="168" y="234"/>
                  </a:lnTo>
                  <a:lnTo>
                    <a:pt x="166" y="236"/>
                  </a:lnTo>
                  <a:lnTo>
                    <a:pt x="166" y="236"/>
                  </a:lnTo>
                  <a:lnTo>
                    <a:pt x="166" y="236"/>
                  </a:lnTo>
                  <a:lnTo>
                    <a:pt x="166" y="238"/>
                  </a:lnTo>
                  <a:lnTo>
                    <a:pt x="166" y="238"/>
                  </a:lnTo>
                  <a:lnTo>
                    <a:pt x="166" y="238"/>
                  </a:lnTo>
                  <a:lnTo>
                    <a:pt x="166" y="240"/>
                  </a:lnTo>
                  <a:lnTo>
                    <a:pt x="166" y="240"/>
                  </a:lnTo>
                  <a:lnTo>
                    <a:pt x="166" y="240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70" y="242"/>
                  </a:lnTo>
                  <a:lnTo>
                    <a:pt x="172" y="242"/>
                  </a:lnTo>
                  <a:lnTo>
                    <a:pt x="176" y="242"/>
                  </a:lnTo>
                  <a:lnTo>
                    <a:pt x="178" y="242"/>
                  </a:lnTo>
                  <a:lnTo>
                    <a:pt x="180" y="244"/>
                  </a:lnTo>
                  <a:lnTo>
                    <a:pt x="182" y="244"/>
                  </a:lnTo>
                  <a:lnTo>
                    <a:pt x="182" y="246"/>
                  </a:lnTo>
                  <a:lnTo>
                    <a:pt x="184" y="248"/>
                  </a:lnTo>
                  <a:lnTo>
                    <a:pt x="186" y="252"/>
                  </a:lnTo>
                  <a:lnTo>
                    <a:pt x="188" y="256"/>
                  </a:lnTo>
                  <a:lnTo>
                    <a:pt x="188" y="260"/>
                  </a:lnTo>
                  <a:lnTo>
                    <a:pt x="190" y="264"/>
                  </a:lnTo>
                  <a:lnTo>
                    <a:pt x="192" y="266"/>
                  </a:lnTo>
                  <a:lnTo>
                    <a:pt x="194" y="270"/>
                  </a:lnTo>
                  <a:lnTo>
                    <a:pt x="194" y="270"/>
                  </a:lnTo>
                  <a:lnTo>
                    <a:pt x="194" y="270"/>
                  </a:lnTo>
                  <a:lnTo>
                    <a:pt x="196" y="272"/>
                  </a:lnTo>
                  <a:lnTo>
                    <a:pt x="196" y="272"/>
                  </a:lnTo>
                  <a:lnTo>
                    <a:pt x="196" y="272"/>
                  </a:lnTo>
                  <a:lnTo>
                    <a:pt x="198" y="272"/>
                  </a:lnTo>
                  <a:lnTo>
                    <a:pt x="200" y="274"/>
                  </a:lnTo>
                  <a:lnTo>
                    <a:pt x="200" y="274"/>
                  </a:lnTo>
                  <a:lnTo>
                    <a:pt x="200" y="274"/>
                  </a:lnTo>
                  <a:lnTo>
                    <a:pt x="202" y="276"/>
                  </a:lnTo>
                  <a:lnTo>
                    <a:pt x="204" y="276"/>
                  </a:lnTo>
                  <a:lnTo>
                    <a:pt x="206" y="276"/>
                  </a:lnTo>
                  <a:lnTo>
                    <a:pt x="210" y="276"/>
                  </a:lnTo>
                  <a:lnTo>
                    <a:pt x="214" y="276"/>
                  </a:lnTo>
                  <a:lnTo>
                    <a:pt x="218" y="276"/>
                  </a:lnTo>
                  <a:lnTo>
                    <a:pt x="222" y="276"/>
                  </a:lnTo>
                  <a:lnTo>
                    <a:pt x="226" y="278"/>
                  </a:lnTo>
                  <a:lnTo>
                    <a:pt x="232" y="276"/>
                  </a:lnTo>
                  <a:lnTo>
                    <a:pt x="236" y="276"/>
                  </a:lnTo>
                  <a:lnTo>
                    <a:pt x="240" y="276"/>
                  </a:lnTo>
                  <a:lnTo>
                    <a:pt x="242" y="276"/>
                  </a:lnTo>
                  <a:lnTo>
                    <a:pt x="246" y="276"/>
                  </a:lnTo>
                  <a:lnTo>
                    <a:pt x="246" y="276"/>
                  </a:lnTo>
                  <a:lnTo>
                    <a:pt x="246" y="276"/>
                  </a:lnTo>
                  <a:lnTo>
                    <a:pt x="248" y="274"/>
                  </a:lnTo>
                  <a:lnTo>
                    <a:pt x="248" y="274"/>
                  </a:lnTo>
                  <a:lnTo>
                    <a:pt x="248" y="274"/>
                  </a:lnTo>
                  <a:lnTo>
                    <a:pt x="250" y="274"/>
                  </a:lnTo>
                  <a:lnTo>
                    <a:pt x="250" y="272"/>
                  </a:lnTo>
                  <a:lnTo>
                    <a:pt x="252" y="270"/>
                  </a:lnTo>
                  <a:lnTo>
                    <a:pt x="252" y="270"/>
                  </a:lnTo>
                  <a:lnTo>
                    <a:pt x="254" y="270"/>
                  </a:lnTo>
                  <a:lnTo>
                    <a:pt x="256" y="270"/>
                  </a:lnTo>
                  <a:lnTo>
                    <a:pt x="260" y="270"/>
                  </a:lnTo>
                  <a:lnTo>
                    <a:pt x="266" y="272"/>
                  </a:lnTo>
                  <a:lnTo>
                    <a:pt x="268" y="272"/>
                  </a:lnTo>
                  <a:lnTo>
                    <a:pt x="270" y="272"/>
                  </a:lnTo>
                  <a:lnTo>
                    <a:pt x="272" y="274"/>
                  </a:lnTo>
                  <a:lnTo>
                    <a:pt x="274" y="276"/>
                  </a:lnTo>
                  <a:lnTo>
                    <a:pt x="274" y="278"/>
                  </a:lnTo>
                  <a:lnTo>
                    <a:pt x="276" y="280"/>
                  </a:lnTo>
                  <a:lnTo>
                    <a:pt x="276" y="284"/>
                  </a:lnTo>
                  <a:lnTo>
                    <a:pt x="278" y="288"/>
                  </a:lnTo>
                  <a:lnTo>
                    <a:pt x="278" y="294"/>
                  </a:lnTo>
                  <a:lnTo>
                    <a:pt x="278" y="298"/>
                  </a:lnTo>
                  <a:lnTo>
                    <a:pt x="276" y="300"/>
                  </a:lnTo>
                  <a:lnTo>
                    <a:pt x="276" y="304"/>
                  </a:lnTo>
                  <a:lnTo>
                    <a:pt x="274" y="306"/>
                  </a:lnTo>
                  <a:lnTo>
                    <a:pt x="272" y="306"/>
                  </a:lnTo>
                  <a:lnTo>
                    <a:pt x="270" y="308"/>
                  </a:lnTo>
                  <a:lnTo>
                    <a:pt x="266" y="310"/>
                  </a:lnTo>
                  <a:lnTo>
                    <a:pt x="258" y="312"/>
                  </a:lnTo>
                  <a:lnTo>
                    <a:pt x="254" y="312"/>
                  </a:lnTo>
                  <a:lnTo>
                    <a:pt x="252" y="314"/>
                  </a:lnTo>
                  <a:lnTo>
                    <a:pt x="248" y="316"/>
                  </a:lnTo>
                  <a:lnTo>
                    <a:pt x="244" y="316"/>
                  </a:lnTo>
                  <a:lnTo>
                    <a:pt x="236" y="318"/>
                  </a:lnTo>
                  <a:lnTo>
                    <a:pt x="228" y="320"/>
                  </a:lnTo>
                  <a:lnTo>
                    <a:pt x="224" y="322"/>
                  </a:lnTo>
                  <a:lnTo>
                    <a:pt x="220" y="324"/>
                  </a:lnTo>
                  <a:lnTo>
                    <a:pt x="218" y="326"/>
                  </a:lnTo>
                  <a:lnTo>
                    <a:pt x="214" y="328"/>
                  </a:lnTo>
                  <a:lnTo>
                    <a:pt x="214" y="328"/>
                  </a:lnTo>
                  <a:lnTo>
                    <a:pt x="214" y="328"/>
                  </a:lnTo>
                  <a:lnTo>
                    <a:pt x="210" y="334"/>
                  </a:lnTo>
                  <a:lnTo>
                    <a:pt x="210" y="334"/>
                  </a:lnTo>
                  <a:lnTo>
                    <a:pt x="210" y="334"/>
                  </a:lnTo>
                  <a:lnTo>
                    <a:pt x="206" y="340"/>
                  </a:lnTo>
                  <a:lnTo>
                    <a:pt x="204" y="348"/>
                  </a:lnTo>
                  <a:lnTo>
                    <a:pt x="202" y="354"/>
                  </a:lnTo>
                  <a:lnTo>
                    <a:pt x="200" y="360"/>
                  </a:lnTo>
                  <a:lnTo>
                    <a:pt x="200" y="364"/>
                  </a:lnTo>
                  <a:lnTo>
                    <a:pt x="200" y="366"/>
                  </a:lnTo>
                  <a:lnTo>
                    <a:pt x="200" y="366"/>
                  </a:lnTo>
                  <a:lnTo>
                    <a:pt x="200" y="366"/>
                  </a:lnTo>
                  <a:lnTo>
                    <a:pt x="200" y="370"/>
                  </a:lnTo>
                  <a:lnTo>
                    <a:pt x="200" y="370"/>
                  </a:lnTo>
                  <a:lnTo>
                    <a:pt x="200" y="370"/>
                  </a:lnTo>
                  <a:lnTo>
                    <a:pt x="202" y="372"/>
                  </a:lnTo>
                  <a:lnTo>
                    <a:pt x="202" y="372"/>
                  </a:lnTo>
                  <a:lnTo>
                    <a:pt x="202" y="374"/>
                  </a:lnTo>
                  <a:lnTo>
                    <a:pt x="204" y="376"/>
                  </a:lnTo>
                  <a:lnTo>
                    <a:pt x="204" y="376"/>
                  </a:lnTo>
                  <a:lnTo>
                    <a:pt x="204" y="376"/>
                  </a:lnTo>
                  <a:lnTo>
                    <a:pt x="206" y="378"/>
                  </a:lnTo>
                  <a:lnTo>
                    <a:pt x="206" y="378"/>
                  </a:lnTo>
                  <a:lnTo>
                    <a:pt x="206" y="378"/>
                  </a:lnTo>
                  <a:lnTo>
                    <a:pt x="208" y="380"/>
                  </a:lnTo>
                  <a:lnTo>
                    <a:pt x="212" y="382"/>
                  </a:lnTo>
                  <a:lnTo>
                    <a:pt x="218" y="384"/>
                  </a:lnTo>
                  <a:lnTo>
                    <a:pt x="220" y="386"/>
                  </a:lnTo>
                  <a:lnTo>
                    <a:pt x="222" y="388"/>
                  </a:lnTo>
                  <a:lnTo>
                    <a:pt x="224" y="390"/>
                  </a:lnTo>
                  <a:lnTo>
                    <a:pt x="228" y="392"/>
                  </a:lnTo>
                  <a:lnTo>
                    <a:pt x="230" y="394"/>
                  </a:lnTo>
                  <a:lnTo>
                    <a:pt x="234" y="396"/>
                  </a:lnTo>
                  <a:lnTo>
                    <a:pt x="234" y="396"/>
                  </a:lnTo>
                  <a:lnTo>
                    <a:pt x="234" y="396"/>
                  </a:lnTo>
                  <a:lnTo>
                    <a:pt x="230" y="396"/>
                  </a:lnTo>
                  <a:lnTo>
                    <a:pt x="224" y="394"/>
                  </a:lnTo>
                  <a:lnTo>
                    <a:pt x="218" y="394"/>
                  </a:lnTo>
                  <a:lnTo>
                    <a:pt x="214" y="394"/>
                  </a:lnTo>
                  <a:lnTo>
                    <a:pt x="212" y="394"/>
                  </a:lnTo>
                  <a:lnTo>
                    <a:pt x="210" y="394"/>
                  </a:lnTo>
                  <a:lnTo>
                    <a:pt x="210" y="394"/>
                  </a:lnTo>
                  <a:lnTo>
                    <a:pt x="210" y="394"/>
                  </a:lnTo>
                  <a:lnTo>
                    <a:pt x="208" y="394"/>
                  </a:lnTo>
                  <a:lnTo>
                    <a:pt x="208" y="394"/>
                  </a:lnTo>
                  <a:lnTo>
                    <a:pt x="206" y="394"/>
                  </a:lnTo>
                  <a:lnTo>
                    <a:pt x="206" y="394"/>
                  </a:lnTo>
                  <a:lnTo>
                    <a:pt x="206" y="394"/>
                  </a:lnTo>
                  <a:lnTo>
                    <a:pt x="206" y="396"/>
                  </a:lnTo>
                  <a:lnTo>
                    <a:pt x="206" y="398"/>
                  </a:lnTo>
                  <a:lnTo>
                    <a:pt x="206" y="398"/>
                  </a:lnTo>
                  <a:lnTo>
                    <a:pt x="206" y="398"/>
                  </a:lnTo>
                  <a:lnTo>
                    <a:pt x="206" y="400"/>
                  </a:lnTo>
                  <a:lnTo>
                    <a:pt x="206" y="400"/>
                  </a:lnTo>
                  <a:lnTo>
                    <a:pt x="206" y="400"/>
                  </a:lnTo>
                  <a:lnTo>
                    <a:pt x="206" y="402"/>
                  </a:lnTo>
                  <a:lnTo>
                    <a:pt x="206" y="402"/>
                  </a:lnTo>
                  <a:lnTo>
                    <a:pt x="206" y="404"/>
                  </a:lnTo>
                  <a:lnTo>
                    <a:pt x="210" y="406"/>
                  </a:lnTo>
                  <a:lnTo>
                    <a:pt x="212" y="410"/>
                  </a:lnTo>
                  <a:lnTo>
                    <a:pt x="216" y="414"/>
                  </a:lnTo>
                  <a:lnTo>
                    <a:pt x="218" y="418"/>
                  </a:lnTo>
                  <a:lnTo>
                    <a:pt x="222" y="420"/>
                  </a:lnTo>
                  <a:lnTo>
                    <a:pt x="224" y="422"/>
                  </a:lnTo>
                  <a:lnTo>
                    <a:pt x="224" y="422"/>
                  </a:lnTo>
                  <a:lnTo>
                    <a:pt x="224" y="424"/>
                  </a:lnTo>
                  <a:lnTo>
                    <a:pt x="228" y="424"/>
                  </a:lnTo>
                  <a:lnTo>
                    <a:pt x="228" y="424"/>
                  </a:lnTo>
                  <a:lnTo>
                    <a:pt x="228" y="424"/>
                  </a:lnTo>
                  <a:lnTo>
                    <a:pt x="230" y="424"/>
                  </a:lnTo>
                  <a:lnTo>
                    <a:pt x="230" y="424"/>
                  </a:lnTo>
                  <a:lnTo>
                    <a:pt x="230" y="426"/>
                  </a:lnTo>
                  <a:lnTo>
                    <a:pt x="232" y="426"/>
                  </a:lnTo>
                  <a:lnTo>
                    <a:pt x="234" y="424"/>
                  </a:lnTo>
                  <a:lnTo>
                    <a:pt x="234" y="424"/>
                  </a:lnTo>
                  <a:lnTo>
                    <a:pt x="236" y="424"/>
                  </a:lnTo>
                  <a:lnTo>
                    <a:pt x="240" y="422"/>
                  </a:lnTo>
                  <a:lnTo>
                    <a:pt x="244" y="422"/>
                  </a:lnTo>
                  <a:lnTo>
                    <a:pt x="246" y="420"/>
                  </a:lnTo>
                  <a:lnTo>
                    <a:pt x="248" y="418"/>
                  </a:lnTo>
                  <a:lnTo>
                    <a:pt x="254" y="414"/>
                  </a:lnTo>
                  <a:lnTo>
                    <a:pt x="256" y="412"/>
                  </a:lnTo>
                  <a:lnTo>
                    <a:pt x="256" y="412"/>
                  </a:lnTo>
                  <a:lnTo>
                    <a:pt x="256" y="412"/>
                  </a:lnTo>
                  <a:lnTo>
                    <a:pt x="256" y="416"/>
                  </a:lnTo>
                  <a:lnTo>
                    <a:pt x="254" y="420"/>
                  </a:lnTo>
                  <a:lnTo>
                    <a:pt x="254" y="426"/>
                  </a:lnTo>
                  <a:lnTo>
                    <a:pt x="252" y="432"/>
                  </a:lnTo>
                  <a:lnTo>
                    <a:pt x="252" y="438"/>
                  </a:lnTo>
                  <a:lnTo>
                    <a:pt x="250" y="442"/>
                  </a:lnTo>
                  <a:lnTo>
                    <a:pt x="250" y="442"/>
                  </a:lnTo>
                  <a:lnTo>
                    <a:pt x="250" y="442"/>
                  </a:lnTo>
                  <a:lnTo>
                    <a:pt x="252" y="444"/>
                  </a:lnTo>
                  <a:lnTo>
                    <a:pt x="252" y="446"/>
                  </a:lnTo>
                  <a:lnTo>
                    <a:pt x="252" y="446"/>
                  </a:lnTo>
                  <a:lnTo>
                    <a:pt x="252" y="448"/>
                  </a:lnTo>
                  <a:lnTo>
                    <a:pt x="252" y="450"/>
                  </a:lnTo>
                  <a:lnTo>
                    <a:pt x="252" y="450"/>
                  </a:lnTo>
                  <a:lnTo>
                    <a:pt x="254" y="450"/>
                  </a:lnTo>
                  <a:lnTo>
                    <a:pt x="254" y="452"/>
                  </a:lnTo>
                  <a:lnTo>
                    <a:pt x="254" y="452"/>
                  </a:lnTo>
                  <a:lnTo>
                    <a:pt x="256" y="454"/>
                  </a:lnTo>
                  <a:lnTo>
                    <a:pt x="258" y="454"/>
                  </a:lnTo>
                  <a:lnTo>
                    <a:pt x="258" y="454"/>
                  </a:lnTo>
                  <a:lnTo>
                    <a:pt x="258" y="454"/>
                  </a:lnTo>
                  <a:lnTo>
                    <a:pt x="260" y="456"/>
                  </a:lnTo>
                  <a:lnTo>
                    <a:pt x="260" y="456"/>
                  </a:lnTo>
                  <a:lnTo>
                    <a:pt x="260" y="456"/>
                  </a:lnTo>
                  <a:lnTo>
                    <a:pt x="266" y="458"/>
                  </a:lnTo>
                  <a:lnTo>
                    <a:pt x="270" y="458"/>
                  </a:lnTo>
                  <a:lnTo>
                    <a:pt x="272" y="458"/>
                  </a:lnTo>
                  <a:lnTo>
                    <a:pt x="272" y="458"/>
                  </a:lnTo>
                  <a:lnTo>
                    <a:pt x="274" y="458"/>
                  </a:lnTo>
                  <a:lnTo>
                    <a:pt x="274" y="458"/>
                  </a:lnTo>
                  <a:lnTo>
                    <a:pt x="274" y="458"/>
                  </a:lnTo>
                  <a:lnTo>
                    <a:pt x="278" y="458"/>
                  </a:lnTo>
                  <a:lnTo>
                    <a:pt x="284" y="456"/>
                  </a:lnTo>
                  <a:lnTo>
                    <a:pt x="288" y="456"/>
                  </a:lnTo>
                  <a:lnTo>
                    <a:pt x="290" y="454"/>
                  </a:lnTo>
                  <a:lnTo>
                    <a:pt x="292" y="454"/>
                  </a:lnTo>
                  <a:lnTo>
                    <a:pt x="292" y="456"/>
                  </a:lnTo>
                  <a:lnTo>
                    <a:pt x="294" y="456"/>
                  </a:lnTo>
                  <a:lnTo>
                    <a:pt x="294" y="458"/>
                  </a:lnTo>
                  <a:lnTo>
                    <a:pt x="296" y="460"/>
                  </a:lnTo>
                  <a:lnTo>
                    <a:pt x="298" y="462"/>
                  </a:lnTo>
                  <a:lnTo>
                    <a:pt x="300" y="462"/>
                  </a:lnTo>
                  <a:lnTo>
                    <a:pt x="300" y="462"/>
                  </a:lnTo>
                  <a:lnTo>
                    <a:pt x="300" y="464"/>
                  </a:lnTo>
                  <a:lnTo>
                    <a:pt x="302" y="464"/>
                  </a:lnTo>
                  <a:lnTo>
                    <a:pt x="302" y="464"/>
                  </a:lnTo>
                  <a:lnTo>
                    <a:pt x="302" y="464"/>
                  </a:lnTo>
                  <a:lnTo>
                    <a:pt x="304" y="464"/>
                  </a:lnTo>
                  <a:lnTo>
                    <a:pt x="304" y="464"/>
                  </a:lnTo>
                  <a:lnTo>
                    <a:pt x="306" y="464"/>
                  </a:lnTo>
                  <a:lnTo>
                    <a:pt x="306" y="464"/>
                  </a:lnTo>
                  <a:lnTo>
                    <a:pt x="306" y="464"/>
                  </a:lnTo>
                  <a:lnTo>
                    <a:pt x="308" y="462"/>
                  </a:lnTo>
                  <a:lnTo>
                    <a:pt x="310" y="462"/>
                  </a:lnTo>
                  <a:lnTo>
                    <a:pt x="310" y="462"/>
                  </a:lnTo>
                  <a:lnTo>
                    <a:pt x="310" y="460"/>
                  </a:lnTo>
                  <a:lnTo>
                    <a:pt x="310" y="458"/>
                  </a:lnTo>
                  <a:lnTo>
                    <a:pt x="312" y="456"/>
                  </a:lnTo>
                  <a:lnTo>
                    <a:pt x="312" y="454"/>
                  </a:lnTo>
                  <a:lnTo>
                    <a:pt x="314" y="452"/>
                  </a:lnTo>
                  <a:lnTo>
                    <a:pt x="314" y="450"/>
                  </a:lnTo>
                  <a:lnTo>
                    <a:pt x="316" y="448"/>
                  </a:lnTo>
                  <a:lnTo>
                    <a:pt x="318" y="448"/>
                  </a:lnTo>
                  <a:lnTo>
                    <a:pt x="316" y="448"/>
                  </a:lnTo>
                  <a:lnTo>
                    <a:pt x="318" y="448"/>
                  </a:lnTo>
                  <a:lnTo>
                    <a:pt x="322" y="446"/>
                  </a:lnTo>
                  <a:lnTo>
                    <a:pt x="324" y="446"/>
                  </a:lnTo>
                  <a:lnTo>
                    <a:pt x="324" y="446"/>
                  </a:lnTo>
                  <a:lnTo>
                    <a:pt x="326" y="448"/>
                  </a:lnTo>
                  <a:lnTo>
                    <a:pt x="326" y="448"/>
                  </a:lnTo>
                  <a:lnTo>
                    <a:pt x="326" y="448"/>
                  </a:lnTo>
                  <a:lnTo>
                    <a:pt x="326" y="450"/>
                  </a:lnTo>
                  <a:lnTo>
                    <a:pt x="326" y="454"/>
                  </a:lnTo>
                  <a:lnTo>
                    <a:pt x="326" y="456"/>
                  </a:lnTo>
                  <a:lnTo>
                    <a:pt x="324" y="464"/>
                  </a:lnTo>
                  <a:lnTo>
                    <a:pt x="322" y="468"/>
                  </a:lnTo>
                  <a:lnTo>
                    <a:pt x="322" y="470"/>
                  </a:lnTo>
                  <a:lnTo>
                    <a:pt x="318" y="476"/>
                  </a:lnTo>
                  <a:lnTo>
                    <a:pt x="316" y="482"/>
                  </a:lnTo>
                  <a:lnTo>
                    <a:pt x="310" y="488"/>
                  </a:lnTo>
                  <a:lnTo>
                    <a:pt x="306" y="492"/>
                  </a:lnTo>
                  <a:lnTo>
                    <a:pt x="300" y="498"/>
                  </a:lnTo>
                  <a:lnTo>
                    <a:pt x="294" y="502"/>
                  </a:lnTo>
                  <a:lnTo>
                    <a:pt x="288" y="508"/>
                  </a:lnTo>
                  <a:lnTo>
                    <a:pt x="280" y="512"/>
                  </a:lnTo>
                  <a:lnTo>
                    <a:pt x="274" y="516"/>
                  </a:lnTo>
                  <a:lnTo>
                    <a:pt x="266" y="520"/>
                  </a:lnTo>
                  <a:lnTo>
                    <a:pt x="260" y="522"/>
                  </a:lnTo>
                  <a:lnTo>
                    <a:pt x="252" y="526"/>
                  </a:lnTo>
                  <a:lnTo>
                    <a:pt x="246" y="530"/>
                  </a:lnTo>
                  <a:lnTo>
                    <a:pt x="240" y="532"/>
                  </a:lnTo>
                  <a:lnTo>
                    <a:pt x="232" y="536"/>
                  </a:lnTo>
                  <a:lnTo>
                    <a:pt x="232" y="536"/>
                  </a:lnTo>
                  <a:lnTo>
                    <a:pt x="232" y="536"/>
                  </a:lnTo>
                  <a:lnTo>
                    <a:pt x="226" y="540"/>
                  </a:lnTo>
                  <a:lnTo>
                    <a:pt x="226" y="540"/>
                  </a:lnTo>
                  <a:lnTo>
                    <a:pt x="226" y="540"/>
                  </a:lnTo>
                  <a:lnTo>
                    <a:pt x="224" y="542"/>
                  </a:lnTo>
                  <a:lnTo>
                    <a:pt x="224" y="542"/>
                  </a:lnTo>
                  <a:lnTo>
                    <a:pt x="224" y="544"/>
                  </a:lnTo>
                  <a:lnTo>
                    <a:pt x="222" y="546"/>
                  </a:lnTo>
                  <a:lnTo>
                    <a:pt x="222" y="546"/>
                  </a:lnTo>
                  <a:lnTo>
                    <a:pt x="222" y="546"/>
                  </a:lnTo>
                  <a:lnTo>
                    <a:pt x="218" y="552"/>
                  </a:lnTo>
                  <a:lnTo>
                    <a:pt x="218" y="556"/>
                  </a:lnTo>
                  <a:lnTo>
                    <a:pt x="216" y="558"/>
                  </a:lnTo>
                  <a:lnTo>
                    <a:pt x="214" y="560"/>
                  </a:lnTo>
                  <a:lnTo>
                    <a:pt x="212" y="562"/>
                  </a:lnTo>
                  <a:lnTo>
                    <a:pt x="210" y="562"/>
                  </a:lnTo>
                  <a:lnTo>
                    <a:pt x="208" y="562"/>
                  </a:lnTo>
                  <a:lnTo>
                    <a:pt x="200" y="564"/>
                  </a:lnTo>
                  <a:lnTo>
                    <a:pt x="192" y="564"/>
                  </a:lnTo>
                  <a:lnTo>
                    <a:pt x="188" y="564"/>
                  </a:lnTo>
                  <a:lnTo>
                    <a:pt x="186" y="564"/>
                  </a:lnTo>
                  <a:lnTo>
                    <a:pt x="182" y="566"/>
                  </a:lnTo>
                  <a:lnTo>
                    <a:pt x="180" y="566"/>
                  </a:lnTo>
                  <a:lnTo>
                    <a:pt x="176" y="568"/>
                  </a:lnTo>
                  <a:lnTo>
                    <a:pt x="174" y="570"/>
                  </a:lnTo>
                  <a:lnTo>
                    <a:pt x="170" y="574"/>
                  </a:lnTo>
                  <a:lnTo>
                    <a:pt x="166" y="576"/>
                  </a:lnTo>
                  <a:lnTo>
                    <a:pt x="162" y="578"/>
                  </a:lnTo>
                  <a:lnTo>
                    <a:pt x="160" y="580"/>
                  </a:lnTo>
                  <a:lnTo>
                    <a:pt x="160" y="580"/>
                  </a:lnTo>
                  <a:lnTo>
                    <a:pt x="160" y="580"/>
                  </a:lnTo>
                  <a:lnTo>
                    <a:pt x="156" y="584"/>
                  </a:lnTo>
                  <a:lnTo>
                    <a:pt x="156" y="584"/>
                  </a:lnTo>
                  <a:lnTo>
                    <a:pt x="156" y="584"/>
                  </a:lnTo>
                  <a:lnTo>
                    <a:pt x="154" y="586"/>
                  </a:lnTo>
                  <a:lnTo>
                    <a:pt x="154" y="586"/>
                  </a:lnTo>
                  <a:lnTo>
                    <a:pt x="154" y="586"/>
                  </a:lnTo>
                  <a:lnTo>
                    <a:pt x="154" y="588"/>
                  </a:lnTo>
                  <a:lnTo>
                    <a:pt x="152" y="594"/>
                  </a:lnTo>
                  <a:lnTo>
                    <a:pt x="152" y="596"/>
                  </a:lnTo>
                  <a:lnTo>
                    <a:pt x="150" y="598"/>
                  </a:lnTo>
                  <a:lnTo>
                    <a:pt x="150" y="600"/>
                  </a:lnTo>
                  <a:lnTo>
                    <a:pt x="146" y="600"/>
                  </a:lnTo>
                  <a:lnTo>
                    <a:pt x="144" y="602"/>
                  </a:lnTo>
                  <a:lnTo>
                    <a:pt x="140" y="602"/>
                  </a:lnTo>
                  <a:lnTo>
                    <a:pt x="134" y="602"/>
                  </a:lnTo>
                  <a:lnTo>
                    <a:pt x="128" y="602"/>
                  </a:lnTo>
                  <a:lnTo>
                    <a:pt x="116" y="602"/>
                  </a:lnTo>
                  <a:lnTo>
                    <a:pt x="110" y="604"/>
                  </a:lnTo>
                  <a:lnTo>
                    <a:pt x="106" y="604"/>
                  </a:lnTo>
                  <a:lnTo>
                    <a:pt x="100" y="606"/>
                  </a:lnTo>
                  <a:lnTo>
                    <a:pt x="96" y="608"/>
                  </a:lnTo>
                  <a:lnTo>
                    <a:pt x="94" y="608"/>
                  </a:lnTo>
                  <a:lnTo>
                    <a:pt x="90" y="610"/>
                  </a:lnTo>
                  <a:lnTo>
                    <a:pt x="88" y="612"/>
                  </a:lnTo>
                  <a:lnTo>
                    <a:pt x="86" y="612"/>
                  </a:lnTo>
                  <a:lnTo>
                    <a:pt x="76" y="616"/>
                  </a:lnTo>
                  <a:lnTo>
                    <a:pt x="72" y="616"/>
                  </a:lnTo>
                  <a:lnTo>
                    <a:pt x="66" y="616"/>
                  </a:lnTo>
                  <a:lnTo>
                    <a:pt x="60" y="616"/>
                  </a:lnTo>
                  <a:lnTo>
                    <a:pt x="54" y="616"/>
                  </a:lnTo>
                  <a:lnTo>
                    <a:pt x="46" y="614"/>
                  </a:lnTo>
                  <a:lnTo>
                    <a:pt x="40" y="614"/>
                  </a:lnTo>
                  <a:lnTo>
                    <a:pt x="32" y="616"/>
                  </a:lnTo>
                  <a:lnTo>
                    <a:pt x="28" y="616"/>
                  </a:lnTo>
                  <a:lnTo>
                    <a:pt x="28" y="616"/>
                  </a:lnTo>
                  <a:lnTo>
                    <a:pt x="28" y="616"/>
                  </a:lnTo>
                  <a:lnTo>
                    <a:pt x="22" y="618"/>
                  </a:lnTo>
                  <a:lnTo>
                    <a:pt x="16" y="620"/>
                  </a:lnTo>
                  <a:lnTo>
                    <a:pt x="12" y="622"/>
                  </a:lnTo>
                  <a:lnTo>
                    <a:pt x="8" y="624"/>
                  </a:lnTo>
                  <a:lnTo>
                    <a:pt x="4" y="628"/>
                  </a:lnTo>
                  <a:lnTo>
                    <a:pt x="2" y="630"/>
                  </a:lnTo>
                  <a:lnTo>
                    <a:pt x="0" y="632"/>
                  </a:lnTo>
                  <a:lnTo>
                    <a:pt x="0" y="632"/>
                  </a:lnTo>
                  <a:lnTo>
                    <a:pt x="0" y="632"/>
                  </a:lnTo>
                  <a:lnTo>
                    <a:pt x="0" y="634"/>
                  </a:lnTo>
                  <a:lnTo>
                    <a:pt x="0" y="634"/>
                  </a:lnTo>
                  <a:lnTo>
                    <a:pt x="0" y="636"/>
                  </a:lnTo>
                  <a:lnTo>
                    <a:pt x="0" y="636"/>
                  </a:lnTo>
                  <a:lnTo>
                    <a:pt x="2" y="638"/>
                  </a:lnTo>
                  <a:lnTo>
                    <a:pt x="2" y="638"/>
                  </a:lnTo>
                  <a:lnTo>
                    <a:pt x="2" y="638"/>
                  </a:lnTo>
                  <a:lnTo>
                    <a:pt x="2" y="638"/>
                  </a:lnTo>
                  <a:lnTo>
                    <a:pt x="4" y="638"/>
                  </a:lnTo>
                  <a:lnTo>
                    <a:pt x="6" y="636"/>
                  </a:lnTo>
                  <a:lnTo>
                    <a:pt x="10" y="636"/>
                  </a:lnTo>
                  <a:lnTo>
                    <a:pt x="14" y="634"/>
                  </a:lnTo>
                  <a:lnTo>
                    <a:pt x="18" y="632"/>
                  </a:lnTo>
                  <a:lnTo>
                    <a:pt x="24" y="632"/>
                  </a:lnTo>
                  <a:lnTo>
                    <a:pt x="28" y="630"/>
                  </a:lnTo>
                  <a:lnTo>
                    <a:pt x="32" y="630"/>
                  </a:lnTo>
                  <a:lnTo>
                    <a:pt x="40" y="628"/>
                  </a:lnTo>
                  <a:lnTo>
                    <a:pt x="48" y="626"/>
                  </a:lnTo>
                  <a:lnTo>
                    <a:pt x="58" y="626"/>
                  </a:lnTo>
                  <a:lnTo>
                    <a:pt x="66" y="624"/>
                  </a:lnTo>
                  <a:lnTo>
                    <a:pt x="72" y="622"/>
                  </a:lnTo>
                  <a:lnTo>
                    <a:pt x="78" y="622"/>
                  </a:lnTo>
                  <a:lnTo>
                    <a:pt x="84" y="620"/>
                  </a:lnTo>
                  <a:lnTo>
                    <a:pt x="88" y="620"/>
                  </a:lnTo>
                  <a:lnTo>
                    <a:pt x="90" y="618"/>
                  </a:lnTo>
                  <a:lnTo>
                    <a:pt x="100" y="616"/>
                  </a:lnTo>
                  <a:lnTo>
                    <a:pt x="110" y="614"/>
                  </a:lnTo>
                  <a:lnTo>
                    <a:pt x="116" y="614"/>
                  </a:lnTo>
                  <a:lnTo>
                    <a:pt x="122" y="612"/>
                  </a:lnTo>
                  <a:lnTo>
                    <a:pt x="134" y="612"/>
                  </a:lnTo>
                  <a:lnTo>
                    <a:pt x="140" y="612"/>
                  </a:lnTo>
                  <a:lnTo>
                    <a:pt x="146" y="612"/>
                  </a:lnTo>
                  <a:lnTo>
                    <a:pt x="152" y="612"/>
                  </a:lnTo>
                  <a:lnTo>
                    <a:pt x="156" y="612"/>
                  </a:lnTo>
                  <a:lnTo>
                    <a:pt x="160" y="610"/>
                  </a:lnTo>
                  <a:lnTo>
                    <a:pt x="160" y="610"/>
                  </a:lnTo>
                  <a:lnTo>
                    <a:pt x="160" y="610"/>
                  </a:lnTo>
                  <a:lnTo>
                    <a:pt x="164" y="610"/>
                  </a:lnTo>
                  <a:lnTo>
                    <a:pt x="164" y="610"/>
                  </a:lnTo>
                  <a:lnTo>
                    <a:pt x="164" y="608"/>
                  </a:lnTo>
                  <a:lnTo>
                    <a:pt x="168" y="608"/>
                  </a:lnTo>
                  <a:lnTo>
                    <a:pt x="170" y="606"/>
                  </a:lnTo>
                  <a:lnTo>
                    <a:pt x="174" y="602"/>
                  </a:lnTo>
                  <a:lnTo>
                    <a:pt x="176" y="600"/>
                  </a:lnTo>
                  <a:lnTo>
                    <a:pt x="176" y="600"/>
                  </a:lnTo>
                  <a:lnTo>
                    <a:pt x="176" y="600"/>
                  </a:lnTo>
                  <a:lnTo>
                    <a:pt x="178" y="600"/>
                  </a:lnTo>
                  <a:lnTo>
                    <a:pt x="180" y="600"/>
                  </a:lnTo>
                  <a:lnTo>
                    <a:pt x="182" y="600"/>
                  </a:lnTo>
                  <a:lnTo>
                    <a:pt x="184" y="602"/>
                  </a:lnTo>
                  <a:lnTo>
                    <a:pt x="184" y="602"/>
                  </a:lnTo>
                  <a:lnTo>
                    <a:pt x="184" y="602"/>
                  </a:lnTo>
                  <a:lnTo>
                    <a:pt x="186" y="602"/>
                  </a:lnTo>
                  <a:lnTo>
                    <a:pt x="186" y="602"/>
                  </a:lnTo>
                  <a:lnTo>
                    <a:pt x="186" y="602"/>
                  </a:lnTo>
                  <a:lnTo>
                    <a:pt x="188" y="602"/>
                  </a:lnTo>
                  <a:lnTo>
                    <a:pt x="188" y="602"/>
                  </a:lnTo>
                  <a:lnTo>
                    <a:pt x="190" y="600"/>
                  </a:lnTo>
                  <a:lnTo>
                    <a:pt x="192" y="600"/>
                  </a:lnTo>
                  <a:lnTo>
                    <a:pt x="192" y="600"/>
                  </a:lnTo>
                  <a:lnTo>
                    <a:pt x="192" y="600"/>
                  </a:lnTo>
                  <a:lnTo>
                    <a:pt x="194" y="596"/>
                  </a:lnTo>
                  <a:lnTo>
                    <a:pt x="194" y="596"/>
                  </a:lnTo>
                  <a:lnTo>
                    <a:pt x="194" y="596"/>
                  </a:lnTo>
                  <a:lnTo>
                    <a:pt x="196" y="594"/>
                  </a:lnTo>
                  <a:lnTo>
                    <a:pt x="198" y="590"/>
                  </a:lnTo>
                  <a:lnTo>
                    <a:pt x="200" y="586"/>
                  </a:lnTo>
                  <a:lnTo>
                    <a:pt x="204" y="582"/>
                  </a:lnTo>
                  <a:lnTo>
                    <a:pt x="206" y="578"/>
                  </a:lnTo>
                  <a:lnTo>
                    <a:pt x="210" y="574"/>
                  </a:lnTo>
                  <a:lnTo>
                    <a:pt x="216" y="570"/>
                  </a:lnTo>
                  <a:lnTo>
                    <a:pt x="218" y="568"/>
                  </a:lnTo>
                  <a:lnTo>
                    <a:pt x="222" y="566"/>
                  </a:lnTo>
                  <a:lnTo>
                    <a:pt x="230" y="562"/>
                  </a:lnTo>
                  <a:lnTo>
                    <a:pt x="238" y="558"/>
                  </a:lnTo>
                  <a:lnTo>
                    <a:pt x="248" y="554"/>
                  </a:lnTo>
                  <a:lnTo>
                    <a:pt x="258" y="548"/>
                  </a:lnTo>
                  <a:lnTo>
                    <a:pt x="268" y="544"/>
                  </a:lnTo>
                  <a:lnTo>
                    <a:pt x="278" y="540"/>
                  </a:lnTo>
                  <a:lnTo>
                    <a:pt x="286" y="534"/>
                  </a:lnTo>
                  <a:lnTo>
                    <a:pt x="302" y="526"/>
                  </a:lnTo>
                  <a:lnTo>
                    <a:pt x="316" y="518"/>
                  </a:lnTo>
                  <a:lnTo>
                    <a:pt x="330" y="510"/>
                  </a:lnTo>
                  <a:lnTo>
                    <a:pt x="338" y="504"/>
                  </a:lnTo>
                  <a:lnTo>
                    <a:pt x="344" y="500"/>
                  </a:lnTo>
                  <a:lnTo>
                    <a:pt x="350" y="494"/>
                  </a:lnTo>
                  <a:lnTo>
                    <a:pt x="356" y="486"/>
                  </a:lnTo>
                  <a:lnTo>
                    <a:pt x="362" y="478"/>
                  </a:lnTo>
                  <a:lnTo>
                    <a:pt x="368" y="472"/>
                  </a:lnTo>
                  <a:lnTo>
                    <a:pt x="374" y="464"/>
                  </a:lnTo>
                  <a:lnTo>
                    <a:pt x="378" y="458"/>
                  </a:lnTo>
                  <a:lnTo>
                    <a:pt x="382" y="452"/>
                  </a:lnTo>
                  <a:lnTo>
                    <a:pt x="384" y="450"/>
                  </a:lnTo>
                  <a:lnTo>
                    <a:pt x="384" y="448"/>
                  </a:lnTo>
                  <a:lnTo>
                    <a:pt x="386" y="446"/>
                  </a:lnTo>
                  <a:lnTo>
                    <a:pt x="386" y="446"/>
                  </a:lnTo>
                  <a:lnTo>
                    <a:pt x="386" y="444"/>
                  </a:lnTo>
                  <a:lnTo>
                    <a:pt x="386" y="444"/>
                  </a:lnTo>
                  <a:lnTo>
                    <a:pt x="386" y="444"/>
                  </a:lnTo>
                  <a:lnTo>
                    <a:pt x="386" y="442"/>
                  </a:lnTo>
                  <a:lnTo>
                    <a:pt x="386" y="442"/>
                  </a:lnTo>
                  <a:lnTo>
                    <a:pt x="386" y="442"/>
                  </a:lnTo>
                  <a:lnTo>
                    <a:pt x="386" y="440"/>
                  </a:lnTo>
                  <a:lnTo>
                    <a:pt x="384" y="440"/>
                  </a:lnTo>
                  <a:lnTo>
                    <a:pt x="384" y="440"/>
                  </a:lnTo>
                  <a:lnTo>
                    <a:pt x="390" y="440"/>
                  </a:lnTo>
                  <a:lnTo>
                    <a:pt x="396" y="440"/>
                  </a:lnTo>
                  <a:lnTo>
                    <a:pt x="398" y="440"/>
                  </a:lnTo>
                  <a:lnTo>
                    <a:pt x="400" y="440"/>
                  </a:lnTo>
                  <a:lnTo>
                    <a:pt x="402" y="440"/>
                  </a:lnTo>
                  <a:lnTo>
                    <a:pt x="404" y="440"/>
                  </a:lnTo>
                  <a:lnTo>
                    <a:pt x="404" y="440"/>
                  </a:lnTo>
                  <a:lnTo>
                    <a:pt x="402" y="442"/>
                  </a:lnTo>
                  <a:lnTo>
                    <a:pt x="400" y="444"/>
                  </a:lnTo>
                  <a:lnTo>
                    <a:pt x="398" y="446"/>
                  </a:lnTo>
                  <a:lnTo>
                    <a:pt x="396" y="450"/>
                  </a:lnTo>
                  <a:lnTo>
                    <a:pt x="394" y="452"/>
                  </a:lnTo>
                  <a:lnTo>
                    <a:pt x="388" y="458"/>
                  </a:lnTo>
                  <a:lnTo>
                    <a:pt x="380" y="464"/>
                  </a:lnTo>
                  <a:lnTo>
                    <a:pt x="378" y="468"/>
                  </a:lnTo>
                  <a:lnTo>
                    <a:pt x="376" y="470"/>
                  </a:lnTo>
                  <a:lnTo>
                    <a:pt x="374" y="472"/>
                  </a:lnTo>
                  <a:lnTo>
                    <a:pt x="372" y="474"/>
                  </a:lnTo>
                  <a:lnTo>
                    <a:pt x="370" y="474"/>
                  </a:lnTo>
                  <a:lnTo>
                    <a:pt x="370" y="474"/>
                  </a:lnTo>
                  <a:lnTo>
                    <a:pt x="370" y="476"/>
                  </a:lnTo>
                  <a:lnTo>
                    <a:pt x="370" y="476"/>
                  </a:lnTo>
                  <a:lnTo>
                    <a:pt x="370" y="476"/>
                  </a:lnTo>
                  <a:lnTo>
                    <a:pt x="370" y="478"/>
                  </a:lnTo>
                  <a:lnTo>
                    <a:pt x="370" y="478"/>
                  </a:lnTo>
                  <a:lnTo>
                    <a:pt x="372" y="480"/>
                  </a:lnTo>
                  <a:lnTo>
                    <a:pt x="372" y="480"/>
                  </a:lnTo>
                  <a:lnTo>
                    <a:pt x="372" y="480"/>
                  </a:lnTo>
                  <a:lnTo>
                    <a:pt x="374" y="480"/>
                  </a:lnTo>
                  <a:lnTo>
                    <a:pt x="374" y="480"/>
                  </a:lnTo>
                  <a:lnTo>
                    <a:pt x="376" y="478"/>
                  </a:lnTo>
                  <a:lnTo>
                    <a:pt x="378" y="478"/>
                  </a:lnTo>
                  <a:lnTo>
                    <a:pt x="380" y="476"/>
                  </a:lnTo>
                  <a:lnTo>
                    <a:pt x="382" y="474"/>
                  </a:lnTo>
                  <a:lnTo>
                    <a:pt x="388" y="470"/>
                  </a:lnTo>
                  <a:lnTo>
                    <a:pt x="394" y="464"/>
                  </a:lnTo>
                  <a:lnTo>
                    <a:pt x="400" y="460"/>
                  </a:lnTo>
                  <a:lnTo>
                    <a:pt x="406" y="456"/>
                  </a:lnTo>
                  <a:lnTo>
                    <a:pt x="408" y="454"/>
                  </a:lnTo>
                  <a:lnTo>
                    <a:pt x="410" y="452"/>
                  </a:lnTo>
                  <a:lnTo>
                    <a:pt x="418" y="446"/>
                  </a:lnTo>
                  <a:lnTo>
                    <a:pt x="424" y="442"/>
                  </a:lnTo>
                  <a:lnTo>
                    <a:pt x="430" y="438"/>
                  </a:lnTo>
                  <a:lnTo>
                    <a:pt x="436" y="432"/>
                  </a:lnTo>
                  <a:lnTo>
                    <a:pt x="442" y="428"/>
                  </a:lnTo>
                  <a:lnTo>
                    <a:pt x="448" y="424"/>
                  </a:lnTo>
                  <a:lnTo>
                    <a:pt x="454" y="422"/>
                  </a:lnTo>
                  <a:lnTo>
                    <a:pt x="456" y="420"/>
                  </a:lnTo>
                  <a:lnTo>
                    <a:pt x="456" y="420"/>
                  </a:lnTo>
                  <a:lnTo>
                    <a:pt x="458" y="420"/>
                  </a:lnTo>
                  <a:lnTo>
                    <a:pt x="458" y="420"/>
                  </a:lnTo>
                  <a:lnTo>
                    <a:pt x="460" y="422"/>
                  </a:lnTo>
                  <a:lnTo>
                    <a:pt x="460" y="422"/>
                  </a:lnTo>
                  <a:lnTo>
                    <a:pt x="460" y="422"/>
                  </a:lnTo>
                  <a:lnTo>
                    <a:pt x="462" y="422"/>
                  </a:lnTo>
                  <a:lnTo>
                    <a:pt x="462" y="422"/>
                  </a:lnTo>
                  <a:lnTo>
                    <a:pt x="462" y="424"/>
                  </a:lnTo>
                  <a:lnTo>
                    <a:pt x="464" y="424"/>
                  </a:lnTo>
                  <a:lnTo>
                    <a:pt x="464" y="424"/>
                  </a:lnTo>
                  <a:lnTo>
                    <a:pt x="468" y="424"/>
                  </a:lnTo>
                  <a:lnTo>
                    <a:pt x="472" y="424"/>
                  </a:lnTo>
                  <a:lnTo>
                    <a:pt x="474" y="422"/>
                  </a:lnTo>
                  <a:lnTo>
                    <a:pt x="474" y="422"/>
                  </a:lnTo>
                  <a:lnTo>
                    <a:pt x="476" y="422"/>
                  </a:lnTo>
                  <a:lnTo>
                    <a:pt x="478" y="422"/>
                  </a:lnTo>
                  <a:lnTo>
                    <a:pt x="478" y="422"/>
                  </a:lnTo>
                  <a:lnTo>
                    <a:pt x="478" y="422"/>
                  </a:lnTo>
                  <a:lnTo>
                    <a:pt x="480" y="420"/>
                  </a:lnTo>
                  <a:lnTo>
                    <a:pt x="482" y="420"/>
                  </a:lnTo>
                  <a:lnTo>
                    <a:pt x="484" y="418"/>
                  </a:lnTo>
                  <a:lnTo>
                    <a:pt x="488" y="414"/>
                  </a:lnTo>
                  <a:lnTo>
                    <a:pt x="492" y="410"/>
                  </a:lnTo>
                  <a:lnTo>
                    <a:pt x="492" y="408"/>
                  </a:lnTo>
                  <a:lnTo>
                    <a:pt x="494" y="406"/>
                  </a:lnTo>
                  <a:lnTo>
                    <a:pt x="494" y="406"/>
                  </a:lnTo>
                  <a:lnTo>
                    <a:pt x="496" y="406"/>
                  </a:lnTo>
                  <a:lnTo>
                    <a:pt x="496" y="406"/>
                  </a:lnTo>
                  <a:lnTo>
                    <a:pt x="496" y="406"/>
                  </a:lnTo>
                  <a:lnTo>
                    <a:pt x="498" y="406"/>
                  </a:lnTo>
                  <a:lnTo>
                    <a:pt x="500" y="404"/>
                  </a:lnTo>
                  <a:lnTo>
                    <a:pt x="502" y="404"/>
                  </a:lnTo>
                  <a:lnTo>
                    <a:pt x="506" y="402"/>
                  </a:lnTo>
                  <a:lnTo>
                    <a:pt x="510" y="400"/>
                  </a:lnTo>
                  <a:lnTo>
                    <a:pt x="512" y="400"/>
                  </a:lnTo>
                  <a:lnTo>
                    <a:pt x="512" y="400"/>
                  </a:lnTo>
                  <a:lnTo>
                    <a:pt x="512" y="400"/>
                  </a:lnTo>
                  <a:lnTo>
                    <a:pt x="512" y="404"/>
                  </a:lnTo>
                  <a:lnTo>
                    <a:pt x="510" y="408"/>
                  </a:lnTo>
                  <a:lnTo>
                    <a:pt x="510" y="410"/>
                  </a:lnTo>
                  <a:lnTo>
                    <a:pt x="510" y="414"/>
                  </a:lnTo>
                  <a:lnTo>
                    <a:pt x="510" y="414"/>
                  </a:lnTo>
                  <a:lnTo>
                    <a:pt x="510" y="414"/>
                  </a:lnTo>
                  <a:lnTo>
                    <a:pt x="510" y="418"/>
                  </a:lnTo>
                  <a:lnTo>
                    <a:pt x="510" y="418"/>
                  </a:lnTo>
                  <a:lnTo>
                    <a:pt x="510" y="418"/>
                  </a:lnTo>
                  <a:lnTo>
                    <a:pt x="512" y="420"/>
                  </a:lnTo>
                  <a:lnTo>
                    <a:pt x="512" y="420"/>
                  </a:lnTo>
                  <a:lnTo>
                    <a:pt x="514" y="422"/>
                  </a:lnTo>
                  <a:lnTo>
                    <a:pt x="516" y="422"/>
                  </a:lnTo>
                  <a:lnTo>
                    <a:pt x="516" y="422"/>
                  </a:lnTo>
                  <a:lnTo>
                    <a:pt x="516" y="422"/>
                  </a:lnTo>
                  <a:lnTo>
                    <a:pt x="518" y="422"/>
                  </a:lnTo>
                  <a:lnTo>
                    <a:pt x="520" y="422"/>
                  </a:lnTo>
                  <a:lnTo>
                    <a:pt x="522" y="422"/>
                  </a:lnTo>
                  <a:lnTo>
                    <a:pt x="526" y="420"/>
                  </a:lnTo>
                  <a:lnTo>
                    <a:pt x="532" y="418"/>
                  </a:lnTo>
                  <a:lnTo>
                    <a:pt x="536" y="418"/>
                  </a:lnTo>
                  <a:lnTo>
                    <a:pt x="538" y="418"/>
                  </a:lnTo>
                  <a:lnTo>
                    <a:pt x="540" y="418"/>
                  </a:lnTo>
                  <a:lnTo>
                    <a:pt x="542" y="418"/>
                  </a:lnTo>
                  <a:lnTo>
                    <a:pt x="546" y="420"/>
                  </a:lnTo>
                  <a:lnTo>
                    <a:pt x="548" y="422"/>
                  </a:lnTo>
                  <a:lnTo>
                    <a:pt x="550" y="422"/>
                  </a:lnTo>
                  <a:lnTo>
                    <a:pt x="550" y="422"/>
                  </a:lnTo>
                  <a:lnTo>
                    <a:pt x="550" y="422"/>
                  </a:lnTo>
                  <a:lnTo>
                    <a:pt x="552" y="424"/>
                  </a:lnTo>
                  <a:lnTo>
                    <a:pt x="552" y="424"/>
                  </a:lnTo>
                  <a:lnTo>
                    <a:pt x="552" y="424"/>
                  </a:lnTo>
                  <a:lnTo>
                    <a:pt x="554" y="424"/>
                  </a:lnTo>
                  <a:lnTo>
                    <a:pt x="554" y="424"/>
                  </a:lnTo>
                  <a:lnTo>
                    <a:pt x="556" y="422"/>
                  </a:lnTo>
                  <a:lnTo>
                    <a:pt x="560" y="422"/>
                  </a:lnTo>
                  <a:lnTo>
                    <a:pt x="560" y="422"/>
                  </a:lnTo>
                  <a:lnTo>
                    <a:pt x="560" y="424"/>
                  </a:lnTo>
                  <a:lnTo>
                    <a:pt x="560" y="426"/>
                  </a:lnTo>
                  <a:lnTo>
                    <a:pt x="560" y="428"/>
                  </a:lnTo>
                  <a:lnTo>
                    <a:pt x="560" y="430"/>
                  </a:lnTo>
                  <a:lnTo>
                    <a:pt x="560" y="430"/>
                  </a:lnTo>
                  <a:lnTo>
                    <a:pt x="560" y="430"/>
                  </a:lnTo>
                  <a:lnTo>
                    <a:pt x="560" y="434"/>
                  </a:lnTo>
                  <a:lnTo>
                    <a:pt x="564" y="436"/>
                  </a:lnTo>
                  <a:lnTo>
                    <a:pt x="568" y="438"/>
                  </a:lnTo>
                  <a:lnTo>
                    <a:pt x="576" y="444"/>
                  </a:lnTo>
                  <a:lnTo>
                    <a:pt x="578" y="448"/>
                  </a:lnTo>
                  <a:lnTo>
                    <a:pt x="582" y="452"/>
                  </a:lnTo>
                  <a:lnTo>
                    <a:pt x="584" y="456"/>
                  </a:lnTo>
                  <a:lnTo>
                    <a:pt x="586" y="458"/>
                  </a:lnTo>
                  <a:lnTo>
                    <a:pt x="586" y="458"/>
                  </a:lnTo>
                  <a:lnTo>
                    <a:pt x="588" y="460"/>
                  </a:lnTo>
                  <a:lnTo>
                    <a:pt x="590" y="462"/>
                  </a:lnTo>
                  <a:lnTo>
                    <a:pt x="590" y="462"/>
                  </a:lnTo>
                  <a:lnTo>
                    <a:pt x="592" y="464"/>
                  </a:lnTo>
                  <a:lnTo>
                    <a:pt x="594" y="466"/>
                  </a:lnTo>
                  <a:lnTo>
                    <a:pt x="594" y="466"/>
                  </a:lnTo>
                  <a:lnTo>
                    <a:pt x="598" y="466"/>
                  </a:lnTo>
                  <a:lnTo>
                    <a:pt x="600" y="466"/>
                  </a:lnTo>
                  <a:lnTo>
                    <a:pt x="600" y="466"/>
                  </a:lnTo>
                  <a:lnTo>
                    <a:pt x="600" y="466"/>
                  </a:lnTo>
                  <a:lnTo>
                    <a:pt x="598" y="468"/>
                  </a:lnTo>
                  <a:lnTo>
                    <a:pt x="598" y="470"/>
                  </a:lnTo>
                  <a:lnTo>
                    <a:pt x="598" y="470"/>
                  </a:lnTo>
                  <a:lnTo>
                    <a:pt x="598" y="470"/>
                  </a:lnTo>
                  <a:lnTo>
                    <a:pt x="598" y="474"/>
                  </a:lnTo>
                  <a:lnTo>
                    <a:pt x="600" y="478"/>
                  </a:lnTo>
                  <a:lnTo>
                    <a:pt x="600" y="478"/>
                  </a:lnTo>
                  <a:lnTo>
                    <a:pt x="602" y="478"/>
                  </a:lnTo>
                  <a:lnTo>
                    <a:pt x="602" y="480"/>
                  </a:lnTo>
                  <a:lnTo>
                    <a:pt x="604" y="482"/>
                  </a:lnTo>
                  <a:lnTo>
                    <a:pt x="606" y="486"/>
                  </a:lnTo>
                  <a:lnTo>
                    <a:pt x="606" y="486"/>
                  </a:lnTo>
                  <a:lnTo>
                    <a:pt x="606" y="486"/>
                  </a:lnTo>
                  <a:lnTo>
                    <a:pt x="610" y="490"/>
                  </a:lnTo>
                  <a:lnTo>
                    <a:pt x="612" y="494"/>
                  </a:lnTo>
                  <a:lnTo>
                    <a:pt x="614" y="498"/>
                  </a:lnTo>
                  <a:lnTo>
                    <a:pt x="614" y="502"/>
                  </a:lnTo>
                  <a:lnTo>
                    <a:pt x="614" y="502"/>
                  </a:lnTo>
                  <a:lnTo>
                    <a:pt x="614" y="504"/>
                  </a:lnTo>
                  <a:lnTo>
                    <a:pt x="614" y="504"/>
                  </a:lnTo>
                  <a:lnTo>
                    <a:pt x="614" y="504"/>
                  </a:lnTo>
                  <a:lnTo>
                    <a:pt x="616" y="508"/>
                  </a:lnTo>
                  <a:lnTo>
                    <a:pt x="618" y="508"/>
                  </a:lnTo>
                  <a:lnTo>
                    <a:pt x="618" y="508"/>
                  </a:lnTo>
                  <a:lnTo>
                    <a:pt x="618" y="508"/>
                  </a:lnTo>
                  <a:lnTo>
                    <a:pt x="618" y="510"/>
                  </a:lnTo>
                  <a:lnTo>
                    <a:pt x="618" y="510"/>
                  </a:lnTo>
                  <a:lnTo>
                    <a:pt x="620" y="510"/>
                  </a:lnTo>
                  <a:lnTo>
                    <a:pt x="620" y="510"/>
                  </a:lnTo>
                  <a:lnTo>
                    <a:pt x="620" y="510"/>
                  </a:lnTo>
                  <a:lnTo>
                    <a:pt x="622" y="510"/>
                  </a:lnTo>
                  <a:lnTo>
                    <a:pt x="622" y="510"/>
                  </a:lnTo>
                  <a:lnTo>
                    <a:pt x="622" y="510"/>
                  </a:lnTo>
                  <a:lnTo>
                    <a:pt x="624" y="510"/>
                  </a:lnTo>
                  <a:lnTo>
                    <a:pt x="624" y="510"/>
                  </a:lnTo>
                  <a:lnTo>
                    <a:pt x="624" y="510"/>
                  </a:lnTo>
                  <a:lnTo>
                    <a:pt x="626" y="508"/>
                  </a:lnTo>
                  <a:lnTo>
                    <a:pt x="626" y="508"/>
                  </a:lnTo>
                  <a:lnTo>
                    <a:pt x="626" y="508"/>
                  </a:lnTo>
                  <a:lnTo>
                    <a:pt x="626" y="506"/>
                  </a:lnTo>
                  <a:lnTo>
                    <a:pt x="628" y="504"/>
                  </a:lnTo>
                  <a:lnTo>
                    <a:pt x="628" y="504"/>
                  </a:lnTo>
                  <a:lnTo>
                    <a:pt x="628" y="502"/>
                  </a:lnTo>
                  <a:lnTo>
                    <a:pt x="628" y="500"/>
                  </a:lnTo>
                  <a:lnTo>
                    <a:pt x="628" y="500"/>
                  </a:lnTo>
                  <a:lnTo>
                    <a:pt x="628" y="498"/>
                  </a:lnTo>
                  <a:lnTo>
                    <a:pt x="626" y="496"/>
                  </a:lnTo>
                  <a:lnTo>
                    <a:pt x="626" y="494"/>
                  </a:lnTo>
                  <a:lnTo>
                    <a:pt x="624" y="492"/>
                  </a:lnTo>
                  <a:lnTo>
                    <a:pt x="624" y="490"/>
                  </a:lnTo>
                  <a:lnTo>
                    <a:pt x="626" y="490"/>
                  </a:lnTo>
                  <a:lnTo>
                    <a:pt x="626" y="490"/>
                  </a:lnTo>
                  <a:lnTo>
                    <a:pt x="628" y="490"/>
                  </a:lnTo>
                  <a:lnTo>
                    <a:pt x="630" y="490"/>
                  </a:lnTo>
                  <a:lnTo>
                    <a:pt x="630" y="490"/>
                  </a:lnTo>
                  <a:lnTo>
                    <a:pt x="630" y="488"/>
                  </a:lnTo>
                  <a:lnTo>
                    <a:pt x="632" y="486"/>
                  </a:lnTo>
                  <a:lnTo>
                    <a:pt x="632" y="486"/>
                  </a:lnTo>
                  <a:lnTo>
                    <a:pt x="632" y="484"/>
                  </a:lnTo>
                  <a:lnTo>
                    <a:pt x="632" y="482"/>
                  </a:lnTo>
                  <a:lnTo>
                    <a:pt x="632" y="482"/>
                  </a:lnTo>
                  <a:lnTo>
                    <a:pt x="632" y="482"/>
                  </a:lnTo>
                  <a:lnTo>
                    <a:pt x="632" y="480"/>
                  </a:lnTo>
                  <a:lnTo>
                    <a:pt x="630" y="478"/>
                  </a:lnTo>
                  <a:lnTo>
                    <a:pt x="630" y="474"/>
                  </a:lnTo>
                  <a:lnTo>
                    <a:pt x="630" y="472"/>
                  </a:lnTo>
                  <a:lnTo>
                    <a:pt x="630" y="470"/>
                  </a:lnTo>
                  <a:lnTo>
                    <a:pt x="630" y="472"/>
                  </a:lnTo>
                  <a:lnTo>
                    <a:pt x="632" y="472"/>
                  </a:lnTo>
                  <a:lnTo>
                    <a:pt x="634" y="476"/>
                  </a:lnTo>
                  <a:lnTo>
                    <a:pt x="634" y="482"/>
                  </a:lnTo>
                  <a:lnTo>
                    <a:pt x="636" y="488"/>
                  </a:lnTo>
                  <a:lnTo>
                    <a:pt x="636" y="488"/>
                  </a:lnTo>
                  <a:lnTo>
                    <a:pt x="638" y="490"/>
                  </a:lnTo>
                  <a:lnTo>
                    <a:pt x="640" y="490"/>
                  </a:lnTo>
                  <a:lnTo>
                    <a:pt x="644" y="492"/>
                  </a:lnTo>
                  <a:lnTo>
                    <a:pt x="644" y="494"/>
                  </a:lnTo>
                  <a:lnTo>
                    <a:pt x="644" y="494"/>
                  </a:lnTo>
                  <a:lnTo>
                    <a:pt x="644" y="492"/>
                  </a:lnTo>
                  <a:lnTo>
                    <a:pt x="640" y="492"/>
                  </a:lnTo>
                  <a:lnTo>
                    <a:pt x="638" y="492"/>
                  </a:lnTo>
                  <a:lnTo>
                    <a:pt x="638" y="492"/>
                  </a:lnTo>
                  <a:lnTo>
                    <a:pt x="638" y="492"/>
                  </a:lnTo>
                  <a:lnTo>
                    <a:pt x="634" y="492"/>
                  </a:lnTo>
                  <a:lnTo>
                    <a:pt x="634" y="492"/>
                  </a:lnTo>
                  <a:lnTo>
                    <a:pt x="634" y="492"/>
                  </a:lnTo>
                  <a:lnTo>
                    <a:pt x="632" y="492"/>
                  </a:lnTo>
                  <a:lnTo>
                    <a:pt x="632" y="492"/>
                  </a:lnTo>
                  <a:lnTo>
                    <a:pt x="632" y="492"/>
                  </a:lnTo>
                  <a:lnTo>
                    <a:pt x="630" y="494"/>
                  </a:lnTo>
                  <a:lnTo>
                    <a:pt x="630" y="494"/>
                  </a:lnTo>
                  <a:lnTo>
                    <a:pt x="630" y="494"/>
                  </a:lnTo>
                  <a:lnTo>
                    <a:pt x="628" y="496"/>
                  </a:lnTo>
                  <a:lnTo>
                    <a:pt x="628" y="496"/>
                  </a:lnTo>
                  <a:lnTo>
                    <a:pt x="628" y="496"/>
                  </a:lnTo>
                  <a:lnTo>
                    <a:pt x="628" y="498"/>
                  </a:lnTo>
                  <a:lnTo>
                    <a:pt x="628" y="498"/>
                  </a:lnTo>
                  <a:lnTo>
                    <a:pt x="628" y="498"/>
                  </a:lnTo>
                  <a:lnTo>
                    <a:pt x="628" y="500"/>
                  </a:lnTo>
                  <a:lnTo>
                    <a:pt x="630" y="504"/>
                  </a:lnTo>
                  <a:lnTo>
                    <a:pt x="630" y="504"/>
                  </a:lnTo>
                  <a:lnTo>
                    <a:pt x="632" y="506"/>
                  </a:lnTo>
                  <a:lnTo>
                    <a:pt x="632" y="506"/>
                  </a:lnTo>
                  <a:lnTo>
                    <a:pt x="634" y="506"/>
                  </a:lnTo>
                  <a:lnTo>
                    <a:pt x="634" y="508"/>
                  </a:lnTo>
                  <a:lnTo>
                    <a:pt x="636" y="508"/>
                  </a:lnTo>
                  <a:lnTo>
                    <a:pt x="640" y="508"/>
                  </a:lnTo>
                  <a:lnTo>
                    <a:pt x="642" y="510"/>
                  </a:lnTo>
                  <a:lnTo>
                    <a:pt x="642" y="510"/>
                  </a:lnTo>
                  <a:lnTo>
                    <a:pt x="644" y="510"/>
                  </a:lnTo>
                  <a:lnTo>
                    <a:pt x="644" y="510"/>
                  </a:lnTo>
                  <a:lnTo>
                    <a:pt x="644" y="510"/>
                  </a:lnTo>
                  <a:lnTo>
                    <a:pt x="644" y="510"/>
                  </a:lnTo>
                  <a:lnTo>
                    <a:pt x="644" y="512"/>
                  </a:lnTo>
                  <a:lnTo>
                    <a:pt x="644" y="512"/>
                  </a:lnTo>
                  <a:lnTo>
                    <a:pt x="644" y="512"/>
                  </a:lnTo>
                  <a:lnTo>
                    <a:pt x="646" y="512"/>
                  </a:lnTo>
                  <a:lnTo>
                    <a:pt x="644" y="512"/>
                  </a:lnTo>
                  <a:lnTo>
                    <a:pt x="644" y="512"/>
                  </a:lnTo>
                  <a:lnTo>
                    <a:pt x="642" y="512"/>
                  </a:lnTo>
                  <a:lnTo>
                    <a:pt x="642" y="512"/>
                  </a:lnTo>
                  <a:lnTo>
                    <a:pt x="640" y="514"/>
                  </a:lnTo>
                  <a:lnTo>
                    <a:pt x="640" y="518"/>
                  </a:lnTo>
                  <a:lnTo>
                    <a:pt x="640" y="520"/>
                  </a:lnTo>
                  <a:lnTo>
                    <a:pt x="640" y="522"/>
                  </a:lnTo>
                  <a:lnTo>
                    <a:pt x="640" y="524"/>
                  </a:lnTo>
                  <a:lnTo>
                    <a:pt x="640" y="528"/>
                  </a:lnTo>
                  <a:lnTo>
                    <a:pt x="640" y="530"/>
                  </a:lnTo>
                  <a:lnTo>
                    <a:pt x="640" y="530"/>
                  </a:lnTo>
                  <a:lnTo>
                    <a:pt x="640" y="532"/>
                  </a:lnTo>
                  <a:lnTo>
                    <a:pt x="640" y="534"/>
                  </a:lnTo>
                  <a:lnTo>
                    <a:pt x="640" y="536"/>
                  </a:lnTo>
                  <a:lnTo>
                    <a:pt x="640" y="538"/>
                  </a:lnTo>
                  <a:lnTo>
                    <a:pt x="642" y="540"/>
                  </a:lnTo>
                  <a:lnTo>
                    <a:pt x="642" y="540"/>
                  </a:lnTo>
                  <a:lnTo>
                    <a:pt x="642" y="542"/>
                  </a:lnTo>
                  <a:lnTo>
                    <a:pt x="644" y="544"/>
                  </a:lnTo>
                  <a:lnTo>
                    <a:pt x="644" y="544"/>
                  </a:lnTo>
                  <a:lnTo>
                    <a:pt x="644" y="544"/>
                  </a:lnTo>
                  <a:lnTo>
                    <a:pt x="646" y="546"/>
                  </a:lnTo>
                  <a:lnTo>
                    <a:pt x="646" y="546"/>
                  </a:lnTo>
                  <a:lnTo>
                    <a:pt x="646" y="546"/>
                  </a:lnTo>
                  <a:lnTo>
                    <a:pt x="648" y="548"/>
                  </a:lnTo>
                  <a:lnTo>
                    <a:pt x="648" y="548"/>
                  </a:lnTo>
                  <a:lnTo>
                    <a:pt x="648" y="548"/>
                  </a:lnTo>
                  <a:lnTo>
                    <a:pt x="650" y="548"/>
                  </a:lnTo>
                  <a:lnTo>
                    <a:pt x="650" y="548"/>
                  </a:lnTo>
                  <a:lnTo>
                    <a:pt x="652" y="548"/>
                  </a:lnTo>
                  <a:lnTo>
                    <a:pt x="654" y="546"/>
                  </a:lnTo>
                  <a:lnTo>
                    <a:pt x="656" y="546"/>
                  </a:lnTo>
                  <a:lnTo>
                    <a:pt x="656" y="546"/>
                  </a:lnTo>
                  <a:lnTo>
                    <a:pt x="658" y="544"/>
                  </a:lnTo>
                  <a:lnTo>
                    <a:pt x="662" y="542"/>
                  </a:lnTo>
                  <a:lnTo>
                    <a:pt x="664" y="542"/>
                  </a:lnTo>
                  <a:lnTo>
                    <a:pt x="666" y="540"/>
                  </a:lnTo>
                  <a:lnTo>
                    <a:pt x="668" y="540"/>
                  </a:lnTo>
                  <a:lnTo>
                    <a:pt x="668" y="540"/>
                  </a:lnTo>
                  <a:lnTo>
                    <a:pt x="670" y="542"/>
                  </a:lnTo>
                  <a:lnTo>
                    <a:pt x="672" y="542"/>
                  </a:lnTo>
                  <a:lnTo>
                    <a:pt x="672" y="542"/>
                  </a:lnTo>
                  <a:lnTo>
                    <a:pt x="674" y="542"/>
                  </a:lnTo>
                  <a:lnTo>
                    <a:pt x="674" y="542"/>
                  </a:lnTo>
                  <a:lnTo>
                    <a:pt x="674" y="542"/>
                  </a:lnTo>
                  <a:lnTo>
                    <a:pt x="676" y="542"/>
                  </a:lnTo>
                  <a:lnTo>
                    <a:pt x="678" y="544"/>
                  </a:lnTo>
                  <a:lnTo>
                    <a:pt x="678" y="544"/>
                  </a:lnTo>
                  <a:lnTo>
                    <a:pt x="678" y="544"/>
                  </a:lnTo>
                  <a:lnTo>
                    <a:pt x="680" y="546"/>
                  </a:lnTo>
                  <a:lnTo>
                    <a:pt x="680" y="546"/>
                  </a:lnTo>
                  <a:lnTo>
                    <a:pt x="682" y="546"/>
                  </a:lnTo>
                  <a:lnTo>
                    <a:pt x="682" y="546"/>
                  </a:lnTo>
                  <a:lnTo>
                    <a:pt x="682" y="546"/>
                  </a:lnTo>
                  <a:lnTo>
                    <a:pt x="684" y="544"/>
                  </a:lnTo>
                  <a:lnTo>
                    <a:pt x="686" y="544"/>
                  </a:lnTo>
                  <a:lnTo>
                    <a:pt x="686" y="544"/>
                  </a:lnTo>
                  <a:lnTo>
                    <a:pt x="686" y="542"/>
                  </a:lnTo>
                  <a:lnTo>
                    <a:pt x="686" y="540"/>
                  </a:lnTo>
                  <a:lnTo>
                    <a:pt x="688" y="538"/>
                  </a:lnTo>
                  <a:lnTo>
                    <a:pt x="688" y="534"/>
                  </a:lnTo>
                  <a:lnTo>
                    <a:pt x="688" y="530"/>
                  </a:lnTo>
                  <a:lnTo>
                    <a:pt x="688" y="524"/>
                  </a:lnTo>
                  <a:lnTo>
                    <a:pt x="688" y="520"/>
                  </a:lnTo>
                  <a:lnTo>
                    <a:pt x="688" y="520"/>
                  </a:lnTo>
                  <a:lnTo>
                    <a:pt x="688" y="520"/>
                  </a:lnTo>
                  <a:lnTo>
                    <a:pt x="688" y="518"/>
                  </a:lnTo>
                  <a:lnTo>
                    <a:pt x="688" y="518"/>
                  </a:lnTo>
                  <a:lnTo>
                    <a:pt x="688" y="518"/>
                  </a:lnTo>
                  <a:lnTo>
                    <a:pt x="688" y="518"/>
                  </a:lnTo>
                  <a:close/>
                  <a:moveTo>
                    <a:pt x="294" y="54"/>
                  </a:moveTo>
                  <a:lnTo>
                    <a:pt x="294" y="54"/>
                  </a:lnTo>
                  <a:lnTo>
                    <a:pt x="294" y="54"/>
                  </a:lnTo>
                  <a:lnTo>
                    <a:pt x="294" y="54"/>
                  </a:lnTo>
                  <a:close/>
                  <a:moveTo>
                    <a:pt x="606" y="460"/>
                  </a:moveTo>
                  <a:lnTo>
                    <a:pt x="604" y="462"/>
                  </a:lnTo>
                  <a:lnTo>
                    <a:pt x="604" y="462"/>
                  </a:lnTo>
                  <a:lnTo>
                    <a:pt x="604" y="462"/>
                  </a:lnTo>
                  <a:lnTo>
                    <a:pt x="604" y="462"/>
                  </a:lnTo>
                  <a:lnTo>
                    <a:pt x="604" y="460"/>
                  </a:lnTo>
                  <a:lnTo>
                    <a:pt x="604" y="458"/>
                  </a:lnTo>
                  <a:lnTo>
                    <a:pt x="604" y="458"/>
                  </a:lnTo>
                  <a:lnTo>
                    <a:pt x="606" y="458"/>
                  </a:lnTo>
                  <a:lnTo>
                    <a:pt x="608" y="460"/>
                  </a:lnTo>
                  <a:lnTo>
                    <a:pt x="606" y="460"/>
                  </a:lnTo>
                  <a:close/>
                  <a:moveTo>
                    <a:pt x="654" y="516"/>
                  </a:moveTo>
                  <a:lnTo>
                    <a:pt x="654" y="516"/>
                  </a:lnTo>
                  <a:lnTo>
                    <a:pt x="652" y="516"/>
                  </a:lnTo>
                  <a:lnTo>
                    <a:pt x="650" y="514"/>
                  </a:lnTo>
                  <a:lnTo>
                    <a:pt x="648" y="514"/>
                  </a:lnTo>
                  <a:lnTo>
                    <a:pt x="648" y="514"/>
                  </a:lnTo>
                  <a:lnTo>
                    <a:pt x="648" y="514"/>
                  </a:lnTo>
                  <a:lnTo>
                    <a:pt x="650" y="514"/>
                  </a:lnTo>
                  <a:lnTo>
                    <a:pt x="650" y="514"/>
                  </a:lnTo>
                  <a:lnTo>
                    <a:pt x="650" y="514"/>
                  </a:lnTo>
                  <a:lnTo>
                    <a:pt x="650" y="514"/>
                  </a:lnTo>
                  <a:lnTo>
                    <a:pt x="652" y="514"/>
                  </a:lnTo>
                  <a:lnTo>
                    <a:pt x="654" y="516"/>
                  </a:lnTo>
                  <a:lnTo>
                    <a:pt x="654" y="516"/>
                  </a:lnTo>
                  <a:lnTo>
                    <a:pt x="654" y="51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199" name="Freeform 24"/>
            <p:cNvSpPr>
              <a:spLocks noEditPoints="1"/>
            </p:cNvSpPr>
            <p:nvPr/>
          </p:nvSpPr>
          <p:spPr bwMode="auto">
            <a:xfrm>
              <a:off x="3029669" y="1015779"/>
              <a:ext cx="2463511" cy="1515396"/>
            </a:xfrm>
            <a:custGeom>
              <a:avLst/>
              <a:gdLst>
                <a:gd name="T0" fmla="*/ 2444 w 2484"/>
                <a:gd name="T1" fmla="*/ 988 h 1528"/>
                <a:gd name="T2" fmla="*/ 552 w 2484"/>
                <a:gd name="T3" fmla="*/ 472 h 1528"/>
                <a:gd name="T4" fmla="*/ 468 w 2484"/>
                <a:gd name="T5" fmla="*/ 626 h 1528"/>
                <a:gd name="T6" fmla="*/ 528 w 2484"/>
                <a:gd name="T7" fmla="*/ 660 h 1528"/>
                <a:gd name="T8" fmla="*/ 678 w 2484"/>
                <a:gd name="T9" fmla="*/ 392 h 1528"/>
                <a:gd name="T10" fmla="*/ 470 w 2484"/>
                <a:gd name="T11" fmla="*/ 106 h 1528"/>
                <a:gd name="T12" fmla="*/ 616 w 2484"/>
                <a:gd name="T13" fmla="*/ 26 h 1528"/>
                <a:gd name="T14" fmla="*/ 508 w 2484"/>
                <a:gd name="T15" fmla="*/ 144 h 1528"/>
                <a:gd name="T16" fmla="*/ 550 w 2484"/>
                <a:gd name="T17" fmla="*/ 130 h 1528"/>
                <a:gd name="T18" fmla="*/ 654 w 2484"/>
                <a:gd name="T19" fmla="*/ 68 h 1528"/>
                <a:gd name="T20" fmla="*/ 574 w 2484"/>
                <a:gd name="T21" fmla="*/ 180 h 1528"/>
                <a:gd name="T22" fmla="*/ 558 w 2484"/>
                <a:gd name="T23" fmla="*/ 66 h 1528"/>
                <a:gd name="T24" fmla="*/ 528 w 2484"/>
                <a:gd name="T25" fmla="*/ 92 h 1528"/>
                <a:gd name="T26" fmla="*/ 2396 w 2484"/>
                <a:gd name="T27" fmla="*/ 852 h 1528"/>
                <a:gd name="T28" fmla="*/ 2158 w 2484"/>
                <a:gd name="T29" fmla="*/ 744 h 1528"/>
                <a:gd name="T30" fmla="*/ 2002 w 2484"/>
                <a:gd name="T31" fmla="*/ 698 h 1528"/>
                <a:gd name="T32" fmla="*/ 1734 w 2484"/>
                <a:gd name="T33" fmla="*/ 636 h 1528"/>
                <a:gd name="T34" fmla="*/ 1596 w 2484"/>
                <a:gd name="T35" fmla="*/ 688 h 1528"/>
                <a:gd name="T36" fmla="*/ 1458 w 2484"/>
                <a:gd name="T37" fmla="*/ 600 h 1528"/>
                <a:gd name="T38" fmla="*/ 1336 w 2484"/>
                <a:gd name="T39" fmla="*/ 548 h 1528"/>
                <a:gd name="T40" fmla="*/ 1268 w 2484"/>
                <a:gd name="T41" fmla="*/ 586 h 1528"/>
                <a:gd name="T42" fmla="*/ 1290 w 2484"/>
                <a:gd name="T43" fmla="*/ 402 h 1528"/>
                <a:gd name="T44" fmla="*/ 1182 w 2484"/>
                <a:gd name="T45" fmla="*/ 412 h 1528"/>
                <a:gd name="T46" fmla="*/ 994 w 2484"/>
                <a:gd name="T47" fmla="*/ 494 h 1528"/>
                <a:gd name="T48" fmla="*/ 890 w 2484"/>
                <a:gd name="T49" fmla="*/ 638 h 1528"/>
                <a:gd name="T50" fmla="*/ 818 w 2484"/>
                <a:gd name="T51" fmla="*/ 626 h 1528"/>
                <a:gd name="T52" fmla="*/ 748 w 2484"/>
                <a:gd name="T53" fmla="*/ 622 h 1528"/>
                <a:gd name="T54" fmla="*/ 572 w 2484"/>
                <a:gd name="T55" fmla="*/ 734 h 1528"/>
                <a:gd name="T56" fmla="*/ 450 w 2484"/>
                <a:gd name="T57" fmla="*/ 812 h 1528"/>
                <a:gd name="T58" fmla="*/ 346 w 2484"/>
                <a:gd name="T59" fmla="*/ 856 h 1528"/>
                <a:gd name="T60" fmla="*/ 266 w 2484"/>
                <a:gd name="T61" fmla="*/ 968 h 1528"/>
                <a:gd name="T62" fmla="*/ 286 w 2484"/>
                <a:gd name="T63" fmla="*/ 820 h 1528"/>
                <a:gd name="T64" fmla="*/ 158 w 2484"/>
                <a:gd name="T65" fmla="*/ 990 h 1528"/>
                <a:gd name="T66" fmla="*/ 128 w 2484"/>
                <a:gd name="T67" fmla="*/ 1168 h 1528"/>
                <a:gd name="T68" fmla="*/ 268 w 2484"/>
                <a:gd name="T69" fmla="*/ 1342 h 1528"/>
                <a:gd name="T70" fmla="*/ 368 w 2484"/>
                <a:gd name="T71" fmla="*/ 1500 h 1528"/>
                <a:gd name="T72" fmla="*/ 390 w 2484"/>
                <a:gd name="T73" fmla="*/ 1374 h 1528"/>
                <a:gd name="T74" fmla="*/ 604 w 2484"/>
                <a:gd name="T75" fmla="*/ 1324 h 1528"/>
                <a:gd name="T76" fmla="*/ 788 w 2484"/>
                <a:gd name="T77" fmla="*/ 1264 h 1528"/>
                <a:gd name="T78" fmla="*/ 1014 w 2484"/>
                <a:gd name="T79" fmla="*/ 1356 h 1528"/>
                <a:gd name="T80" fmla="*/ 1278 w 2484"/>
                <a:gd name="T81" fmla="*/ 1360 h 1528"/>
                <a:gd name="T82" fmla="*/ 1578 w 2484"/>
                <a:gd name="T83" fmla="*/ 1356 h 1528"/>
                <a:gd name="T84" fmla="*/ 1702 w 2484"/>
                <a:gd name="T85" fmla="*/ 1454 h 1528"/>
                <a:gd name="T86" fmla="*/ 1724 w 2484"/>
                <a:gd name="T87" fmla="*/ 1190 h 1528"/>
                <a:gd name="T88" fmla="*/ 1880 w 2484"/>
                <a:gd name="T89" fmla="*/ 1106 h 1528"/>
                <a:gd name="T90" fmla="*/ 2054 w 2484"/>
                <a:gd name="T91" fmla="*/ 1068 h 1528"/>
                <a:gd name="T92" fmla="*/ 1974 w 2484"/>
                <a:gd name="T93" fmla="*/ 1284 h 1528"/>
                <a:gd name="T94" fmla="*/ 2084 w 2484"/>
                <a:gd name="T95" fmla="*/ 1208 h 1528"/>
                <a:gd name="T96" fmla="*/ 2118 w 2484"/>
                <a:gd name="T97" fmla="*/ 1092 h 1528"/>
                <a:gd name="T98" fmla="*/ 2320 w 2484"/>
                <a:gd name="T99" fmla="*/ 998 h 1528"/>
                <a:gd name="T100" fmla="*/ 2390 w 2484"/>
                <a:gd name="T101" fmla="*/ 950 h 1528"/>
                <a:gd name="T102" fmla="*/ 1682 w 2484"/>
                <a:gd name="T103" fmla="*/ 494 h 1528"/>
                <a:gd name="T104" fmla="*/ 2332 w 2484"/>
                <a:gd name="T105" fmla="*/ 712 h 1528"/>
                <a:gd name="T106" fmla="*/ 1772 w 2484"/>
                <a:gd name="T107" fmla="*/ 518 h 1528"/>
                <a:gd name="T108" fmla="*/ 1746 w 2484"/>
                <a:gd name="T109" fmla="*/ 450 h 1528"/>
                <a:gd name="T110" fmla="*/ 1872 w 2484"/>
                <a:gd name="T111" fmla="*/ 490 h 1528"/>
                <a:gd name="T112" fmla="*/ 1784 w 2484"/>
                <a:gd name="T113" fmla="*/ 564 h 1528"/>
                <a:gd name="T114" fmla="*/ 1056 w 2484"/>
                <a:gd name="T115" fmla="*/ 158 h 1528"/>
                <a:gd name="T116" fmla="*/ 1126 w 2484"/>
                <a:gd name="T117" fmla="*/ 260 h 1528"/>
                <a:gd name="T118" fmla="*/ 1116 w 2484"/>
                <a:gd name="T119" fmla="*/ 68 h 1528"/>
                <a:gd name="T120" fmla="*/ 1172 w 2484"/>
                <a:gd name="T121" fmla="*/ 328 h 1528"/>
                <a:gd name="T122" fmla="*/ 1254 w 2484"/>
                <a:gd name="T123" fmla="*/ 310 h 1528"/>
                <a:gd name="T124" fmla="*/ 1106 w 2484"/>
                <a:gd name="T125" fmla="*/ 380 h 1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84" h="1528">
                  <a:moveTo>
                    <a:pt x="52" y="1234"/>
                  </a:moveTo>
                  <a:lnTo>
                    <a:pt x="50" y="1230"/>
                  </a:lnTo>
                  <a:lnTo>
                    <a:pt x="50" y="1230"/>
                  </a:lnTo>
                  <a:lnTo>
                    <a:pt x="50" y="1230"/>
                  </a:lnTo>
                  <a:lnTo>
                    <a:pt x="50" y="1226"/>
                  </a:lnTo>
                  <a:lnTo>
                    <a:pt x="50" y="1226"/>
                  </a:lnTo>
                  <a:lnTo>
                    <a:pt x="48" y="1226"/>
                  </a:lnTo>
                  <a:lnTo>
                    <a:pt x="46" y="1222"/>
                  </a:lnTo>
                  <a:lnTo>
                    <a:pt x="46" y="1222"/>
                  </a:lnTo>
                  <a:lnTo>
                    <a:pt x="46" y="1222"/>
                  </a:lnTo>
                  <a:lnTo>
                    <a:pt x="42" y="1220"/>
                  </a:lnTo>
                  <a:lnTo>
                    <a:pt x="42" y="1220"/>
                  </a:lnTo>
                  <a:lnTo>
                    <a:pt x="42" y="1220"/>
                  </a:lnTo>
                  <a:lnTo>
                    <a:pt x="38" y="1220"/>
                  </a:lnTo>
                  <a:lnTo>
                    <a:pt x="32" y="1218"/>
                  </a:lnTo>
                  <a:lnTo>
                    <a:pt x="26" y="1218"/>
                  </a:lnTo>
                  <a:lnTo>
                    <a:pt x="26" y="1218"/>
                  </a:lnTo>
                  <a:lnTo>
                    <a:pt x="24" y="1218"/>
                  </a:lnTo>
                  <a:lnTo>
                    <a:pt x="20" y="1218"/>
                  </a:lnTo>
                  <a:lnTo>
                    <a:pt x="16" y="1222"/>
                  </a:lnTo>
                  <a:lnTo>
                    <a:pt x="12" y="1224"/>
                  </a:lnTo>
                  <a:lnTo>
                    <a:pt x="8" y="1226"/>
                  </a:lnTo>
                  <a:lnTo>
                    <a:pt x="4" y="1230"/>
                  </a:lnTo>
                  <a:lnTo>
                    <a:pt x="4" y="1230"/>
                  </a:lnTo>
                  <a:lnTo>
                    <a:pt x="4" y="1230"/>
                  </a:lnTo>
                  <a:lnTo>
                    <a:pt x="2" y="1232"/>
                  </a:lnTo>
                  <a:lnTo>
                    <a:pt x="2" y="1232"/>
                  </a:lnTo>
                  <a:lnTo>
                    <a:pt x="2" y="1232"/>
                  </a:lnTo>
                  <a:lnTo>
                    <a:pt x="0" y="1232"/>
                  </a:lnTo>
                  <a:lnTo>
                    <a:pt x="0" y="1234"/>
                  </a:lnTo>
                  <a:lnTo>
                    <a:pt x="0" y="1234"/>
                  </a:lnTo>
                  <a:lnTo>
                    <a:pt x="0" y="1236"/>
                  </a:lnTo>
                  <a:lnTo>
                    <a:pt x="0" y="1236"/>
                  </a:lnTo>
                  <a:lnTo>
                    <a:pt x="0" y="1236"/>
                  </a:lnTo>
                  <a:lnTo>
                    <a:pt x="2" y="1238"/>
                  </a:lnTo>
                  <a:lnTo>
                    <a:pt x="2" y="1238"/>
                  </a:lnTo>
                  <a:lnTo>
                    <a:pt x="2" y="1238"/>
                  </a:lnTo>
                  <a:lnTo>
                    <a:pt x="2" y="1240"/>
                  </a:lnTo>
                  <a:lnTo>
                    <a:pt x="4" y="1240"/>
                  </a:lnTo>
                  <a:lnTo>
                    <a:pt x="4" y="1240"/>
                  </a:lnTo>
                  <a:lnTo>
                    <a:pt x="4" y="1240"/>
                  </a:lnTo>
                  <a:lnTo>
                    <a:pt x="10" y="1242"/>
                  </a:lnTo>
                  <a:lnTo>
                    <a:pt x="16" y="1242"/>
                  </a:lnTo>
                  <a:lnTo>
                    <a:pt x="26" y="1242"/>
                  </a:lnTo>
                  <a:lnTo>
                    <a:pt x="38" y="1242"/>
                  </a:lnTo>
                  <a:lnTo>
                    <a:pt x="50" y="1244"/>
                  </a:lnTo>
                  <a:lnTo>
                    <a:pt x="50" y="1244"/>
                  </a:lnTo>
                  <a:lnTo>
                    <a:pt x="52" y="1242"/>
                  </a:lnTo>
                  <a:lnTo>
                    <a:pt x="52" y="1242"/>
                  </a:lnTo>
                  <a:lnTo>
                    <a:pt x="52" y="1240"/>
                  </a:lnTo>
                  <a:lnTo>
                    <a:pt x="52" y="1236"/>
                  </a:lnTo>
                  <a:lnTo>
                    <a:pt x="52" y="1234"/>
                  </a:lnTo>
                  <a:close/>
                  <a:moveTo>
                    <a:pt x="2482" y="982"/>
                  </a:moveTo>
                  <a:lnTo>
                    <a:pt x="2480" y="982"/>
                  </a:lnTo>
                  <a:lnTo>
                    <a:pt x="2480" y="982"/>
                  </a:lnTo>
                  <a:lnTo>
                    <a:pt x="2478" y="980"/>
                  </a:lnTo>
                  <a:lnTo>
                    <a:pt x="2478" y="982"/>
                  </a:lnTo>
                  <a:lnTo>
                    <a:pt x="2476" y="980"/>
                  </a:lnTo>
                  <a:lnTo>
                    <a:pt x="2476" y="978"/>
                  </a:lnTo>
                  <a:lnTo>
                    <a:pt x="2476" y="978"/>
                  </a:lnTo>
                  <a:lnTo>
                    <a:pt x="2474" y="978"/>
                  </a:lnTo>
                  <a:lnTo>
                    <a:pt x="2472" y="978"/>
                  </a:lnTo>
                  <a:lnTo>
                    <a:pt x="2470" y="978"/>
                  </a:lnTo>
                  <a:lnTo>
                    <a:pt x="2466" y="976"/>
                  </a:lnTo>
                  <a:lnTo>
                    <a:pt x="2462" y="976"/>
                  </a:lnTo>
                  <a:lnTo>
                    <a:pt x="2458" y="976"/>
                  </a:lnTo>
                  <a:lnTo>
                    <a:pt x="2460" y="976"/>
                  </a:lnTo>
                  <a:lnTo>
                    <a:pt x="2458" y="974"/>
                  </a:lnTo>
                  <a:lnTo>
                    <a:pt x="2458" y="974"/>
                  </a:lnTo>
                  <a:lnTo>
                    <a:pt x="2458" y="974"/>
                  </a:lnTo>
                  <a:lnTo>
                    <a:pt x="2458" y="972"/>
                  </a:lnTo>
                  <a:lnTo>
                    <a:pt x="2458" y="970"/>
                  </a:lnTo>
                  <a:lnTo>
                    <a:pt x="2458" y="970"/>
                  </a:lnTo>
                  <a:lnTo>
                    <a:pt x="2456" y="968"/>
                  </a:lnTo>
                  <a:lnTo>
                    <a:pt x="2456" y="966"/>
                  </a:lnTo>
                  <a:lnTo>
                    <a:pt x="2450" y="966"/>
                  </a:lnTo>
                  <a:lnTo>
                    <a:pt x="2448" y="966"/>
                  </a:lnTo>
                  <a:lnTo>
                    <a:pt x="2448" y="966"/>
                  </a:lnTo>
                  <a:lnTo>
                    <a:pt x="2448" y="966"/>
                  </a:lnTo>
                  <a:lnTo>
                    <a:pt x="2446" y="966"/>
                  </a:lnTo>
                  <a:lnTo>
                    <a:pt x="2446" y="966"/>
                  </a:lnTo>
                  <a:lnTo>
                    <a:pt x="2446" y="966"/>
                  </a:lnTo>
                  <a:lnTo>
                    <a:pt x="2444" y="966"/>
                  </a:lnTo>
                  <a:lnTo>
                    <a:pt x="2444" y="966"/>
                  </a:lnTo>
                  <a:lnTo>
                    <a:pt x="2444" y="966"/>
                  </a:lnTo>
                  <a:lnTo>
                    <a:pt x="2442" y="968"/>
                  </a:lnTo>
                  <a:lnTo>
                    <a:pt x="2442" y="968"/>
                  </a:lnTo>
                  <a:lnTo>
                    <a:pt x="2442" y="968"/>
                  </a:lnTo>
                  <a:lnTo>
                    <a:pt x="2440" y="970"/>
                  </a:lnTo>
                  <a:lnTo>
                    <a:pt x="2438" y="968"/>
                  </a:lnTo>
                  <a:lnTo>
                    <a:pt x="2436" y="968"/>
                  </a:lnTo>
                  <a:lnTo>
                    <a:pt x="2436" y="968"/>
                  </a:lnTo>
                  <a:lnTo>
                    <a:pt x="2436" y="966"/>
                  </a:lnTo>
                  <a:lnTo>
                    <a:pt x="2434" y="966"/>
                  </a:lnTo>
                  <a:lnTo>
                    <a:pt x="2434" y="966"/>
                  </a:lnTo>
                  <a:lnTo>
                    <a:pt x="2432" y="966"/>
                  </a:lnTo>
                  <a:lnTo>
                    <a:pt x="2430" y="966"/>
                  </a:lnTo>
                  <a:lnTo>
                    <a:pt x="2430" y="966"/>
                  </a:lnTo>
                  <a:lnTo>
                    <a:pt x="2430" y="966"/>
                  </a:lnTo>
                  <a:lnTo>
                    <a:pt x="2428" y="968"/>
                  </a:lnTo>
                  <a:lnTo>
                    <a:pt x="2428" y="968"/>
                  </a:lnTo>
                  <a:lnTo>
                    <a:pt x="2426" y="968"/>
                  </a:lnTo>
                  <a:lnTo>
                    <a:pt x="2426" y="970"/>
                  </a:lnTo>
                  <a:lnTo>
                    <a:pt x="2426" y="970"/>
                  </a:lnTo>
                  <a:lnTo>
                    <a:pt x="2426" y="972"/>
                  </a:lnTo>
                  <a:lnTo>
                    <a:pt x="2424" y="974"/>
                  </a:lnTo>
                  <a:lnTo>
                    <a:pt x="2424" y="974"/>
                  </a:lnTo>
                  <a:lnTo>
                    <a:pt x="2424" y="976"/>
                  </a:lnTo>
                  <a:lnTo>
                    <a:pt x="2424" y="976"/>
                  </a:lnTo>
                  <a:lnTo>
                    <a:pt x="2422" y="978"/>
                  </a:lnTo>
                  <a:lnTo>
                    <a:pt x="2422" y="980"/>
                  </a:lnTo>
                  <a:lnTo>
                    <a:pt x="2422" y="980"/>
                  </a:lnTo>
                  <a:lnTo>
                    <a:pt x="2424" y="984"/>
                  </a:lnTo>
                  <a:lnTo>
                    <a:pt x="2426" y="986"/>
                  </a:lnTo>
                  <a:lnTo>
                    <a:pt x="2428" y="986"/>
                  </a:lnTo>
                  <a:lnTo>
                    <a:pt x="2428" y="986"/>
                  </a:lnTo>
                  <a:lnTo>
                    <a:pt x="2428" y="986"/>
                  </a:lnTo>
                  <a:lnTo>
                    <a:pt x="2430" y="988"/>
                  </a:lnTo>
                  <a:lnTo>
                    <a:pt x="2432" y="988"/>
                  </a:lnTo>
                  <a:lnTo>
                    <a:pt x="2432" y="988"/>
                  </a:lnTo>
                  <a:lnTo>
                    <a:pt x="2432" y="988"/>
                  </a:lnTo>
                  <a:lnTo>
                    <a:pt x="2438" y="988"/>
                  </a:lnTo>
                  <a:lnTo>
                    <a:pt x="2440" y="988"/>
                  </a:lnTo>
                  <a:lnTo>
                    <a:pt x="2440" y="988"/>
                  </a:lnTo>
                  <a:lnTo>
                    <a:pt x="2444" y="988"/>
                  </a:lnTo>
                  <a:lnTo>
                    <a:pt x="2444" y="988"/>
                  </a:lnTo>
                  <a:lnTo>
                    <a:pt x="2446" y="990"/>
                  </a:lnTo>
                  <a:lnTo>
                    <a:pt x="2446" y="990"/>
                  </a:lnTo>
                  <a:lnTo>
                    <a:pt x="2446" y="992"/>
                  </a:lnTo>
                  <a:lnTo>
                    <a:pt x="2446" y="994"/>
                  </a:lnTo>
                  <a:lnTo>
                    <a:pt x="2446" y="996"/>
                  </a:lnTo>
                  <a:lnTo>
                    <a:pt x="2446" y="996"/>
                  </a:lnTo>
                  <a:lnTo>
                    <a:pt x="2450" y="998"/>
                  </a:lnTo>
                  <a:lnTo>
                    <a:pt x="2452" y="998"/>
                  </a:lnTo>
                  <a:lnTo>
                    <a:pt x="2456" y="998"/>
                  </a:lnTo>
                  <a:lnTo>
                    <a:pt x="2458" y="998"/>
                  </a:lnTo>
                  <a:lnTo>
                    <a:pt x="2458" y="998"/>
                  </a:lnTo>
                  <a:lnTo>
                    <a:pt x="2458" y="998"/>
                  </a:lnTo>
                  <a:lnTo>
                    <a:pt x="2460" y="998"/>
                  </a:lnTo>
                  <a:lnTo>
                    <a:pt x="2460" y="998"/>
                  </a:lnTo>
                  <a:lnTo>
                    <a:pt x="2460" y="998"/>
                  </a:lnTo>
                  <a:lnTo>
                    <a:pt x="2460" y="998"/>
                  </a:lnTo>
                  <a:lnTo>
                    <a:pt x="2462" y="1000"/>
                  </a:lnTo>
                  <a:lnTo>
                    <a:pt x="2466" y="1000"/>
                  </a:lnTo>
                  <a:lnTo>
                    <a:pt x="2466" y="1000"/>
                  </a:lnTo>
                  <a:lnTo>
                    <a:pt x="2468" y="1000"/>
                  </a:lnTo>
                  <a:lnTo>
                    <a:pt x="2470" y="1000"/>
                  </a:lnTo>
                  <a:lnTo>
                    <a:pt x="2470" y="1000"/>
                  </a:lnTo>
                  <a:lnTo>
                    <a:pt x="2470" y="998"/>
                  </a:lnTo>
                  <a:lnTo>
                    <a:pt x="2472" y="998"/>
                  </a:lnTo>
                  <a:lnTo>
                    <a:pt x="2472" y="998"/>
                  </a:lnTo>
                  <a:lnTo>
                    <a:pt x="2472" y="996"/>
                  </a:lnTo>
                  <a:lnTo>
                    <a:pt x="2474" y="996"/>
                  </a:lnTo>
                  <a:lnTo>
                    <a:pt x="2474" y="994"/>
                  </a:lnTo>
                  <a:lnTo>
                    <a:pt x="2474" y="992"/>
                  </a:lnTo>
                  <a:lnTo>
                    <a:pt x="2476" y="992"/>
                  </a:lnTo>
                  <a:lnTo>
                    <a:pt x="2476" y="990"/>
                  </a:lnTo>
                  <a:lnTo>
                    <a:pt x="2478" y="990"/>
                  </a:lnTo>
                  <a:lnTo>
                    <a:pt x="2478" y="990"/>
                  </a:lnTo>
                  <a:lnTo>
                    <a:pt x="2480" y="990"/>
                  </a:lnTo>
                  <a:lnTo>
                    <a:pt x="2480" y="988"/>
                  </a:lnTo>
                  <a:lnTo>
                    <a:pt x="2480" y="988"/>
                  </a:lnTo>
                  <a:lnTo>
                    <a:pt x="2482" y="988"/>
                  </a:lnTo>
                  <a:lnTo>
                    <a:pt x="2482" y="988"/>
                  </a:lnTo>
                  <a:lnTo>
                    <a:pt x="2482" y="988"/>
                  </a:lnTo>
                  <a:lnTo>
                    <a:pt x="2484" y="986"/>
                  </a:lnTo>
                  <a:lnTo>
                    <a:pt x="2484" y="986"/>
                  </a:lnTo>
                  <a:lnTo>
                    <a:pt x="2484" y="986"/>
                  </a:lnTo>
                  <a:lnTo>
                    <a:pt x="2482" y="982"/>
                  </a:lnTo>
                  <a:lnTo>
                    <a:pt x="2482" y="982"/>
                  </a:lnTo>
                  <a:close/>
                  <a:moveTo>
                    <a:pt x="664" y="418"/>
                  </a:moveTo>
                  <a:lnTo>
                    <a:pt x="664" y="418"/>
                  </a:lnTo>
                  <a:lnTo>
                    <a:pt x="662" y="420"/>
                  </a:lnTo>
                  <a:lnTo>
                    <a:pt x="660" y="420"/>
                  </a:lnTo>
                  <a:lnTo>
                    <a:pt x="658" y="420"/>
                  </a:lnTo>
                  <a:lnTo>
                    <a:pt x="654" y="422"/>
                  </a:lnTo>
                  <a:lnTo>
                    <a:pt x="654" y="422"/>
                  </a:lnTo>
                  <a:lnTo>
                    <a:pt x="654" y="422"/>
                  </a:lnTo>
                  <a:lnTo>
                    <a:pt x="652" y="424"/>
                  </a:lnTo>
                  <a:lnTo>
                    <a:pt x="650" y="424"/>
                  </a:lnTo>
                  <a:lnTo>
                    <a:pt x="650" y="426"/>
                  </a:lnTo>
                  <a:lnTo>
                    <a:pt x="648" y="426"/>
                  </a:lnTo>
                  <a:lnTo>
                    <a:pt x="648" y="426"/>
                  </a:lnTo>
                  <a:lnTo>
                    <a:pt x="648" y="428"/>
                  </a:lnTo>
                  <a:lnTo>
                    <a:pt x="648" y="428"/>
                  </a:lnTo>
                  <a:lnTo>
                    <a:pt x="648" y="428"/>
                  </a:lnTo>
                  <a:lnTo>
                    <a:pt x="648" y="430"/>
                  </a:lnTo>
                  <a:lnTo>
                    <a:pt x="646" y="430"/>
                  </a:lnTo>
                  <a:lnTo>
                    <a:pt x="646" y="430"/>
                  </a:lnTo>
                  <a:lnTo>
                    <a:pt x="644" y="430"/>
                  </a:lnTo>
                  <a:lnTo>
                    <a:pt x="642" y="430"/>
                  </a:lnTo>
                  <a:lnTo>
                    <a:pt x="638" y="430"/>
                  </a:lnTo>
                  <a:lnTo>
                    <a:pt x="636" y="432"/>
                  </a:lnTo>
                  <a:lnTo>
                    <a:pt x="634" y="432"/>
                  </a:lnTo>
                  <a:lnTo>
                    <a:pt x="632" y="432"/>
                  </a:lnTo>
                  <a:lnTo>
                    <a:pt x="630" y="432"/>
                  </a:lnTo>
                  <a:lnTo>
                    <a:pt x="628" y="434"/>
                  </a:lnTo>
                  <a:lnTo>
                    <a:pt x="626" y="434"/>
                  </a:lnTo>
                  <a:lnTo>
                    <a:pt x="626" y="434"/>
                  </a:lnTo>
                  <a:lnTo>
                    <a:pt x="624" y="434"/>
                  </a:lnTo>
                  <a:lnTo>
                    <a:pt x="622" y="434"/>
                  </a:lnTo>
                  <a:lnTo>
                    <a:pt x="620" y="434"/>
                  </a:lnTo>
                  <a:lnTo>
                    <a:pt x="616" y="434"/>
                  </a:lnTo>
                  <a:lnTo>
                    <a:pt x="612" y="434"/>
                  </a:lnTo>
                  <a:lnTo>
                    <a:pt x="604" y="432"/>
                  </a:lnTo>
                  <a:lnTo>
                    <a:pt x="604" y="432"/>
                  </a:lnTo>
                  <a:lnTo>
                    <a:pt x="602" y="432"/>
                  </a:lnTo>
                  <a:lnTo>
                    <a:pt x="602" y="430"/>
                  </a:lnTo>
                  <a:lnTo>
                    <a:pt x="602" y="430"/>
                  </a:lnTo>
                  <a:lnTo>
                    <a:pt x="600" y="430"/>
                  </a:lnTo>
                  <a:lnTo>
                    <a:pt x="598" y="430"/>
                  </a:lnTo>
                  <a:lnTo>
                    <a:pt x="598" y="430"/>
                  </a:lnTo>
                  <a:lnTo>
                    <a:pt x="596" y="432"/>
                  </a:lnTo>
                  <a:lnTo>
                    <a:pt x="596" y="432"/>
                  </a:lnTo>
                  <a:lnTo>
                    <a:pt x="596" y="432"/>
                  </a:lnTo>
                  <a:lnTo>
                    <a:pt x="596" y="432"/>
                  </a:lnTo>
                  <a:lnTo>
                    <a:pt x="594" y="436"/>
                  </a:lnTo>
                  <a:lnTo>
                    <a:pt x="592" y="438"/>
                  </a:lnTo>
                  <a:lnTo>
                    <a:pt x="592" y="438"/>
                  </a:lnTo>
                  <a:lnTo>
                    <a:pt x="592" y="440"/>
                  </a:lnTo>
                  <a:lnTo>
                    <a:pt x="592" y="442"/>
                  </a:lnTo>
                  <a:lnTo>
                    <a:pt x="592" y="442"/>
                  </a:lnTo>
                  <a:lnTo>
                    <a:pt x="592" y="442"/>
                  </a:lnTo>
                  <a:lnTo>
                    <a:pt x="592" y="444"/>
                  </a:lnTo>
                  <a:lnTo>
                    <a:pt x="592" y="444"/>
                  </a:lnTo>
                  <a:lnTo>
                    <a:pt x="592" y="444"/>
                  </a:lnTo>
                  <a:lnTo>
                    <a:pt x="592" y="446"/>
                  </a:lnTo>
                  <a:lnTo>
                    <a:pt x="588" y="446"/>
                  </a:lnTo>
                  <a:lnTo>
                    <a:pt x="584" y="446"/>
                  </a:lnTo>
                  <a:lnTo>
                    <a:pt x="584" y="446"/>
                  </a:lnTo>
                  <a:lnTo>
                    <a:pt x="582" y="448"/>
                  </a:lnTo>
                  <a:lnTo>
                    <a:pt x="582" y="452"/>
                  </a:lnTo>
                  <a:lnTo>
                    <a:pt x="580" y="452"/>
                  </a:lnTo>
                  <a:lnTo>
                    <a:pt x="580" y="454"/>
                  </a:lnTo>
                  <a:lnTo>
                    <a:pt x="578" y="456"/>
                  </a:lnTo>
                  <a:lnTo>
                    <a:pt x="576" y="456"/>
                  </a:lnTo>
                  <a:lnTo>
                    <a:pt x="576" y="456"/>
                  </a:lnTo>
                  <a:lnTo>
                    <a:pt x="574" y="456"/>
                  </a:lnTo>
                  <a:lnTo>
                    <a:pt x="572" y="458"/>
                  </a:lnTo>
                  <a:lnTo>
                    <a:pt x="568" y="458"/>
                  </a:lnTo>
                  <a:lnTo>
                    <a:pt x="568" y="458"/>
                  </a:lnTo>
                  <a:lnTo>
                    <a:pt x="568" y="460"/>
                  </a:lnTo>
                  <a:lnTo>
                    <a:pt x="566" y="462"/>
                  </a:lnTo>
                  <a:lnTo>
                    <a:pt x="564" y="464"/>
                  </a:lnTo>
                  <a:lnTo>
                    <a:pt x="558" y="468"/>
                  </a:lnTo>
                  <a:lnTo>
                    <a:pt x="556" y="470"/>
                  </a:lnTo>
                  <a:lnTo>
                    <a:pt x="554" y="470"/>
                  </a:lnTo>
                  <a:lnTo>
                    <a:pt x="552" y="472"/>
                  </a:lnTo>
                  <a:lnTo>
                    <a:pt x="552" y="472"/>
                  </a:lnTo>
                  <a:lnTo>
                    <a:pt x="552" y="472"/>
                  </a:lnTo>
                  <a:lnTo>
                    <a:pt x="552" y="474"/>
                  </a:lnTo>
                  <a:lnTo>
                    <a:pt x="550" y="476"/>
                  </a:lnTo>
                  <a:lnTo>
                    <a:pt x="548" y="480"/>
                  </a:lnTo>
                  <a:lnTo>
                    <a:pt x="548" y="482"/>
                  </a:lnTo>
                  <a:lnTo>
                    <a:pt x="546" y="484"/>
                  </a:lnTo>
                  <a:lnTo>
                    <a:pt x="546" y="484"/>
                  </a:lnTo>
                  <a:lnTo>
                    <a:pt x="544" y="486"/>
                  </a:lnTo>
                  <a:lnTo>
                    <a:pt x="542" y="486"/>
                  </a:lnTo>
                  <a:lnTo>
                    <a:pt x="540" y="486"/>
                  </a:lnTo>
                  <a:lnTo>
                    <a:pt x="538" y="488"/>
                  </a:lnTo>
                  <a:lnTo>
                    <a:pt x="538" y="488"/>
                  </a:lnTo>
                  <a:lnTo>
                    <a:pt x="536" y="490"/>
                  </a:lnTo>
                  <a:lnTo>
                    <a:pt x="536" y="490"/>
                  </a:lnTo>
                  <a:lnTo>
                    <a:pt x="536" y="492"/>
                  </a:lnTo>
                  <a:lnTo>
                    <a:pt x="536" y="494"/>
                  </a:lnTo>
                  <a:lnTo>
                    <a:pt x="538" y="494"/>
                  </a:lnTo>
                  <a:lnTo>
                    <a:pt x="538" y="494"/>
                  </a:lnTo>
                  <a:lnTo>
                    <a:pt x="536" y="496"/>
                  </a:lnTo>
                  <a:lnTo>
                    <a:pt x="532" y="496"/>
                  </a:lnTo>
                  <a:lnTo>
                    <a:pt x="532" y="496"/>
                  </a:lnTo>
                  <a:lnTo>
                    <a:pt x="530" y="496"/>
                  </a:lnTo>
                  <a:lnTo>
                    <a:pt x="530" y="496"/>
                  </a:lnTo>
                  <a:lnTo>
                    <a:pt x="528" y="498"/>
                  </a:lnTo>
                  <a:lnTo>
                    <a:pt x="528" y="498"/>
                  </a:lnTo>
                  <a:lnTo>
                    <a:pt x="526" y="498"/>
                  </a:lnTo>
                  <a:lnTo>
                    <a:pt x="524" y="502"/>
                  </a:lnTo>
                  <a:lnTo>
                    <a:pt x="524" y="502"/>
                  </a:lnTo>
                  <a:lnTo>
                    <a:pt x="524" y="504"/>
                  </a:lnTo>
                  <a:lnTo>
                    <a:pt x="522" y="508"/>
                  </a:lnTo>
                  <a:lnTo>
                    <a:pt x="522" y="512"/>
                  </a:lnTo>
                  <a:lnTo>
                    <a:pt x="520" y="518"/>
                  </a:lnTo>
                  <a:lnTo>
                    <a:pt x="520" y="528"/>
                  </a:lnTo>
                  <a:lnTo>
                    <a:pt x="520" y="532"/>
                  </a:lnTo>
                  <a:lnTo>
                    <a:pt x="518" y="536"/>
                  </a:lnTo>
                  <a:lnTo>
                    <a:pt x="518" y="536"/>
                  </a:lnTo>
                  <a:lnTo>
                    <a:pt x="520" y="538"/>
                  </a:lnTo>
                  <a:lnTo>
                    <a:pt x="520" y="540"/>
                  </a:lnTo>
                  <a:lnTo>
                    <a:pt x="518" y="540"/>
                  </a:lnTo>
                  <a:lnTo>
                    <a:pt x="516" y="540"/>
                  </a:lnTo>
                  <a:lnTo>
                    <a:pt x="516" y="540"/>
                  </a:lnTo>
                  <a:lnTo>
                    <a:pt x="514" y="540"/>
                  </a:lnTo>
                  <a:lnTo>
                    <a:pt x="514" y="540"/>
                  </a:lnTo>
                  <a:lnTo>
                    <a:pt x="514" y="542"/>
                  </a:lnTo>
                  <a:lnTo>
                    <a:pt x="514" y="542"/>
                  </a:lnTo>
                  <a:lnTo>
                    <a:pt x="512" y="544"/>
                  </a:lnTo>
                  <a:lnTo>
                    <a:pt x="514" y="546"/>
                  </a:lnTo>
                  <a:lnTo>
                    <a:pt x="514" y="550"/>
                  </a:lnTo>
                  <a:lnTo>
                    <a:pt x="514" y="548"/>
                  </a:lnTo>
                  <a:lnTo>
                    <a:pt x="514" y="550"/>
                  </a:lnTo>
                  <a:lnTo>
                    <a:pt x="514" y="550"/>
                  </a:lnTo>
                  <a:lnTo>
                    <a:pt x="512" y="548"/>
                  </a:lnTo>
                  <a:lnTo>
                    <a:pt x="512" y="548"/>
                  </a:lnTo>
                  <a:lnTo>
                    <a:pt x="510" y="548"/>
                  </a:lnTo>
                  <a:lnTo>
                    <a:pt x="510" y="548"/>
                  </a:lnTo>
                  <a:lnTo>
                    <a:pt x="510" y="548"/>
                  </a:lnTo>
                  <a:lnTo>
                    <a:pt x="508" y="548"/>
                  </a:lnTo>
                  <a:lnTo>
                    <a:pt x="508" y="548"/>
                  </a:lnTo>
                  <a:lnTo>
                    <a:pt x="508" y="548"/>
                  </a:lnTo>
                  <a:lnTo>
                    <a:pt x="506" y="550"/>
                  </a:lnTo>
                  <a:lnTo>
                    <a:pt x="506" y="550"/>
                  </a:lnTo>
                  <a:lnTo>
                    <a:pt x="506" y="550"/>
                  </a:lnTo>
                  <a:lnTo>
                    <a:pt x="506" y="552"/>
                  </a:lnTo>
                  <a:lnTo>
                    <a:pt x="506" y="554"/>
                  </a:lnTo>
                  <a:lnTo>
                    <a:pt x="506" y="554"/>
                  </a:lnTo>
                  <a:lnTo>
                    <a:pt x="506" y="554"/>
                  </a:lnTo>
                  <a:lnTo>
                    <a:pt x="506" y="556"/>
                  </a:lnTo>
                  <a:lnTo>
                    <a:pt x="506" y="558"/>
                  </a:lnTo>
                  <a:lnTo>
                    <a:pt x="506" y="560"/>
                  </a:lnTo>
                  <a:lnTo>
                    <a:pt x="506" y="560"/>
                  </a:lnTo>
                  <a:lnTo>
                    <a:pt x="504" y="562"/>
                  </a:lnTo>
                  <a:lnTo>
                    <a:pt x="502" y="564"/>
                  </a:lnTo>
                  <a:lnTo>
                    <a:pt x="500" y="566"/>
                  </a:lnTo>
                  <a:lnTo>
                    <a:pt x="498" y="568"/>
                  </a:lnTo>
                  <a:lnTo>
                    <a:pt x="496" y="570"/>
                  </a:lnTo>
                  <a:lnTo>
                    <a:pt x="494" y="572"/>
                  </a:lnTo>
                  <a:lnTo>
                    <a:pt x="494" y="572"/>
                  </a:lnTo>
                  <a:lnTo>
                    <a:pt x="494" y="572"/>
                  </a:lnTo>
                  <a:lnTo>
                    <a:pt x="494" y="574"/>
                  </a:lnTo>
                  <a:lnTo>
                    <a:pt x="492" y="576"/>
                  </a:lnTo>
                  <a:lnTo>
                    <a:pt x="492" y="576"/>
                  </a:lnTo>
                  <a:lnTo>
                    <a:pt x="492" y="578"/>
                  </a:lnTo>
                  <a:lnTo>
                    <a:pt x="492" y="580"/>
                  </a:lnTo>
                  <a:lnTo>
                    <a:pt x="492" y="580"/>
                  </a:lnTo>
                  <a:lnTo>
                    <a:pt x="492" y="580"/>
                  </a:lnTo>
                  <a:lnTo>
                    <a:pt x="494" y="582"/>
                  </a:lnTo>
                  <a:lnTo>
                    <a:pt x="494" y="582"/>
                  </a:lnTo>
                  <a:lnTo>
                    <a:pt x="494" y="584"/>
                  </a:lnTo>
                  <a:lnTo>
                    <a:pt x="496" y="584"/>
                  </a:lnTo>
                  <a:lnTo>
                    <a:pt x="496" y="584"/>
                  </a:lnTo>
                  <a:lnTo>
                    <a:pt x="496" y="584"/>
                  </a:lnTo>
                  <a:lnTo>
                    <a:pt x="498" y="584"/>
                  </a:lnTo>
                  <a:lnTo>
                    <a:pt x="500" y="586"/>
                  </a:lnTo>
                  <a:lnTo>
                    <a:pt x="500" y="586"/>
                  </a:lnTo>
                  <a:lnTo>
                    <a:pt x="498" y="588"/>
                  </a:lnTo>
                  <a:lnTo>
                    <a:pt x="498" y="588"/>
                  </a:lnTo>
                  <a:lnTo>
                    <a:pt x="498" y="588"/>
                  </a:lnTo>
                  <a:lnTo>
                    <a:pt x="498" y="590"/>
                  </a:lnTo>
                  <a:lnTo>
                    <a:pt x="498" y="590"/>
                  </a:lnTo>
                  <a:lnTo>
                    <a:pt x="496" y="590"/>
                  </a:lnTo>
                  <a:lnTo>
                    <a:pt x="496" y="592"/>
                  </a:lnTo>
                  <a:lnTo>
                    <a:pt x="496" y="594"/>
                  </a:lnTo>
                  <a:lnTo>
                    <a:pt x="496" y="594"/>
                  </a:lnTo>
                  <a:lnTo>
                    <a:pt x="496" y="594"/>
                  </a:lnTo>
                  <a:lnTo>
                    <a:pt x="496" y="596"/>
                  </a:lnTo>
                  <a:lnTo>
                    <a:pt x="494" y="596"/>
                  </a:lnTo>
                  <a:lnTo>
                    <a:pt x="494" y="596"/>
                  </a:lnTo>
                  <a:lnTo>
                    <a:pt x="492" y="598"/>
                  </a:lnTo>
                  <a:lnTo>
                    <a:pt x="490" y="598"/>
                  </a:lnTo>
                  <a:lnTo>
                    <a:pt x="486" y="600"/>
                  </a:lnTo>
                  <a:lnTo>
                    <a:pt x="482" y="600"/>
                  </a:lnTo>
                  <a:lnTo>
                    <a:pt x="482" y="600"/>
                  </a:lnTo>
                  <a:lnTo>
                    <a:pt x="480" y="602"/>
                  </a:lnTo>
                  <a:lnTo>
                    <a:pt x="480" y="604"/>
                  </a:lnTo>
                  <a:lnTo>
                    <a:pt x="480" y="606"/>
                  </a:lnTo>
                  <a:lnTo>
                    <a:pt x="480" y="610"/>
                  </a:lnTo>
                  <a:lnTo>
                    <a:pt x="480" y="612"/>
                  </a:lnTo>
                  <a:lnTo>
                    <a:pt x="480" y="612"/>
                  </a:lnTo>
                  <a:lnTo>
                    <a:pt x="480" y="614"/>
                  </a:lnTo>
                  <a:lnTo>
                    <a:pt x="480" y="616"/>
                  </a:lnTo>
                  <a:lnTo>
                    <a:pt x="478" y="618"/>
                  </a:lnTo>
                  <a:lnTo>
                    <a:pt x="476" y="620"/>
                  </a:lnTo>
                  <a:lnTo>
                    <a:pt x="474" y="622"/>
                  </a:lnTo>
                  <a:lnTo>
                    <a:pt x="470" y="624"/>
                  </a:lnTo>
                  <a:lnTo>
                    <a:pt x="470" y="624"/>
                  </a:lnTo>
                  <a:lnTo>
                    <a:pt x="468" y="626"/>
                  </a:lnTo>
                  <a:lnTo>
                    <a:pt x="468" y="628"/>
                  </a:lnTo>
                  <a:lnTo>
                    <a:pt x="470" y="630"/>
                  </a:lnTo>
                  <a:lnTo>
                    <a:pt x="470" y="632"/>
                  </a:lnTo>
                  <a:lnTo>
                    <a:pt x="470" y="632"/>
                  </a:lnTo>
                  <a:lnTo>
                    <a:pt x="472" y="632"/>
                  </a:lnTo>
                  <a:lnTo>
                    <a:pt x="472" y="634"/>
                  </a:lnTo>
                  <a:lnTo>
                    <a:pt x="474" y="636"/>
                  </a:lnTo>
                  <a:lnTo>
                    <a:pt x="478" y="638"/>
                  </a:lnTo>
                  <a:lnTo>
                    <a:pt x="478" y="638"/>
                  </a:lnTo>
                  <a:lnTo>
                    <a:pt x="476" y="638"/>
                  </a:lnTo>
                  <a:lnTo>
                    <a:pt x="476" y="638"/>
                  </a:lnTo>
                  <a:lnTo>
                    <a:pt x="476" y="640"/>
                  </a:lnTo>
                  <a:lnTo>
                    <a:pt x="474" y="640"/>
                  </a:lnTo>
                  <a:lnTo>
                    <a:pt x="474" y="640"/>
                  </a:lnTo>
                  <a:lnTo>
                    <a:pt x="472" y="640"/>
                  </a:lnTo>
                  <a:lnTo>
                    <a:pt x="472" y="642"/>
                  </a:lnTo>
                  <a:lnTo>
                    <a:pt x="472" y="642"/>
                  </a:lnTo>
                  <a:lnTo>
                    <a:pt x="470" y="642"/>
                  </a:lnTo>
                  <a:lnTo>
                    <a:pt x="470" y="644"/>
                  </a:lnTo>
                  <a:lnTo>
                    <a:pt x="470" y="644"/>
                  </a:lnTo>
                  <a:lnTo>
                    <a:pt x="470" y="644"/>
                  </a:lnTo>
                  <a:lnTo>
                    <a:pt x="468" y="646"/>
                  </a:lnTo>
                  <a:lnTo>
                    <a:pt x="468" y="650"/>
                  </a:lnTo>
                  <a:lnTo>
                    <a:pt x="466" y="652"/>
                  </a:lnTo>
                  <a:lnTo>
                    <a:pt x="466" y="652"/>
                  </a:lnTo>
                  <a:lnTo>
                    <a:pt x="466" y="654"/>
                  </a:lnTo>
                  <a:lnTo>
                    <a:pt x="466" y="658"/>
                  </a:lnTo>
                  <a:lnTo>
                    <a:pt x="466" y="662"/>
                  </a:lnTo>
                  <a:lnTo>
                    <a:pt x="466" y="670"/>
                  </a:lnTo>
                  <a:lnTo>
                    <a:pt x="466" y="674"/>
                  </a:lnTo>
                  <a:lnTo>
                    <a:pt x="466" y="678"/>
                  </a:lnTo>
                  <a:lnTo>
                    <a:pt x="466" y="684"/>
                  </a:lnTo>
                  <a:lnTo>
                    <a:pt x="468" y="688"/>
                  </a:lnTo>
                  <a:lnTo>
                    <a:pt x="468" y="688"/>
                  </a:lnTo>
                  <a:lnTo>
                    <a:pt x="468" y="688"/>
                  </a:lnTo>
                  <a:lnTo>
                    <a:pt x="470" y="690"/>
                  </a:lnTo>
                  <a:lnTo>
                    <a:pt x="470" y="690"/>
                  </a:lnTo>
                  <a:lnTo>
                    <a:pt x="470" y="690"/>
                  </a:lnTo>
                  <a:lnTo>
                    <a:pt x="472" y="690"/>
                  </a:lnTo>
                  <a:lnTo>
                    <a:pt x="472" y="690"/>
                  </a:lnTo>
                  <a:lnTo>
                    <a:pt x="472" y="690"/>
                  </a:lnTo>
                  <a:lnTo>
                    <a:pt x="476" y="690"/>
                  </a:lnTo>
                  <a:lnTo>
                    <a:pt x="478" y="690"/>
                  </a:lnTo>
                  <a:lnTo>
                    <a:pt x="478" y="690"/>
                  </a:lnTo>
                  <a:lnTo>
                    <a:pt x="480" y="696"/>
                  </a:lnTo>
                  <a:lnTo>
                    <a:pt x="482" y="700"/>
                  </a:lnTo>
                  <a:lnTo>
                    <a:pt x="484" y="704"/>
                  </a:lnTo>
                  <a:lnTo>
                    <a:pt x="484" y="704"/>
                  </a:lnTo>
                  <a:lnTo>
                    <a:pt x="484" y="706"/>
                  </a:lnTo>
                  <a:lnTo>
                    <a:pt x="484" y="706"/>
                  </a:lnTo>
                  <a:lnTo>
                    <a:pt x="482" y="706"/>
                  </a:lnTo>
                  <a:lnTo>
                    <a:pt x="482" y="708"/>
                  </a:lnTo>
                  <a:lnTo>
                    <a:pt x="482" y="708"/>
                  </a:lnTo>
                  <a:lnTo>
                    <a:pt x="480" y="708"/>
                  </a:lnTo>
                  <a:lnTo>
                    <a:pt x="480" y="708"/>
                  </a:lnTo>
                  <a:lnTo>
                    <a:pt x="480" y="708"/>
                  </a:lnTo>
                  <a:lnTo>
                    <a:pt x="480" y="710"/>
                  </a:lnTo>
                  <a:lnTo>
                    <a:pt x="480" y="712"/>
                  </a:lnTo>
                  <a:lnTo>
                    <a:pt x="482" y="712"/>
                  </a:lnTo>
                  <a:lnTo>
                    <a:pt x="482" y="714"/>
                  </a:lnTo>
                  <a:lnTo>
                    <a:pt x="484" y="714"/>
                  </a:lnTo>
                  <a:lnTo>
                    <a:pt x="486" y="716"/>
                  </a:lnTo>
                  <a:lnTo>
                    <a:pt x="486" y="718"/>
                  </a:lnTo>
                  <a:lnTo>
                    <a:pt x="486" y="718"/>
                  </a:lnTo>
                  <a:lnTo>
                    <a:pt x="488" y="718"/>
                  </a:lnTo>
                  <a:lnTo>
                    <a:pt x="488" y="722"/>
                  </a:lnTo>
                  <a:lnTo>
                    <a:pt x="488" y="722"/>
                  </a:lnTo>
                  <a:lnTo>
                    <a:pt x="490" y="722"/>
                  </a:lnTo>
                  <a:lnTo>
                    <a:pt x="492" y="724"/>
                  </a:lnTo>
                  <a:lnTo>
                    <a:pt x="492" y="724"/>
                  </a:lnTo>
                  <a:lnTo>
                    <a:pt x="492" y="724"/>
                  </a:lnTo>
                  <a:lnTo>
                    <a:pt x="494" y="726"/>
                  </a:lnTo>
                  <a:lnTo>
                    <a:pt x="494" y="726"/>
                  </a:lnTo>
                  <a:lnTo>
                    <a:pt x="494" y="726"/>
                  </a:lnTo>
                  <a:lnTo>
                    <a:pt x="500" y="730"/>
                  </a:lnTo>
                  <a:lnTo>
                    <a:pt x="500" y="730"/>
                  </a:lnTo>
                  <a:lnTo>
                    <a:pt x="500" y="730"/>
                  </a:lnTo>
                  <a:lnTo>
                    <a:pt x="506" y="732"/>
                  </a:lnTo>
                  <a:lnTo>
                    <a:pt x="506" y="732"/>
                  </a:lnTo>
                  <a:lnTo>
                    <a:pt x="508" y="732"/>
                  </a:lnTo>
                  <a:lnTo>
                    <a:pt x="518" y="732"/>
                  </a:lnTo>
                  <a:lnTo>
                    <a:pt x="528" y="732"/>
                  </a:lnTo>
                  <a:lnTo>
                    <a:pt x="538" y="732"/>
                  </a:lnTo>
                  <a:lnTo>
                    <a:pt x="544" y="732"/>
                  </a:lnTo>
                  <a:lnTo>
                    <a:pt x="548" y="730"/>
                  </a:lnTo>
                  <a:lnTo>
                    <a:pt x="548" y="730"/>
                  </a:lnTo>
                  <a:lnTo>
                    <a:pt x="550" y="730"/>
                  </a:lnTo>
                  <a:lnTo>
                    <a:pt x="550" y="730"/>
                  </a:lnTo>
                  <a:lnTo>
                    <a:pt x="550" y="730"/>
                  </a:lnTo>
                  <a:lnTo>
                    <a:pt x="552" y="726"/>
                  </a:lnTo>
                  <a:lnTo>
                    <a:pt x="552" y="726"/>
                  </a:lnTo>
                  <a:lnTo>
                    <a:pt x="552" y="726"/>
                  </a:lnTo>
                  <a:lnTo>
                    <a:pt x="552" y="724"/>
                  </a:lnTo>
                  <a:lnTo>
                    <a:pt x="552" y="724"/>
                  </a:lnTo>
                  <a:lnTo>
                    <a:pt x="552" y="724"/>
                  </a:lnTo>
                  <a:lnTo>
                    <a:pt x="552" y="722"/>
                  </a:lnTo>
                  <a:lnTo>
                    <a:pt x="550" y="722"/>
                  </a:lnTo>
                  <a:lnTo>
                    <a:pt x="548" y="718"/>
                  </a:lnTo>
                  <a:lnTo>
                    <a:pt x="546" y="716"/>
                  </a:lnTo>
                  <a:lnTo>
                    <a:pt x="546" y="714"/>
                  </a:lnTo>
                  <a:lnTo>
                    <a:pt x="544" y="710"/>
                  </a:lnTo>
                  <a:lnTo>
                    <a:pt x="542" y="706"/>
                  </a:lnTo>
                  <a:lnTo>
                    <a:pt x="540" y="696"/>
                  </a:lnTo>
                  <a:lnTo>
                    <a:pt x="538" y="692"/>
                  </a:lnTo>
                  <a:lnTo>
                    <a:pt x="536" y="688"/>
                  </a:lnTo>
                  <a:lnTo>
                    <a:pt x="536" y="688"/>
                  </a:lnTo>
                  <a:lnTo>
                    <a:pt x="536" y="688"/>
                  </a:lnTo>
                  <a:lnTo>
                    <a:pt x="532" y="684"/>
                  </a:lnTo>
                  <a:lnTo>
                    <a:pt x="532" y="684"/>
                  </a:lnTo>
                  <a:lnTo>
                    <a:pt x="532" y="684"/>
                  </a:lnTo>
                  <a:lnTo>
                    <a:pt x="530" y="682"/>
                  </a:lnTo>
                  <a:lnTo>
                    <a:pt x="528" y="680"/>
                  </a:lnTo>
                  <a:lnTo>
                    <a:pt x="528" y="676"/>
                  </a:lnTo>
                  <a:lnTo>
                    <a:pt x="528" y="676"/>
                  </a:lnTo>
                  <a:lnTo>
                    <a:pt x="526" y="674"/>
                  </a:lnTo>
                  <a:lnTo>
                    <a:pt x="526" y="672"/>
                  </a:lnTo>
                  <a:lnTo>
                    <a:pt x="526" y="670"/>
                  </a:lnTo>
                  <a:lnTo>
                    <a:pt x="526" y="670"/>
                  </a:lnTo>
                  <a:lnTo>
                    <a:pt x="526" y="668"/>
                  </a:lnTo>
                  <a:lnTo>
                    <a:pt x="526" y="666"/>
                  </a:lnTo>
                  <a:lnTo>
                    <a:pt x="528" y="664"/>
                  </a:lnTo>
                  <a:lnTo>
                    <a:pt x="528" y="662"/>
                  </a:lnTo>
                  <a:lnTo>
                    <a:pt x="528" y="660"/>
                  </a:lnTo>
                  <a:lnTo>
                    <a:pt x="528" y="660"/>
                  </a:lnTo>
                  <a:lnTo>
                    <a:pt x="528" y="660"/>
                  </a:lnTo>
                  <a:lnTo>
                    <a:pt x="528" y="654"/>
                  </a:lnTo>
                  <a:lnTo>
                    <a:pt x="528" y="650"/>
                  </a:lnTo>
                  <a:lnTo>
                    <a:pt x="528" y="640"/>
                  </a:lnTo>
                  <a:lnTo>
                    <a:pt x="526" y="632"/>
                  </a:lnTo>
                  <a:lnTo>
                    <a:pt x="526" y="626"/>
                  </a:lnTo>
                  <a:lnTo>
                    <a:pt x="528" y="620"/>
                  </a:lnTo>
                  <a:lnTo>
                    <a:pt x="528" y="620"/>
                  </a:lnTo>
                  <a:lnTo>
                    <a:pt x="528" y="616"/>
                  </a:lnTo>
                  <a:lnTo>
                    <a:pt x="530" y="614"/>
                  </a:lnTo>
                  <a:lnTo>
                    <a:pt x="532" y="612"/>
                  </a:lnTo>
                  <a:lnTo>
                    <a:pt x="532" y="610"/>
                  </a:lnTo>
                  <a:lnTo>
                    <a:pt x="536" y="608"/>
                  </a:lnTo>
                  <a:lnTo>
                    <a:pt x="538" y="606"/>
                  </a:lnTo>
                  <a:lnTo>
                    <a:pt x="538" y="606"/>
                  </a:lnTo>
                  <a:lnTo>
                    <a:pt x="540" y="604"/>
                  </a:lnTo>
                  <a:lnTo>
                    <a:pt x="540" y="600"/>
                  </a:lnTo>
                  <a:lnTo>
                    <a:pt x="542" y="598"/>
                  </a:lnTo>
                  <a:lnTo>
                    <a:pt x="542" y="592"/>
                  </a:lnTo>
                  <a:lnTo>
                    <a:pt x="542" y="590"/>
                  </a:lnTo>
                  <a:lnTo>
                    <a:pt x="544" y="588"/>
                  </a:lnTo>
                  <a:lnTo>
                    <a:pt x="546" y="586"/>
                  </a:lnTo>
                  <a:lnTo>
                    <a:pt x="548" y="584"/>
                  </a:lnTo>
                  <a:lnTo>
                    <a:pt x="548" y="584"/>
                  </a:lnTo>
                  <a:lnTo>
                    <a:pt x="550" y="582"/>
                  </a:lnTo>
                  <a:lnTo>
                    <a:pt x="552" y="574"/>
                  </a:lnTo>
                  <a:lnTo>
                    <a:pt x="556" y="568"/>
                  </a:lnTo>
                  <a:lnTo>
                    <a:pt x="560" y="560"/>
                  </a:lnTo>
                  <a:lnTo>
                    <a:pt x="562" y="556"/>
                  </a:lnTo>
                  <a:lnTo>
                    <a:pt x="562" y="552"/>
                  </a:lnTo>
                  <a:lnTo>
                    <a:pt x="562" y="552"/>
                  </a:lnTo>
                  <a:lnTo>
                    <a:pt x="562" y="550"/>
                  </a:lnTo>
                  <a:lnTo>
                    <a:pt x="564" y="546"/>
                  </a:lnTo>
                  <a:lnTo>
                    <a:pt x="564" y="544"/>
                  </a:lnTo>
                  <a:lnTo>
                    <a:pt x="564" y="540"/>
                  </a:lnTo>
                  <a:lnTo>
                    <a:pt x="564" y="540"/>
                  </a:lnTo>
                  <a:lnTo>
                    <a:pt x="566" y="540"/>
                  </a:lnTo>
                  <a:lnTo>
                    <a:pt x="568" y="538"/>
                  </a:lnTo>
                  <a:lnTo>
                    <a:pt x="570" y="538"/>
                  </a:lnTo>
                  <a:lnTo>
                    <a:pt x="574" y="538"/>
                  </a:lnTo>
                  <a:lnTo>
                    <a:pt x="578" y="538"/>
                  </a:lnTo>
                  <a:lnTo>
                    <a:pt x="578" y="538"/>
                  </a:lnTo>
                  <a:lnTo>
                    <a:pt x="580" y="538"/>
                  </a:lnTo>
                  <a:lnTo>
                    <a:pt x="582" y="536"/>
                  </a:lnTo>
                  <a:lnTo>
                    <a:pt x="582" y="536"/>
                  </a:lnTo>
                  <a:lnTo>
                    <a:pt x="582" y="534"/>
                  </a:lnTo>
                  <a:lnTo>
                    <a:pt x="584" y="532"/>
                  </a:lnTo>
                  <a:lnTo>
                    <a:pt x="586" y="530"/>
                  </a:lnTo>
                  <a:lnTo>
                    <a:pt x="586" y="528"/>
                  </a:lnTo>
                  <a:lnTo>
                    <a:pt x="588" y="528"/>
                  </a:lnTo>
                  <a:lnTo>
                    <a:pt x="588" y="526"/>
                  </a:lnTo>
                  <a:lnTo>
                    <a:pt x="590" y="524"/>
                  </a:lnTo>
                  <a:lnTo>
                    <a:pt x="592" y="524"/>
                  </a:lnTo>
                  <a:lnTo>
                    <a:pt x="592" y="524"/>
                  </a:lnTo>
                  <a:lnTo>
                    <a:pt x="594" y="522"/>
                  </a:lnTo>
                  <a:lnTo>
                    <a:pt x="594" y="520"/>
                  </a:lnTo>
                  <a:lnTo>
                    <a:pt x="596" y="516"/>
                  </a:lnTo>
                  <a:lnTo>
                    <a:pt x="596" y="508"/>
                  </a:lnTo>
                  <a:lnTo>
                    <a:pt x="598" y="504"/>
                  </a:lnTo>
                  <a:lnTo>
                    <a:pt x="600" y="502"/>
                  </a:lnTo>
                  <a:lnTo>
                    <a:pt x="600" y="500"/>
                  </a:lnTo>
                  <a:lnTo>
                    <a:pt x="602" y="498"/>
                  </a:lnTo>
                  <a:lnTo>
                    <a:pt x="602" y="498"/>
                  </a:lnTo>
                  <a:lnTo>
                    <a:pt x="604" y="498"/>
                  </a:lnTo>
                  <a:lnTo>
                    <a:pt x="608" y="496"/>
                  </a:lnTo>
                  <a:lnTo>
                    <a:pt x="614" y="494"/>
                  </a:lnTo>
                  <a:lnTo>
                    <a:pt x="616" y="494"/>
                  </a:lnTo>
                  <a:lnTo>
                    <a:pt x="618" y="494"/>
                  </a:lnTo>
                  <a:lnTo>
                    <a:pt x="620" y="494"/>
                  </a:lnTo>
                  <a:lnTo>
                    <a:pt x="620" y="494"/>
                  </a:lnTo>
                  <a:lnTo>
                    <a:pt x="620" y="494"/>
                  </a:lnTo>
                  <a:lnTo>
                    <a:pt x="622" y="492"/>
                  </a:lnTo>
                  <a:lnTo>
                    <a:pt x="626" y="488"/>
                  </a:lnTo>
                  <a:lnTo>
                    <a:pt x="628" y="486"/>
                  </a:lnTo>
                  <a:lnTo>
                    <a:pt x="630" y="484"/>
                  </a:lnTo>
                  <a:lnTo>
                    <a:pt x="632" y="482"/>
                  </a:lnTo>
                  <a:lnTo>
                    <a:pt x="634" y="478"/>
                  </a:lnTo>
                  <a:lnTo>
                    <a:pt x="634" y="476"/>
                  </a:lnTo>
                  <a:lnTo>
                    <a:pt x="636" y="476"/>
                  </a:lnTo>
                  <a:lnTo>
                    <a:pt x="636" y="474"/>
                  </a:lnTo>
                  <a:lnTo>
                    <a:pt x="638" y="474"/>
                  </a:lnTo>
                  <a:lnTo>
                    <a:pt x="640" y="474"/>
                  </a:lnTo>
                  <a:lnTo>
                    <a:pt x="644" y="474"/>
                  </a:lnTo>
                  <a:lnTo>
                    <a:pt x="646" y="472"/>
                  </a:lnTo>
                  <a:lnTo>
                    <a:pt x="652" y="472"/>
                  </a:lnTo>
                  <a:lnTo>
                    <a:pt x="658" y="472"/>
                  </a:lnTo>
                  <a:lnTo>
                    <a:pt x="658" y="472"/>
                  </a:lnTo>
                  <a:lnTo>
                    <a:pt x="658" y="472"/>
                  </a:lnTo>
                  <a:lnTo>
                    <a:pt x="668" y="466"/>
                  </a:lnTo>
                  <a:lnTo>
                    <a:pt x="678" y="460"/>
                  </a:lnTo>
                  <a:lnTo>
                    <a:pt x="690" y="454"/>
                  </a:lnTo>
                  <a:lnTo>
                    <a:pt x="694" y="450"/>
                  </a:lnTo>
                  <a:lnTo>
                    <a:pt x="700" y="446"/>
                  </a:lnTo>
                  <a:lnTo>
                    <a:pt x="704" y="444"/>
                  </a:lnTo>
                  <a:lnTo>
                    <a:pt x="708" y="440"/>
                  </a:lnTo>
                  <a:lnTo>
                    <a:pt x="716" y="430"/>
                  </a:lnTo>
                  <a:lnTo>
                    <a:pt x="718" y="426"/>
                  </a:lnTo>
                  <a:lnTo>
                    <a:pt x="722" y="422"/>
                  </a:lnTo>
                  <a:lnTo>
                    <a:pt x="724" y="420"/>
                  </a:lnTo>
                  <a:lnTo>
                    <a:pt x="726" y="418"/>
                  </a:lnTo>
                  <a:lnTo>
                    <a:pt x="724" y="416"/>
                  </a:lnTo>
                  <a:lnTo>
                    <a:pt x="724" y="416"/>
                  </a:lnTo>
                  <a:lnTo>
                    <a:pt x="724" y="416"/>
                  </a:lnTo>
                  <a:lnTo>
                    <a:pt x="726" y="412"/>
                  </a:lnTo>
                  <a:lnTo>
                    <a:pt x="726" y="408"/>
                  </a:lnTo>
                  <a:lnTo>
                    <a:pt x="726" y="408"/>
                  </a:lnTo>
                  <a:lnTo>
                    <a:pt x="722" y="406"/>
                  </a:lnTo>
                  <a:lnTo>
                    <a:pt x="720" y="404"/>
                  </a:lnTo>
                  <a:lnTo>
                    <a:pt x="716" y="400"/>
                  </a:lnTo>
                  <a:lnTo>
                    <a:pt x="712" y="398"/>
                  </a:lnTo>
                  <a:lnTo>
                    <a:pt x="708" y="396"/>
                  </a:lnTo>
                  <a:lnTo>
                    <a:pt x="704" y="392"/>
                  </a:lnTo>
                  <a:lnTo>
                    <a:pt x="702" y="392"/>
                  </a:lnTo>
                  <a:lnTo>
                    <a:pt x="702" y="392"/>
                  </a:lnTo>
                  <a:lnTo>
                    <a:pt x="702" y="392"/>
                  </a:lnTo>
                  <a:lnTo>
                    <a:pt x="698" y="390"/>
                  </a:lnTo>
                  <a:lnTo>
                    <a:pt x="694" y="390"/>
                  </a:lnTo>
                  <a:lnTo>
                    <a:pt x="694" y="390"/>
                  </a:lnTo>
                  <a:lnTo>
                    <a:pt x="694" y="390"/>
                  </a:lnTo>
                  <a:lnTo>
                    <a:pt x="688" y="390"/>
                  </a:lnTo>
                  <a:lnTo>
                    <a:pt x="688" y="390"/>
                  </a:lnTo>
                  <a:lnTo>
                    <a:pt x="688" y="390"/>
                  </a:lnTo>
                  <a:lnTo>
                    <a:pt x="682" y="390"/>
                  </a:lnTo>
                  <a:lnTo>
                    <a:pt x="682" y="390"/>
                  </a:lnTo>
                  <a:lnTo>
                    <a:pt x="682" y="390"/>
                  </a:lnTo>
                  <a:lnTo>
                    <a:pt x="678" y="392"/>
                  </a:lnTo>
                  <a:lnTo>
                    <a:pt x="678" y="392"/>
                  </a:lnTo>
                  <a:lnTo>
                    <a:pt x="676" y="392"/>
                  </a:lnTo>
                  <a:lnTo>
                    <a:pt x="674" y="396"/>
                  </a:lnTo>
                  <a:lnTo>
                    <a:pt x="672" y="398"/>
                  </a:lnTo>
                  <a:lnTo>
                    <a:pt x="668" y="404"/>
                  </a:lnTo>
                  <a:lnTo>
                    <a:pt x="666" y="406"/>
                  </a:lnTo>
                  <a:lnTo>
                    <a:pt x="666" y="408"/>
                  </a:lnTo>
                  <a:lnTo>
                    <a:pt x="664" y="410"/>
                  </a:lnTo>
                  <a:lnTo>
                    <a:pt x="664" y="410"/>
                  </a:lnTo>
                  <a:lnTo>
                    <a:pt x="664" y="410"/>
                  </a:lnTo>
                  <a:lnTo>
                    <a:pt x="664" y="414"/>
                  </a:lnTo>
                  <a:lnTo>
                    <a:pt x="664" y="416"/>
                  </a:lnTo>
                  <a:lnTo>
                    <a:pt x="664" y="418"/>
                  </a:lnTo>
                  <a:lnTo>
                    <a:pt x="664" y="418"/>
                  </a:lnTo>
                  <a:close/>
                  <a:moveTo>
                    <a:pt x="360" y="128"/>
                  </a:moveTo>
                  <a:lnTo>
                    <a:pt x="362" y="128"/>
                  </a:lnTo>
                  <a:lnTo>
                    <a:pt x="362" y="128"/>
                  </a:lnTo>
                  <a:lnTo>
                    <a:pt x="362" y="130"/>
                  </a:lnTo>
                  <a:lnTo>
                    <a:pt x="364" y="130"/>
                  </a:lnTo>
                  <a:lnTo>
                    <a:pt x="366" y="132"/>
                  </a:lnTo>
                  <a:lnTo>
                    <a:pt x="366" y="132"/>
                  </a:lnTo>
                  <a:lnTo>
                    <a:pt x="368" y="132"/>
                  </a:lnTo>
                  <a:lnTo>
                    <a:pt x="372" y="134"/>
                  </a:lnTo>
                  <a:lnTo>
                    <a:pt x="374" y="134"/>
                  </a:lnTo>
                  <a:lnTo>
                    <a:pt x="378" y="134"/>
                  </a:lnTo>
                  <a:lnTo>
                    <a:pt x="378" y="134"/>
                  </a:lnTo>
                  <a:lnTo>
                    <a:pt x="380" y="134"/>
                  </a:lnTo>
                  <a:lnTo>
                    <a:pt x="384" y="132"/>
                  </a:lnTo>
                  <a:lnTo>
                    <a:pt x="386" y="130"/>
                  </a:lnTo>
                  <a:lnTo>
                    <a:pt x="388" y="128"/>
                  </a:lnTo>
                  <a:lnTo>
                    <a:pt x="390" y="126"/>
                  </a:lnTo>
                  <a:lnTo>
                    <a:pt x="392" y="126"/>
                  </a:lnTo>
                  <a:lnTo>
                    <a:pt x="394" y="124"/>
                  </a:lnTo>
                  <a:lnTo>
                    <a:pt x="396" y="124"/>
                  </a:lnTo>
                  <a:lnTo>
                    <a:pt x="396" y="124"/>
                  </a:lnTo>
                  <a:lnTo>
                    <a:pt x="396" y="126"/>
                  </a:lnTo>
                  <a:lnTo>
                    <a:pt x="394" y="128"/>
                  </a:lnTo>
                  <a:lnTo>
                    <a:pt x="392" y="134"/>
                  </a:lnTo>
                  <a:lnTo>
                    <a:pt x="390" y="136"/>
                  </a:lnTo>
                  <a:lnTo>
                    <a:pt x="390" y="138"/>
                  </a:lnTo>
                  <a:lnTo>
                    <a:pt x="388" y="142"/>
                  </a:lnTo>
                  <a:lnTo>
                    <a:pt x="388" y="144"/>
                  </a:lnTo>
                  <a:lnTo>
                    <a:pt x="386" y="148"/>
                  </a:lnTo>
                  <a:lnTo>
                    <a:pt x="386" y="148"/>
                  </a:lnTo>
                  <a:lnTo>
                    <a:pt x="386" y="148"/>
                  </a:lnTo>
                  <a:lnTo>
                    <a:pt x="386" y="150"/>
                  </a:lnTo>
                  <a:lnTo>
                    <a:pt x="386" y="150"/>
                  </a:lnTo>
                  <a:lnTo>
                    <a:pt x="386" y="152"/>
                  </a:lnTo>
                  <a:lnTo>
                    <a:pt x="386" y="154"/>
                  </a:lnTo>
                  <a:lnTo>
                    <a:pt x="386" y="154"/>
                  </a:lnTo>
                  <a:lnTo>
                    <a:pt x="388" y="154"/>
                  </a:lnTo>
                  <a:lnTo>
                    <a:pt x="388" y="156"/>
                  </a:lnTo>
                  <a:lnTo>
                    <a:pt x="388" y="156"/>
                  </a:lnTo>
                  <a:lnTo>
                    <a:pt x="388" y="158"/>
                  </a:lnTo>
                  <a:lnTo>
                    <a:pt x="390" y="160"/>
                  </a:lnTo>
                  <a:lnTo>
                    <a:pt x="392" y="162"/>
                  </a:lnTo>
                  <a:lnTo>
                    <a:pt x="396" y="166"/>
                  </a:lnTo>
                  <a:lnTo>
                    <a:pt x="396" y="166"/>
                  </a:lnTo>
                  <a:lnTo>
                    <a:pt x="398" y="168"/>
                  </a:lnTo>
                  <a:lnTo>
                    <a:pt x="402" y="168"/>
                  </a:lnTo>
                  <a:lnTo>
                    <a:pt x="406" y="170"/>
                  </a:lnTo>
                  <a:lnTo>
                    <a:pt x="408" y="170"/>
                  </a:lnTo>
                  <a:lnTo>
                    <a:pt x="412" y="172"/>
                  </a:lnTo>
                  <a:lnTo>
                    <a:pt x="414" y="172"/>
                  </a:lnTo>
                  <a:lnTo>
                    <a:pt x="414" y="172"/>
                  </a:lnTo>
                  <a:lnTo>
                    <a:pt x="414" y="172"/>
                  </a:lnTo>
                  <a:lnTo>
                    <a:pt x="416" y="172"/>
                  </a:lnTo>
                  <a:lnTo>
                    <a:pt x="416" y="172"/>
                  </a:lnTo>
                  <a:lnTo>
                    <a:pt x="418" y="170"/>
                  </a:lnTo>
                  <a:lnTo>
                    <a:pt x="418" y="170"/>
                  </a:lnTo>
                  <a:lnTo>
                    <a:pt x="418" y="170"/>
                  </a:lnTo>
                  <a:lnTo>
                    <a:pt x="420" y="170"/>
                  </a:lnTo>
                  <a:lnTo>
                    <a:pt x="422" y="170"/>
                  </a:lnTo>
                  <a:lnTo>
                    <a:pt x="422" y="170"/>
                  </a:lnTo>
                  <a:lnTo>
                    <a:pt x="422" y="168"/>
                  </a:lnTo>
                  <a:lnTo>
                    <a:pt x="422" y="168"/>
                  </a:lnTo>
                  <a:lnTo>
                    <a:pt x="422" y="168"/>
                  </a:lnTo>
                  <a:lnTo>
                    <a:pt x="422" y="166"/>
                  </a:lnTo>
                  <a:lnTo>
                    <a:pt x="424" y="164"/>
                  </a:lnTo>
                  <a:lnTo>
                    <a:pt x="424" y="162"/>
                  </a:lnTo>
                  <a:lnTo>
                    <a:pt x="426" y="160"/>
                  </a:lnTo>
                  <a:lnTo>
                    <a:pt x="426" y="156"/>
                  </a:lnTo>
                  <a:lnTo>
                    <a:pt x="426" y="152"/>
                  </a:lnTo>
                  <a:lnTo>
                    <a:pt x="426" y="148"/>
                  </a:lnTo>
                  <a:lnTo>
                    <a:pt x="426" y="146"/>
                  </a:lnTo>
                  <a:lnTo>
                    <a:pt x="428" y="146"/>
                  </a:lnTo>
                  <a:lnTo>
                    <a:pt x="432" y="146"/>
                  </a:lnTo>
                  <a:lnTo>
                    <a:pt x="434" y="146"/>
                  </a:lnTo>
                  <a:lnTo>
                    <a:pt x="436" y="144"/>
                  </a:lnTo>
                  <a:lnTo>
                    <a:pt x="438" y="144"/>
                  </a:lnTo>
                  <a:lnTo>
                    <a:pt x="440" y="144"/>
                  </a:lnTo>
                  <a:lnTo>
                    <a:pt x="440" y="144"/>
                  </a:lnTo>
                  <a:lnTo>
                    <a:pt x="440" y="144"/>
                  </a:lnTo>
                  <a:lnTo>
                    <a:pt x="442" y="142"/>
                  </a:lnTo>
                  <a:lnTo>
                    <a:pt x="442" y="142"/>
                  </a:lnTo>
                  <a:lnTo>
                    <a:pt x="444" y="142"/>
                  </a:lnTo>
                  <a:lnTo>
                    <a:pt x="446" y="140"/>
                  </a:lnTo>
                  <a:lnTo>
                    <a:pt x="446" y="140"/>
                  </a:lnTo>
                  <a:lnTo>
                    <a:pt x="446" y="140"/>
                  </a:lnTo>
                  <a:lnTo>
                    <a:pt x="446" y="136"/>
                  </a:lnTo>
                  <a:lnTo>
                    <a:pt x="448" y="134"/>
                  </a:lnTo>
                  <a:lnTo>
                    <a:pt x="448" y="132"/>
                  </a:lnTo>
                  <a:lnTo>
                    <a:pt x="448" y="128"/>
                  </a:lnTo>
                  <a:lnTo>
                    <a:pt x="450" y="126"/>
                  </a:lnTo>
                  <a:lnTo>
                    <a:pt x="450" y="126"/>
                  </a:lnTo>
                  <a:lnTo>
                    <a:pt x="452" y="126"/>
                  </a:lnTo>
                  <a:lnTo>
                    <a:pt x="456" y="124"/>
                  </a:lnTo>
                  <a:lnTo>
                    <a:pt x="458" y="124"/>
                  </a:lnTo>
                  <a:lnTo>
                    <a:pt x="460" y="124"/>
                  </a:lnTo>
                  <a:lnTo>
                    <a:pt x="462" y="122"/>
                  </a:lnTo>
                  <a:lnTo>
                    <a:pt x="462" y="122"/>
                  </a:lnTo>
                  <a:lnTo>
                    <a:pt x="464" y="122"/>
                  </a:lnTo>
                  <a:lnTo>
                    <a:pt x="464" y="120"/>
                  </a:lnTo>
                  <a:lnTo>
                    <a:pt x="464" y="120"/>
                  </a:lnTo>
                  <a:lnTo>
                    <a:pt x="466" y="120"/>
                  </a:lnTo>
                  <a:lnTo>
                    <a:pt x="466" y="118"/>
                  </a:lnTo>
                  <a:lnTo>
                    <a:pt x="466" y="118"/>
                  </a:lnTo>
                  <a:lnTo>
                    <a:pt x="466" y="118"/>
                  </a:lnTo>
                  <a:lnTo>
                    <a:pt x="468" y="116"/>
                  </a:lnTo>
                  <a:lnTo>
                    <a:pt x="468" y="116"/>
                  </a:lnTo>
                  <a:lnTo>
                    <a:pt x="468" y="116"/>
                  </a:lnTo>
                  <a:lnTo>
                    <a:pt x="468" y="112"/>
                  </a:lnTo>
                  <a:lnTo>
                    <a:pt x="470" y="108"/>
                  </a:lnTo>
                  <a:lnTo>
                    <a:pt x="470" y="108"/>
                  </a:lnTo>
                  <a:lnTo>
                    <a:pt x="470" y="106"/>
                  </a:lnTo>
                  <a:lnTo>
                    <a:pt x="468" y="104"/>
                  </a:lnTo>
                  <a:lnTo>
                    <a:pt x="464" y="104"/>
                  </a:lnTo>
                  <a:lnTo>
                    <a:pt x="462" y="102"/>
                  </a:lnTo>
                  <a:lnTo>
                    <a:pt x="460" y="100"/>
                  </a:lnTo>
                  <a:lnTo>
                    <a:pt x="458" y="98"/>
                  </a:lnTo>
                  <a:lnTo>
                    <a:pt x="456" y="94"/>
                  </a:lnTo>
                  <a:lnTo>
                    <a:pt x="454" y="92"/>
                  </a:lnTo>
                  <a:lnTo>
                    <a:pt x="452" y="88"/>
                  </a:lnTo>
                  <a:lnTo>
                    <a:pt x="452" y="88"/>
                  </a:lnTo>
                  <a:lnTo>
                    <a:pt x="448" y="88"/>
                  </a:lnTo>
                  <a:lnTo>
                    <a:pt x="444" y="88"/>
                  </a:lnTo>
                  <a:lnTo>
                    <a:pt x="442" y="90"/>
                  </a:lnTo>
                  <a:lnTo>
                    <a:pt x="442" y="90"/>
                  </a:lnTo>
                  <a:lnTo>
                    <a:pt x="442" y="90"/>
                  </a:lnTo>
                  <a:lnTo>
                    <a:pt x="440" y="90"/>
                  </a:lnTo>
                  <a:lnTo>
                    <a:pt x="440" y="90"/>
                  </a:lnTo>
                  <a:lnTo>
                    <a:pt x="440" y="92"/>
                  </a:lnTo>
                  <a:lnTo>
                    <a:pt x="440" y="92"/>
                  </a:lnTo>
                  <a:lnTo>
                    <a:pt x="440" y="92"/>
                  </a:lnTo>
                  <a:lnTo>
                    <a:pt x="438" y="94"/>
                  </a:lnTo>
                  <a:lnTo>
                    <a:pt x="438" y="94"/>
                  </a:lnTo>
                  <a:lnTo>
                    <a:pt x="438" y="94"/>
                  </a:lnTo>
                  <a:lnTo>
                    <a:pt x="438" y="94"/>
                  </a:lnTo>
                  <a:lnTo>
                    <a:pt x="438" y="94"/>
                  </a:lnTo>
                  <a:lnTo>
                    <a:pt x="436" y="94"/>
                  </a:lnTo>
                  <a:lnTo>
                    <a:pt x="434" y="96"/>
                  </a:lnTo>
                  <a:lnTo>
                    <a:pt x="430" y="96"/>
                  </a:lnTo>
                  <a:lnTo>
                    <a:pt x="428" y="96"/>
                  </a:lnTo>
                  <a:lnTo>
                    <a:pt x="426" y="96"/>
                  </a:lnTo>
                  <a:lnTo>
                    <a:pt x="422" y="96"/>
                  </a:lnTo>
                  <a:lnTo>
                    <a:pt x="418" y="96"/>
                  </a:lnTo>
                  <a:lnTo>
                    <a:pt x="414" y="96"/>
                  </a:lnTo>
                  <a:lnTo>
                    <a:pt x="412" y="94"/>
                  </a:lnTo>
                  <a:lnTo>
                    <a:pt x="408" y="94"/>
                  </a:lnTo>
                  <a:lnTo>
                    <a:pt x="408" y="94"/>
                  </a:lnTo>
                  <a:lnTo>
                    <a:pt x="408" y="92"/>
                  </a:lnTo>
                  <a:lnTo>
                    <a:pt x="406" y="92"/>
                  </a:lnTo>
                  <a:lnTo>
                    <a:pt x="406" y="92"/>
                  </a:lnTo>
                  <a:lnTo>
                    <a:pt x="406" y="92"/>
                  </a:lnTo>
                  <a:lnTo>
                    <a:pt x="402" y="92"/>
                  </a:lnTo>
                  <a:lnTo>
                    <a:pt x="402" y="92"/>
                  </a:lnTo>
                  <a:lnTo>
                    <a:pt x="402" y="94"/>
                  </a:lnTo>
                  <a:lnTo>
                    <a:pt x="400" y="94"/>
                  </a:lnTo>
                  <a:lnTo>
                    <a:pt x="400" y="94"/>
                  </a:lnTo>
                  <a:lnTo>
                    <a:pt x="400" y="94"/>
                  </a:lnTo>
                  <a:lnTo>
                    <a:pt x="396" y="98"/>
                  </a:lnTo>
                  <a:lnTo>
                    <a:pt x="396" y="100"/>
                  </a:lnTo>
                  <a:lnTo>
                    <a:pt x="394" y="102"/>
                  </a:lnTo>
                  <a:lnTo>
                    <a:pt x="394" y="102"/>
                  </a:lnTo>
                  <a:lnTo>
                    <a:pt x="394" y="102"/>
                  </a:lnTo>
                  <a:lnTo>
                    <a:pt x="392" y="102"/>
                  </a:lnTo>
                  <a:lnTo>
                    <a:pt x="390" y="104"/>
                  </a:lnTo>
                  <a:lnTo>
                    <a:pt x="386" y="106"/>
                  </a:lnTo>
                  <a:lnTo>
                    <a:pt x="384" y="108"/>
                  </a:lnTo>
                  <a:lnTo>
                    <a:pt x="380" y="110"/>
                  </a:lnTo>
                  <a:lnTo>
                    <a:pt x="376" y="110"/>
                  </a:lnTo>
                  <a:lnTo>
                    <a:pt x="372" y="110"/>
                  </a:lnTo>
                  <a:lnTo>
                    <a:pt x="368" y="110"/>
                  </a:lnTo>
                  <a:lnTo>
                    <a:pt x="368" y="110"/>
                  </a:lnTo>
                  <a:lnTo>
                    <a:pt x="366" y="112"/>
                  </a:lnTo>
                  <a:lnTo>
                    <a:pt x="366" y="112"/>
                  </a:lnTo>
                  <a:lnTo>
                    <a:pt x="366" y="112"/>
                  </a:lnTo>
                  <a:lnTo>
                    <a:pt x="364" y="114"/>
                  </a:lnTo>
                  <a:lnTo>
                    <a:pt x="364" y="116"/>
                  </a:lnTo>
                  <a:lnTo>
                    <a:pt x="362" y="118"/>
                  </a:lnTo>
                  <a:lnTo>
                    <a:pt x="360" y="120"/>
                  </a:lnTo>
                  <a:lnTo>
                    <a:pt x="358" y="120"/>
                  </a:lnTo>
                  <a:lnTo>
                    <a:pt x="358" y="120"/>
                  </a:lnTo>
                  <a:lnTo>
                    <a:pt x="358" y="122"/>
                  </a:lnTo>
                  <a:lnTo>
                    <a:pt x="358" y="122"/>
                  </a:lnTo>
                  <a:lnTo>
                    <a:pt x="358" y="124"/>
                  </a:lnTo>
                  <a:lnTo>
                    <a:pt x="360" y="128"/>
                  </a:lnTo>
                  <a:close/>
                  <a:moveTo>
                    <a:pt x="548" y="10"/>
                  </a:moveTo>
                  <a:lnTo>
                    <a:pt x="550" y="14"/>
                  </a:lnTo>
                  <a:lnTo>
                    <a:pt x="550" y="14"/>
                  </a:lnTo>
                  <a:lnTo>
                    <a:pt x="550" y="16"/>
                  </a:lnTo>
                  <a:lnTo>
                    <a:pt x="552" y="20"/>
                  </a:lnTo>
                  <a:lnTo>
                    <a:pt x="552" y="20"/>
                  </a:lnTo>
                  <a:lnTo>
                    <a:pt x="552" y="20"/>
                  </a:lnTo>
                  <a:lnTo>
                    <a:pt x="554" y="22"/>
                  </a:lnTo>
                  <a:lnTo>
                    <a:pt x="556" y="24"/>
                  </a:lnTo>
                  <a:lnTo>
                    <a:pt x="556" y="24"/>
                  </a:lnTo>
                  <a:lnTo>
                    <a:pt x="558" y="26"/>
                  </a:lnTo>
                  <a:lnTo>
                    <a:pt x="558" y="26"/>
                  </a:lnTo>
                  <a:lnTo>
                    <a:pt x="560" y="26"/>
                  </a:lnTo>
                  <a:lnTo>
                    <a:pt x="562" y="24"/>
                  </a:lnTo>
                  <a:lnTo>
                    <a:pt x="564" y="24"/>
                  </a:lnTo>
                  <a:lnTo>
                    <a:pt x="568" y="24"/>
                  </a:lnTo>
                  <a:lnTo>
                    <a:pt x="570" y="22"/>
                  </a:lnTo>
                  <a:lnTo>
                    <a:pt x="570" y="22"/>
                  </a:lnTo>
                  <a:lnTo>
                    <a:pt x="570" y="22"/>
                  </a:lnTo>
                  <a:lnTo>
                    <a:pt x="572" y="22"/>
                  </a:lnTo>
                  <a:lnTo>
                    <a:pt x="572" y="20"/>
                  </a:lnTo>
                  <a:lnTo>
                    <a:pt x="572" y="20"/>
                  </a:lnTo>
                  <a:lnTo>
                    <a:pt x="574" y="20"/>
                  </a:lnTo>
                  <a:lnTo>
                    <a:pt x="574" y="18"/>
                  </a:lnTo>
                  <a:lnTo>
                    <a:pt x="576" y="16"/>
                  </a:lnTo>
                  <a:lnTo>
                    <a:pt x="578" y="14"/>
                  </a:lnTo>
                  <a:lnTo>
                    <a:pt x="578" y="14"/>
                  </a:lnTo>
                  <a:lnTo>
                    <a:pt x="578" y="12"/>
                  </a:lnTo>
                  <a:lnTo>
                    <a:pt x="578" y="10"/>
                  </a:lnTo>
                  <a:lnTo>
                    <a:pt x="578" y="10"/>
                  </a:lnTo>
                  <a:lnTo>
                    <a:pt x="578" y="10"/>
                  </a:lnTo>
                  <a:lnTo>
                    <a:pt x="578" y="8"/>
                  </a:lnTo>
                  <a:lnTo>
                    <a:pt x="578" y="8"/>
                  </a:lnTo>
                  <a:lnTo>
                    <a:pt x="578" y="8"/>
                  </a:lnTo>
                  <a:lnTo>
                    <a:pt x="578" y="6"/>
                  </a:lnTo>
                  <a:lnTo>
                    <a:pt x="578" y="6"/>
                  </a:lnTo>
                  <a:lnTo>
                    <a:pt x="576" y="4"/>
                  </a:lnTo>
                  <a:lnTo>
                    <a:pt x="576" y="4"/>
                  </a:lnTo>
                  <a:lnTo>
                    <a:pt x="576" y="4"/>
                  </a:lnTo>
                  <a:lnTo>
                    <a:pt x="574" y="2"/>
                  </a:lnTo>
                  <a:lnTo>
                    <a:pt x="572" y="2"/>
                  </a:lnTo>
                  <a:lnTo>
                    <a:pt x="568" y="2"/>
                  </a:lnTo>
                  <a:lnTo>
                    <a:pt x="562" y="2"/>
                  </a:lnTo>
                  <a:lnTo>
                    <a:pt x="558" y="2"/>
                  </a:lnTo>
                  <a:lnTo>
                    <a:pt x="552" y="0"/>
                  </a:lnTo>
                  <a:lnTo>
                    <a:pt x="552" y="0"/>
                  </a:lnTo>
                  <a:lnTo>
                    <a:pt x="550" y="2"/>
                  </a:lnTo>
                  <a:lnTo>
                    <a:pt x="550" y="2"/>
                  </a:lnTo>
                  <a:lnTo>
                    <a:pt x="548" y="4"/>
                  </a:lnTo>
                  <a:lnTo>
                    <a:pt x="548" y="6"/>
                  </a:lnTo>
                  <a:lnTo>
                    <a:pt x="548" y="10"/>
                  </a:lnTo>
                  <a:close/>
                  <a:moveTo>
                    <a:pt x="616" y="26"/>
                  </a:moveTo>
                  <a:lnTo>
                    <a:pt x="616" y="26"/>
                  </a:lnTo>
                  <a:lnTo>
                    <a:pt x="616" y="26"/>
                  </a:lnTo>
                  <a:lnTo>
                    <a:pt x="618" y="28"/>
                  </a:lnTo>
                  <a:lnTo>
                    <a:pt x="618" y="28"/>
                  </a:lnTo>
                  <a:lnTo>
                    <a:pt x="618" y="28"/>
                  </a:lnTo>
                  <a:lnTo>
                    <a:pt x="620" y="28"/>
                  </a:lnTo>
                  <a:lnTo>
                    <a:pt x="620" y="30"/>
                  </a:lnTo>
                  <a:lnTo>
                    <a:pt x="624" y="30"/>
                  </a:lnTo>
                  <a:lnTo>
                    <a:pt x="626" y="32"/>
                  </a:lnTo>
                  <a:lnTo>
                    <a:pt x="626" y="32"/>
                  </a:lnTo>
                  <a:lnTo>
                    <a:pt x="628" y="32"/>
                  </a:lnTo>
                  <a:lnTo>
                    <a:pt x="628" y="32"/>
                  </a:lnTo>
                  <a:lnTo>
                    <a:pt x="630" y="30"/>
                  </a:lnTo>
                  <a:lnTo>
                    <a:pt x="632" y="30"/>
                  </a:lnTo>
                  <a:lnTo>
                    <a:pt x="634" y="28"/>
                  </a:lnTo>
                  <a:lnTo>
                    <a:pt x="638" y="26"/>
                  </a:lnTo>
                  <a:lnTo>
                    <a:pt x="640" y="24"/>
                  </a:lnTo>
                  <a:lnTo>
                    <a:pt x="640" y="24"/>
                  </a:lnTo>
                  <a:lnTo>
                    <a:pt x="642" y="24"/>
                  </a:lnTo>
                  <a:lnTo>
                    <a:pt x="644" y="22"/>
                  </a:lnTo>
                  <a:lnTo>
                    <a:pt x="644" y="22"/>
                  </a:lnTo>
                  <a:lnTo>
                    <a:pt x="644" y="20"/>
                  </a:lnTo>
                  <a:lnTo>
                    <a:pt x="644" y="20"/>
                  </a:lnTo>
                  <a:lnTo>
                    <a:pt x="644" y="20"/>
                  </a:lnTo>
                  <a:lnTo>
                    <a:pt x="644" y="18"/>
                  </a:lnTo>
                  <a:lnTo>
                    <a:pt x="644" y="18"/>
                  </a:lnTo>
                  <a:lnTo>
                    <a:pt x="644" y="18"/>
                  </a:lnTo>
                  <a:lnTo>
                    <a:pt x="644" y="16"/>
                  </a:lnTo>
                  <a:lnTo>
                    <a:pt x="644" y="16"/>
                  </a:lnTo>
                  <a:lnTo>
                    <a:pt x="644" y="16"/>
                  </a:lnTo>
                  <a:lnTo>
                    <a:pt x="642" y="14"/>
                  </a:lnTo>
                  <a:lnTo>
                    <a:pt x="642" y="14"/>
                  </a:lnTo>
                  <a:lnTo>
                    <a:pt x="642" y="14"/>
                  </a:lnTo>
                  <a:lnTo>
                    <a:pt x="642" y="14"/>
                  </a:lnTo>
                  <a:lnTo>
                    <a:pt x="640" y="12"/>
                  </a:lnTo>
                  <a:lnTo>
                    <a:pt x="640" y="12"/>
                  </a:lnTo>
                  <a:lnTo>
                    <a:pt x="640" y="12"/>
                  </a:lnTo>
                  <a:lnTo>
                    <a:pt x="638" y="12"/>
                  </a:lnTo>
                  <a:lnTo>
                    <a:pt x="638" y="12"/>
                  </a:lnTo>
                  <a:lnTo>
                    <a:pt x="638" y="12"/>
                  </a:lnTo>
                  <a:lnTo>
                    <a:pt x="634" y="12"/>
                  </a:lnTo>
                  <a:lnTo>
                    <a:pt x="630" y="12"/>
                  </a:lnTo>
                  <a:lnTo>
                    <a:pt x="626" y="12"/>
                  </a:lnTo>
                  <a:lnTo>
                    <a:pt x="626" y="12"/>
                  </a:lnTo>
                  <a:lnTo>
                    <a:pt x="624" y="12"/>
                  </a:lnTo>
                  <a:lnTo>
                    <a:pt x="622" y="14"/>
                  </a:lnTo>
                  <a:lnTo>
                    <a:pt x="620" y="16"/>
                  </a:lnTo>
                  <a:lnTo>
                    <a:pt x="618" y="18"/>
                  </a:lnTo>
                  <a:lnTo>
                    <a:pt x="618" y="18"/>
                  </a:lnTo>
                  <a:lnTo>
                    <a:pt x="616" y="20"/>
                  </a:lnTo>
                  <a:lnTo>
                    <a:pt x="616" y="20"/>
                  </a:lnTo>
                  <a:lnTo>
                    <a:pt x="616" y="20"/>
                  </a:lnTo>
                  <a:lnTo>
                    <a:pt x="616" y="22"/>
                  </a:lnTo>
                  <a:lnTo>
                    <a:pt x="616" y="24"/>
                  </a:lnTo>
                  <a:lnTo>
                    <a:pt x="616" y="24"/>
                  </a:lnTo>
                  <a:lnTo>
                    <a:pt x="616" y="26"/>
                  </a:lnTo>
                  <a:lnTo>
                    <a:pt x="616" y="26"/>
                  </a:lnTo>
                  <a:close/>
                  <a:moveTo>
                    <a:pt x="468" y="148"/>
                  </a:moveTo>
                  <a:lnTo>
                    <a:pt x="468" y="148"/>
                  </a:lnTo>
                  <a:lnTo>
                    <a:pt x="468" y="150"/>
                  </a:lnTo>
                  <a:lnTo>
                    <a:pt x="468" y="150"/>
                  </a:lnTo>
                  <a:lnTo>
                    <a:pt x="468" y="150"/>
                  </a:lnTo>
                  <a:lnTo>
                    <a:pt x="468" y="152"/>
                  </a:lnTo>
                  <a:lnTo>
                    <a:pt x="468" y="154"/>
                  </a:lnTo>
                  <a:lnTo>
                    <a:pt x="468" y="154"/>
                  </a:lnTo>
                  <a:lnTo>
                    <a:pt x="468" y="154"/>
                  </a:lnTo>
                  <a:lnTo>
                    <a:pt x="470" y="156"/>
                  </a:lnTo>
                  <a:lnTo>
                    <a:pt x="470" y="156"/>
                  </a:lnTo>
                  <a:lnTo>
                    <a:pt x="470" y="156"/>
                  </a:lnTo>
                  <a:lnTo>
                    <a:pt x="472" y="158"/>
                  </a:lnTo>
                  <a:lnTo>
                    <a:pt x="474" y="162"/>
                  </a:lnTo>
                  <a:lnTo>
                    <a:pt x="474" y="162"/>
                  </a:lnTo>
                  <a:lnTo>
                    <a:pt x="474" y="162"/>
                  </a:lnTo>
                  <a:lnTo>
                    <a:pt x="476" y="164"/>
                  </a:lnTo>
                  <a:lnTo>
                    <a:pt x="476" y="164"/>
                  </a:lnTo>
                  <a:lnTo>
                    <a:pt x="476" y="164"/>
                  </a:lnTo>
                  <a:lnTo>
                    <a:pt x="478" y="164"/>
                  </a:lnTo>
                  <a:lnTo>
                    <a:pt x="478" y="164"/>
                  </a:lnTo>
                  <a:lnTo>
                    <a:pt x="480" y="164"/>
                  </a:lnTo>
                  <a:lnTo>
                    <a:pt x="482" y="164"/>
                  </a:lnTo>
                  <a:lnTo>
                    <a:pt x="484" y="164"/>
                  </a:lnTo>
                  <a:lnTo>
                    <a:pt x="490" y="164"/>
                  </a:lnTo>
                  <a:lnTo>
                    <a:pt x="492" y="164"/>
                  </a:lnTo>
                  <a:lnTo>
                    <a:pt x="494" y="164"/>
                  </a:lnTo>
                  <a:lnTo>
                    <a:pt x="494" y="164"/>
                  </a:lnTo>
                  <a:lnTo>
                    <a:pt x="496" y="164"/>
                  </a:lnTo>
                  <a:lnTo>
                    <a:pt x="496" y="162"/>
                  </a:lnTo>
                  <a:lnTo>
                    <a:pt x="498" y="160"/>
                  </a:lnTo>
                  <a:lnTo>
                    <a:pt x="498" y="156"/>
                  </a:lnTo>
                  <a:lnTo>
                    <a:pt x="498" y="154"/>
                  </a:lnTo>
                  <a:lnTo>
                    <a:pt x="498" y="152"/>
                  </a:lnTo>
                  <a:lnTo>
                    <a:pt x="498" y="152"/>
                  </a:lnTo>
                  <a:lnTo>
                    <a:pt x="498" y="152"/>
                  </a:lnTo>
                  <a:lnTo>
                    <a:pt x="498" y="148"/>
                  </a:lnTo>
                  <a:lnTo>
                    <a:pt x="498" y="148"/>
                  </a:lnTo>
                  <a:lnTo>
                    <a:pt x="496" y="148"/>
                  </a:lnTo>
                  <a:lnTo>
                    <a:pt x="496" y="146"/>
                  </a:lnTo>
                  <a:lnTo>
                    <a:pt x="496" y="146"/>
                  </a:lnTo>
                  <a:lnTo>
                    <a:pt x="494" y="146"/>
                  </a:lnTo>
                  <a:lnTo>
                    <a:pt x="492" y="144"/>
                  </a:lnTo>
                  <a:lnTo>
                    <a:pt x="492" y="144"/>
                  </a:lnTo>
                  <a:lnTo>
                    <a:pt x="490" y="144"/>
                  </a:lnTo>
                  <a:lnTo>
                    <a:pt x="488" y="144"/>
                  </a:lnTo>
                  <a:lnTo>
                    <a:pt x="482" y="144"/>
                  </a:lnTo>
                  <a:lnTo>
                    <a:pt x="478" y="144"/>
                  </a:lnTo>
                  <a:lnTo>
                    <a:pt x="478" y="144"/>
                  </a:lnTo>
                  <a:lnTo>
                    <a:pt x="478" y="142"/>
                  </a:lnTo>
                  <a:lnTo>
                    <a:pt x="476" y="142"/>
                  </a:lnTo>
                  <a:lnTo>
                    <a:pt x="476" y="142"/>
                  </a:lnTo>
                  <a:lnTo>
                    <a:pt x="474" y="144"/>
                  </a:lnTo>
                  <a:lnTo>
                    <a:pt x="472" y="144"/>
                  </a:lnTo>
                  <a:lnTo>
                    <a:pt x="472" y="144"/>
                  </a:lnTo>
                  <a:lnTo>
                    <a:pt x="472" y="144"/>
                  </a:lnTo>
                  <a:lnTo>
                    <a:pt x="470" y="146"/>
                  </a:lnTo>
                  <a:lnTo>
                    <a:pt x="470" y="146"/>
                  </a:lnTo>
                  <a:lnTo>
                    <a:pt x="470" y="148"/>
                  </a:lnTo>
                  <a:lnTo>
                    <a:pt x="468" y="148"/>
                  </a:lnTo>
                  <a:close/>
                  <a:moveTo>
                    <a:pt x="492" y="138"/>
                  </a:moveTo>
                  <a:lnTo>
                    <a:pt x="496" y="140"/>
                  </a:lnTo>
                  <a:lnTo>
                    <a:pt x="500" y="142"/>
                  </a:lnTo>
                  <a:lnTo>
                    <a:pt x="504" y="144"/>
                  </a:lnTo>
                  <a:lnTo>
                    <a:pt x="504" y="144"/>
                  </a:lnTo>
                  <a:lnTo>
                    <a:pt x="504" y="144"/>
                  </a:lnTo>
                  <a:lnTo>
                    <a:pt x="508" y="144"/>
                  </a:lnTo>
                  <a:lnTo>
                    <a:pt x="508" y="144"/>
                  </a:lnTo>
                  <a:lnTo>
                    <a:pt x="508" y="144"/>
                  </a:lnTo>
                  <a:lnTo>
                    <a:pt x="512" y="142"/>
                  </a:lnTo>
                  <a:lnTo>
                    <a:pt x="512" y="142"/>
                  </a:lnTo>
                  <a:lnTo>
                    <a:pt x="512" y="142"/>
                  </a:lnTo>
                  <a:lnTo>
                    <a:pt x="514" y="140"/>
                  </a:lnTo>
                  <a:lnTo>
                    <a:pt x="514" y="140"/>
                  </a:lnTo>
                  <a:lnTo>
                    <a:pt x="514" y="140"/>
                  </a:lnTo>
                  <a:lnTo>
                    <a:pt x="514" y="140"/>
                  </a:lnTo>
                  <a:lnTo>
                    <a:pt x="514" y="140"/>
                  </a:lnTo>
                  <a:lnTo>
                    <a:pt x="514" y="138"/>
                  </a:lnTo>
                  <a:lnTo>
                    <a:pt x="516" y="136"/>
                  </a:lnTo>
                  <a:lnTo>
                    <a:pt x="516" y="134"/>
                  </a:lnTo>
                  <a:lnTo>
                    <a:pt x="518" y="132"/>
                  </a:lnTo>
                  <a:lnTo>
                    <a:pt x="518" y="128"/>
                  </a:lnTo>
                  <a:lnTo>
                    <a:pt x="518" y="128"/>
                  </a:lnTo>
                  <a:lnTo>
                    <a:pt x="518" y="128"/>
                  </a:lnTo>
                  <a:lnTo>
                    <a:pt x="516" y="122"/>
                  </a:lnTo>
                  <a:lnTo>
                    <a:pt x="514" y="120"/>
                  </a:lnTo>
                  <a:lnTo>
                    <a:pt x="514" y="120"/>
                  </a:lnTo>
                  <a:lnTo>
                    <a:pt x="514" y="120"/>
                  </a:lnTo>
                  <a:lnTo>
                    <a:pt x="512" y="116"/>
                  </a:lnTo>
                  <a:lnTo>
                    <a:pt x="512" y="116"/>
                  </a:lnTo>
                  <a:lnTo>
                    <a:pt x="512" y="116"/>
                  </a:lnTo>
                  <a:lnTo>
                    <a:pt x="510" y="114"/>
                  </a:lnTo>
                  <a:lnTo>
                    <a:pt x="510" y="114"/>
                  </a:lnTo>
                  <a:lnTo>
                    <a:pt x="510" y="114"/>
                  </a:lnTo>
                  <a:lnTo>
                    <a:pt x="508" y="114"/>
                  </a:lnTo>
                  <a:lnTo>
                    <a:pt x="508" y="114"/>
                  </a:lnTo>
                  <a:lnTo>
                    <a:pt x="506" y="114"/>
                  </a:lnTo>
                  <a:lnTo>
                    <a:pt x="504" y="114"/>
                  </a:lnTo>
                  <a:lnTo>
                    <a:pt x="500" y="112"/>
                  </a:lnTo>
                  <a:lnTo>
                    <a:pt x="494" y="112"/>
                  </a:lnTo>
                  <a:lnTo>
                    <a:pt x="494" y="112"/>
                  </a:lnTo>
                  <a:lnTo>
                    <a:pt x="492" y="112"/>
                  </a:lnTo>
                  <a:lnTo>
                    <a:pt x="492" y="112"/>
                  </a:lnTo>
                  <a:lnTo>
                    <a:pt x="492" y="116"/>
                  </a:lnTo>
                  <a:lnTo>
                    <a:pt x="492" y="118"/>
                  </a:lnTo>
                  <a:lnTo>
                    <a:pt x="492" y="120"/>
                  </a:lnTo>
                  <a:lnTo>
                    <a:pt x="492" y="126"/>
                  </a:lnTo>
                  <a:lnTo>
                    <a:pt x="492" y="124"/>
                  </a:lnTo>
                  <a:lnTo>
                    <a:pt x="490" y="130"/>
                  </a:lnTo>
                  <a:lnTo>
                    <a:pt x="490" y="132"/>
                  </a:lnTo>
                  <a:lnTo>
                    <a:pt x="490" y="136"/>
                  </a:lnTo>
                  <a:lnTo>
                    <a:pt x="490" y="136"/>
                  </a:lnTo>
                  <a:lnTo>
                    <a:pt x="490" y="138"/>
                  </a:lnTo>
                  <a:lnTo>
                    <a:pt x="492" y="138"/>
                  </a:lnTo>
                  <a:lnTo>
                    <a:pt x="492" y="138"/>
                  </a:lnTo>
                  <a:close/>
                  <a:moveTo>
                    <a:pt x="532" y="142"/>
                  </a:moveTo>
                  <a:lnTo>
                    <a:pt x="528" y="142"/>
                  </a:lnTo>
                  <a:lnTo>
                    <a:pt x="528" y="142"/>
                  </a:lnTo>
                  <a:lnTo>
                    <a:pt x="528" y="142"/>
                  </a:lnTo>
                  <a:lnTo>
                    <a:pt x="526" y="142"/>
                  </a:lnTo>
                  <a:lnTo>
                    <a:pt x="526" y="142"/>
                  </a:lnTo>
                  <a:lnTo>
                    <a:pt x="526" y="142"/>
                  </a:lnTo>
                  <a:lnTo>
                    <a:pt x="524" y="144"/>
                  </a:lnTo>
                  <a:lnTo>
                    <a:pt x="524" y="144"/>
                  </a:lnTo>
                  <a:lnTo>
                    <a:pt x="524" y="144"/>
                  </a:lnTo>
                  <a:lnTo>
                    <a:pt x="524" y="144"/>
                  </a:lnTo>
                  <a:lnTo>
                    <a:pt x="524" y="144"/>
                  </a:lnTo>
                  <a:lnTo>
                    <a:pt x="524" y="146"/>
                  </a:lnTo>
                  <a:lnTo>
                    <a:pt x="524" y="146"/>
                  </a:lnTo>
                  <a:lnTo>
                    <a:pt x="524" y="146"/>
                  </a:lnTo>
                  <a:lnTo>
                    <a:pt x="524" y="148"/>
                  </a:lnTo>
                  <a:lnTo>
                    <a:pt x="524" y="150"/>
                  </a:lnTo>
                  <a:lnTo>
                    <a:pt x="524" y="154"/>
                  </a:lnTo>
                  <a:lnTo>
                    <a:pt x="526" y="158"/>
                  </a:lnTo>
                  <a:lnTo>
                    <a:pt x="528" y="162"/>
                  </a:lnTo>
                  <a:lnTo>
                    <a:pt x="530" y="166"/>
                  </a:lnTo>
                  <a:lnTo>
                    <a:pt x="530" y="166"/>
                  </a:lnTo>
                  <a:lnTo>
                    <a:pt x="530" y="168"/>
                  </a:lnTo>
                  <a:lnTo>
                    <a:pt x="532" y="170"/>
                  </a:lnTo>
                  <a:lnTo>
                    <a:pt x="532" y="170"/>
                  </a:lnTo>
                  <a:lnTo>
                    <a:pt x="532" y="170"/>
                  </a:lnTo>
                  <a:lnTo>
                    <a:pt x="534" y="172"/>
                  </a:lnTo>
                  <a:lnTo>
                    <a:pt x="534" y="172"/>
                  </a:lnTo>
                  <a:lnTo>
                    <a:pt x="534" y="172"/>
                  </a:lnTo>
                  <a:lnTo>
                    <a:pt x="534" y="172"/>
                  </a:lnTo>
                  <a:lnTo>
                    <a:pt x="534" y="172"/>
                  </a:lnTo>
                  <a:lnTo>
                    <a:pt x="538" y="172"/>
                  </a:lnTo>
                  <a:lnTo>
                    <a:pt x="538" y="170"/>
                  </a:lnTo>
                  <a:lnTo>
                    <a:pt x="540" y="168"/>
                  </a:lnTo>
                  <a:lnTo>
                    <a:pt x="542" y="164"/>
                  </a:lnTo>
                  <a:lnTo>
                    <a:pt x="542" y="164"/>
                  </a:lnTo>
                  <a:lnTo>
                    <a:pt x="544" y="166"/>
                  </a:lnTo>
                  <a:lnTo>
                    <a:pt x="544" y="166"/>
                  </a:lnTo>
                  <a:lnTo>
                    <a:pt x="546" y="166"/>
                  </a:lnTo>
                  <a:lnTo>
                    <a:pt x="550" y="168"/>
                  </a:lnTo>
                  <a:lnTo>
                    <a:pt x="550" y="168"/>
                  </a:lnTo>
                  <a:lnTo>
                    <a:pt x="552" y="168"/>
                  </a:lnTo>
                  <a:lnTo>
                    <a:pt x="554" y="168"/>
                  </a:lnTo>
                  <a:lnTo>
                    <a:pt x="554" y="166"/>
                  </a:lnTo>
                  <a:lnTo>
                    <a:pt x="554" y="164"/>
                  </a:lnTo>
                  <a:lnTo>
                    <a:pt x="556" y="162"/>
                  </a:lnTo>
                  <a:lnTo>
                    <a:pt x="556" y="160"/>
                  </a:lnTo>
                  <a:lnTo>
                    <a:pt x="558" y="160"/>
                  </a:lnTo>
                  <a:lnTo>
                    <a:pt x="558" y="158"/>
                  </a:lnTo>
                  <a:lnTo>
                    <a:pt x="558" y="156"/>
                  </a:lnTo>
                  <a:lnTo>
                    <a:pt x="560" y="154"/>
                  </a:lnTo>
                  <a:lnTo>
                    <a:pt x="560" y="152"/>
                  </a:lnTo>
                  <a:lnTo>
                    <a:pt x="560" y="150"/>
                  </a:lnTo>
                  <a:lnTo>
                    <a:pt x="562" y="150"/>
                  </a:lnTo>
                  <a:lnTo>
                    <a:pt x="564" y="148"/>
                  </a:lnTo>
                  <a:lnTo>
                    <a:pt x="566" y="148"/>
                  </a:lnTo>
                  <a:lnTo>
                    <a:pt x="566" y="148"/>
                  </a:lnTo>
                  <a:lnTo>
                    <a:pt x="568" y="148"/>
                  </a:lnTo>
                  <a:lnTo>
                    <a:pt x="568" y="146"/>
                  </a:lnTo>
                  <a:lnTo>
                    <a:pt x="568" y="146"/>
                  </a:lnTo>
                  <a:lnTo>
                    <a:pt x="570" y="146"/>
                  </a:lnTo>
                  <a:lnTo>
                    <a:pt x="570" y="144"/>
                  </a:lnTo>
                  <a:lnTo>
                    <a:pt x="570" y="144"/>
                  </a:lnTo>
                  <a:lnTo>
                    <a:pt x="570" y="144"/>
                  </a:lnTo>
                  <a:lnTo>
                    <a:pt x="572" y="142"/>
                  </a:lnTo>
                  <a:lnTo>
                    <a:pt x="572" y="142"/>
                  </a:lnTo>
                  <a:lnTo>
                    <a:pt x="572" y="142"/>
                  </a:lnTo>
                  <a:lnTo>
                    <a:pt x="572" y="140"/>
                  </a:lnTo>
                  <a:lnTo>
                    <a:pt x="572" y="140"/>
                  </a:lnTo>
                  <a:lnTo>
                    <a:pt x="572" y="138"/>
                  </a:lnTo>
                  <a:lnTo>
                    <a:pt x="570" y="136"/>
                  </a:lnTo>
                  <a:lnTo>
                    <a:pt x="570" y="136"/>
                  </a:lnTo>
                  <a:lnTo>
                    <a:pt x="568" y="134"/>
                  </a:lnTo>
                  <a:lnTo>
                    <a:pt x="562" y="132"/>
                  </a:lnTo>
                  <a:lnTo>
                    <a:pt x="558" y="130"/>
                  </a:lnTo>
                  <a:lnTo>
                    <a:pt x="554" y="130"/>
                  </a:lnTo>
                  <a:lnTo>
                    <a:pt x="554" y="130"/>
                  </a:lnTo>
                  <a:lnTo>
                    <a:pt x="554" y="130"/>
                  </a:lnTo>
                  <a:lnTo>
                    <a:pt x="550" y="130"/>
                  </a:lnTo>
                  <a:lnTo>
                    <a:pt x="550" y="130"/>
                  </a:lnTo>
                  <a:lnTo>
                    <a:pt x="548" y="130"/>
                  </a:lnTo>
                  <a:lnTo>
                    <a:pt x="546" y="132"/>
                  </a:lnTo>
                  <a:lnTo>
                    <a:pt x="546" y="132"/>
                  </a:lnTo>
                  <a:lnTo>
                    <a:pt x="546" y="132"/>
                  </a:lnTo>
                  <a:lnTo>
                    <a:pt x="544" y="132"/>
                  </a:lnTo>
                  <a:lnTo>
                    <a:pt x="544" y="132"/>
                  </a:lnTo>
                  <a:lnTo>
                    <a:pt x="544" y="134"/>
                  </a:lnTo>
                  <a:lnTo>
                    <a:pt x="542" y="134"/>
                  </a:lnTo>
                  <a:lnTo>
                    <a:pt x="542" y="136"/>
                  </a:lnTo>
                  <a:lnTo>
                    <a:pt x="542" y="136"/>
                  </a:lnTo>
                  <a:lnTo>
                    <a:pt x="540" y="138"/>
                  </a:lnTo>
                  <a:lnTo>
                    <a:pt x="540" y="140"/>
                  </a:lnTo>
                  <a:lnTo>
                    <a:pt x="540" y="142"/>
                  </a:lnTo>
                  <a:lnTo>
                    <a:pt x="538" y="142"/>
                  </a:lnTo>
                  <a:lnTo>
                    <a:pt x="538" y="142"/>
                  </a:lnTo>
                  <a:lnTo>
                    <a:pt x="536" y="140"/>
                  </a:lnTo>
                  <a:lnTo>
                    <a:pt x="534" y="142"/>
                  </a:lnTo>
                  <a:lnTo>
                    <a:pt x="534" y="142"/>
                  </a:lnTo>
                  <a:lnTo>
                    <a:pt x="532" y="142"/>
                  </a:lnTo>
                  <a:close/>
                  <a:moveTo>
                    <a:pt x="576" y="116"/>
                  </a:moveTo>
                  <a:lnTo>
                    <a:pt x="576" y="118"/>
                  </a:lnTo>
                  <a:lnTo>
                    <a:pt x="576" y="120"/>
                  </a:lnTo>
                  <a:lnTo>
                    <a:pt x="574" y="122"/>
                  </a:lnTo>
                  <a:lnTo>
                    <a:pt x="574" y="122"/>
                  </a:lnTo>
                  <a:lnTo>
                    <a:pt x="572" y="124"/>
                  </a:lnTo>
                  <a:lnTo>
                    <a:pt x="572" y="126"/>
                  </a:lnTo>
                  <a:lnTo>
                    <a:pt x="572" y="126"/>
                  </a:lnTo>
                  <a:lnTo>
                    <a:pt x="572" y="126"/>
                  </a:lnTo>
                  <a:lnTo>
                    <a:pt x="570" y="126"/>
                  </a:lnTo>
                  <a:lnTo>
                    <a:pt x="570" y="126"/>
                  </a:lnTo>
                  <a:lnTo>
                    <a:pt x="570" y="128"/>
                  </a:lnTo>
                  <a:lnTo>
                    <a:pt x="570" y="130"/>
                  </a:lnTo>
                  <a:lnTo>
                    <a:pt x="570" y="130"/>
                  </a:lnTo>
                  <a:lnTo>
                    <a:pt x="570" y="132"/>
                  </a:lnTo>
                  <a:lnTo>
                    <a:pt x="572" y="132"/>
                  </a:lnTo>
                  <a:lnTo>
                    <a:pt x="572" y="134"/>
                  </a:lnTo>
                  <a:lnTo>
                    <a:pt x="574" y="136"/>
                  </a:lnTo>
                  <a:lnTo>
                    <a:pt x="576" y="140"/>
                  </a:lnTo>
                  <a:lnTo>
                    <a:pt x="576" y="140"/>
                  </a:lnTo>
                  <a:lnTo>
                    <a:pt x="578" y="140"/>
                  </a:lnTo>
                  <a:lnTo>
                    <a:pt x="582" y="142"/>
                  </a:lnTo>
                  <a:lnTo>
                    <a:pt x="586" y="142"/>
                  </a:lnTo>
                  <a:lnTo>
                    <a:pt x="588" y="142"/>
                  </a:lnTo>
                  <a:lnTo>
                    <a:pt x="592" y="142"/>
                  </a:lnTo>
                  <a:lnTo>
                    <a:pt x="594" y="144"/>
                  </a:lnTo>
                  <a:lnTo>
                    <a:pt x="598" y="144"/>
                  </a:lnTo>
                  <a:lnTo>
                    <a:pt x="602" y="142"/>
                  </a:lnTo>
                  <a:lnTo>
                    <a:pt x="602" y="142"/>
                  </a:lnTo>
                  <a:lnTo>
                    <a:pt x="602" y="142"/>
                  </a:lnTo>
                  <a:lnTo>
                    <a:pt x="606" y="142"/>
                  </a:lnTo>
                  <a:lnTo>
                    <a:pt x="606" y="142"/>
                  </a:lnTo>
                  <a:lnTo>
                    <a:pt x="606" y="142"/>
                  </a:lnTo>
                  <a:lnTo>
                    <a:pt x="608" y="140"/>
                  </a:lnTo>
                  <a:lnTo>
                    <a:pt x="610" y="138"/>
                  </a:lnTo>
                  <a:lnTo>
                    <a:pt x="612" y="136"/>
                  </a:lnTo>
                  <a:lnTo>
                    <a:pt x="612" y="134"/>
                  </a:lnTo>
                  <a:lnTo>
                    <a:pt x="614" y="132"/>
                  </a:lnTo>
                  <a:lnTo>
                    <a:pt x="616" y="128"/>
                  </a:lnTo>
                  <a:lnTo>
                    <a:pt x="616" y="128"/>
                  </a:lnTo>
                  <a:lnTo>
                    <a:pt x="618" y="126"/>
                  </a:lnTo>
                  <a:lnTo>
                    <a:pt x="618" y="124"/>
                  </a:lnTo>
                  <a:lnTo>
                    <a:pt x="618" y="124"/>
                  </a:lnTo>
                  <a:lnTo>
                    <a:pt x="618" y="124"/>
                  </a:lnTo>
                  <a:lnTo>
                    <a:pt x="618" y="122"/>
                  </a:lnTo>
                  <a:lnTo>
                    <a:pt x="618" y="118"/>
                  </a:lnTo>
                  <a:lnTo>
                    <a:pt x="618" y="118"/>
                  </a:lnTo>
                  <a:lnTo>
                    <a:pt x="618" y="116"/>
                  </a:lnTo>
                  <a:lnTo>
                    <a:pt x="618" y="116"/>
                  </a:lnTo>
                  <a:lnTo>
                    <a:pt x="618" y="116"/>
                  </a:lnTo>
                  <a:lnTo>
                    <a:pt x="618" y="116"/>
                  </a:lnTo>
                  <a:lnTo>
                    <a:pt x="618" y="116"/>
                  </a:lnTo>
                  <a:lnTo>
                    <a:pt x="620" y="116"/>
                  </a:lnTo>
                  <a:lnTo>
                    <a:pt x="622" y="116"/>
                  </a:lnTo>
                  <a:lnTo>
                    <a:pt x="624" y="118"/>
                  </a:lnTo>
                  <a:lnTo>
                    <a:pt x="626" y="118"/>
                  </a:lnTo>
                  <a:lnTo>
                    <a:pt x="626" y="118"/>
                  </a:lnTo>
                  <a:lnTo>
                    <a:pt x="626" y="118"/>
                  </a:lnTo>
                  <a:lnTo>
                    <a:pt x="626" y="118"/>
                  </a:lnTo>
                  <a:lnTo>
                    <a:pt x="628" y="120"/>
                  </a:lnTo>
                  <a:lnTo>
                    <a:pt x="632" y="118"/>
                  </a:lnTo>
                  <a:lnTo>
                    <a:pt x="636" y="118"/>
                  </a:lnTo>
                  <a:lnTo>
                    <a:pt x="636" y="118"/>
                  </a:lnTo>
                  <a:lnTo>
                    <a:pt x="636" y="118"/>
                  </a:lnTo>
                  <a:lnTo>
                    <a:pt x="638" y="116"/>
                  </a:lnTo>
                  <a:lnTo>
                    <a:pt x="638" y="116"/>
                  </a:lnTo>
                  <a:lnTo>
                    <a:pt x="640" y="116"/>
                  </a:lnTo>
                  <a:lnTo>
                    <a:pt x="640" y="114"/>
                  </a:lnTo>
                  <a:lnTo>
                    <a:pt x="640" y="114"/>
                  </a:lnTo>
                  <a:lnTo>
                    <a:pt x="642" y="114"/>
                  </a:lnTo>
                  <a:lnTo>
                    <a:pt x="642" y="114"/>
                  </a:lnTo>
                  <a:lnTo>
                    <a:pt x="642" y="114"/>
                  </a:lnTo>
                  <a:lnTo>
                    <a:pt x="642" y="112"/>
                  </a:lnTo>
                  <a:lnTo>
                    <a:pt x="644" y="112"/>
                  </a:lnTo>
                  <a:lnTo>
                    <a:pt x="644" y="112"/>
                  </a:lnTo>
                  <a:lnTo>
                    <a:pt x="644" y="110"/>
                  </a:lnTo>
                  <a:lnTo>
                    <a:pt x="644" y="108"/>
                  </a:lnTo>
                  <a:lnTo>
                    <a:pt x="646" y="106"/>
                  </a:lnTo>
                  <a:lnTo>
                    <a:pt x="646" y="104"/>
                  </a:lnTo>
                  <a:lnTo>
                    <a:pt x="646" y="104"/>
                  </a:lnTo>
                  <a:lnTo>
                    <a:pt x="648" y="102"/>
                  </a:lnTo>
                  <a:lnTo>
                    <a:pt x="650" y="102"/>
                  </a:lnTo>
                  <a:lnTo>
                    <a:pt x="654" y="100"/>
                  </a:lnTo>
                  <a:lnTo>
                    <a:pt x="658" y="100"/>
                  </a:lnTo>
                  <a:lnTo>
                    <a:pt x="658" y="100"/>
                  </a:lnTo>
                  <a:lnTo>
                    <a:pt x="660" y="98"/>
                  </a:lnTo>
                  <a:lnTo>
                    <a:pt x="662" y="94"/>
                  </a:lnTo>
                  <a:lnTo>
                    <a:pt x="662" y="90"/>
                  </a:lnTo>
                  <a:lnTo>
                    <a:pt x="662" y="86"/>
                  </a:lnTo>
                  <a:lnTo>
                    <a:pt x="662" y="86"/>
                  </a:lnTo>
                  <a:lnTo>
                    <a:pt x="662" y="86"/>
                  </a:lnTo>
                  <a:lnTo>
                    <a:pt x="662" y="82"/>
                  </a:lnTo>
                  <a:lnTo>
                    <a:pt x="662" y="82"/>
                  </a:lnTo>
                  <a:lnTo>
                    <a:pt x="662" y="82"/>
                  </a:lnTo>
                  <a:lnTo>
                    <a:pt x="662" y="78"/>
                  </a:lnTo>
                  <a:lnTo>
                    <a:pt x="662" y="78"/>
                  </a:lnTo>
                  <a:lnTo>
                    <a:pt x="660" y="78"/>
                  </a:lnTo>
                  <a:lnTo>
                    <a:pt x="660" y="76"/>
                  </a:lnTo>
                  <a:lnTo>
                    <a:pt x="660" y="76"/>
                  </a:lnTo>
                  <a:lnTo>
                    <a:pt x="660" y="74"/>
                  </a:lnTo>
                  <a:lnTo>
                    <a:pt x="656" y="72"/>
                  </a:lnTo>
                  <a:lnTo>
                    <a:pt x="656" y="72"/>
                  </a:lnTo>
                  <a:lnTo>
                    <a:pt x="656" y="72"/>
                  </a:lnTo>
                  <a:lnTo>
                    <a:pt x="654" y="70"/>
                  </a:lnTo>
                  <a:lnTo>
                    <a:pt x="654" y="68"/>
                  </a:lnTo>
                  <a:lnTo>
                    <a:pt x="654" y="68"/>
                  </a:lnTo>
                  <a:lnTo>
                    <a:pt x="652" y="68"/>
                  </a:lnTo>
                  <a:lnTo>
                    <a:pt x="652" y="66"/>
                  </a:lnTo>
                  <a:lnTo>
                    <a:pt x="652" y="66"/>
                  </a:lnTo>
                  <a:lnTo>
                    <a:pt x="652" y="66"/>
                  </a:lnTo>
                  <a:lnTo>
                    <a:pt x="650" y="64"/>
                  </a:lnTo>
                  <a:lnTo>
                    <a:pt x="650" y="64"/>
                  </a:lnTo>
                  <a:lnTo>
                    <a:pt x="650" y="64"/>
                  </a:lnTo>
                  <a:lnTo>
                    <a:pt x="648" y="64"/>
                  </a:lnTo>
                  <a:lnTo>
                    <a:pt x="648" y="64"/>
                  </a:lnTo>
                  <a:lnTo>
                    <a:pt x="646" y="64"/>
                  </a:lnTo>
                  <a:lnTo>
                    <a:pt x="646" y="64"/>
                  </a:lnTo>
                  <a:lnTo>
                    <a:pt x="646" y="64"/>
                  </a:lnTo>
                  <a:lnTo>
                    <a:pt x="644" y="66"/>
                  </a:lnTo>
                  <a:lnTo>
                    <a:pt x="644" y="66"/>
                  </a:lnTo>
                  <a:lnTo>
                    <a:pt x="644" y="66"/>
                  </a:lnTo>
                  <a:lnTo>
                    <a:pt x="644" y="68"/>
                  </a:lnTo>
                  <a:lnTo>
                    <a:pt x="644" y="68"/>
                  </a:lnTo>
                  <a:lnTo>
                    <a:pt x="642" y="70"/>
                  </a:lnTo>
                  <a:lnTo>
                    <a:pt x="642" y="74"/>
                  </a:lnTo>
                  <a:lnTo>
                    <a:pt x="640" y="80"/>
                  </a:lnTo>
                  <a:lnTo>
                    <a:pt x="640" y="82"/>
                  </a:lnTo>
                  <a:lnTo>
                    <a:pt x="640" y="82"/>
                  </a:lnTo>
                  <a:lnTo>
                    <a:pt x="640" y="84"/>
                  </a:lnTo>
                  <a:lnTo>
                    <a:pt x="640" y="84"/>
                  </a:lnTo>
                  <a:lnTo>
                    <a:pt x="638" y="84"/>
                  </a:lnTo>
                  <a:lnTo>
                    <a:pt x="636" y="86"/>
                  </a:lnTo>
                  <a:lnTo>
                    <a:pt x="630" y="88"/>
                  </a:lnTo>
                  <a:lnTo>
                    <a:pt x="628" y="88"/>
                  </a:lnTo>
                  <a:lnTo>
                    <a:pt x="626" y="88"/>
                  </a:lnTo>
                  <a:lnTo>
                    <a:pt x="624" y="88"/>
                  </a:lnTo>
                  <a:lnTo>
                    <a:pt x="624" y="88"/>
                  </a:lnTo>
                  <a:lnTo>
                    <a:pt x="624" y="88"/>
                  </a:lnTo>
                  <a:lnTo>
                    <a:pt x="622" y="90"/>
                  </a:lnTo>
                  <a:lnTo>
                    <a:pt x="620" y="92"/>
                  </a:lnTo>
                  <a:lnTo>
                    <a:pt x="620" y="94"/>
                  </a:lnTo>
                  <a:lnTo>
                    <a:pt x="620" y="98"/>
                  </a:lnTo>
                  <a:lnTo>
                    <a:pt x="618" y="100"/>
                  </a:lnTo>
                  <a:lnTo>
                    <a:pt x="618" y="100"/>
                  </a:lnTo>
                  <a:lnTo>
                    <a:pt x="618" y="100"/>
                  </a:lnTo>
                  <a:lnTo>
                    <a:pt x="616" y="102"/>
                  </a:lnTo>
                  <a:lnTo>
                    <a:pt x="614" y="102"/>
                  </a:lnTo>
                  <a:lnTo>
                    <a:pt x="610" y="100"/>
                  </a:lnTo>
                  <a:lnTo>
                    <a:pt x="610" y="100"/>
                  </a:lnTo>
                  <a:lnTo>
                    <a:pt x="608" y="100"/>
                  </a:lnTo>
                  <a:lnTo>
                    <a:pt x="604" y="100"/>
                  </a:lnTo>
                  <a:lnTo>
                    <a:pt x="604" y="100"/>
                  </a:lnTo>
                  <a:lnTo>
                    <a:pt x="604" y="100"/>
                  </a:lnTo>
                  <a:lnTo>
                    <a:pt x="598" y="100"/>
                  </a:lnTo>
                  <a:lnTo>
                    <a:pt x="598" y="100"/>
                  </a:lnTo>
                  <a:lnTo>
                    <a:pt x="598" y="100"/>
                  </a:lnTo>
                  <a:lnTo>
                    <a:pt x="594" y="102"/>
                  </a:lnTo>
                  <a:lnTo>
                    <a:pt x="594" y="102"/>
                  </a:lnTo>
                  <a:lnTo>
                    <a:pt x="592" y="102"/>
                  </a:lnTo>
                  <a:lnTo>
                    <a:pt x="588" y="104"/>
                  </a:lnTo>
                  <a:lnTo>
                    <a:pt x="588" y="104"/>
                  </a:lnTo>
                  <a:lnTo>
                    <a:pt x="588" y="104"/>
                  </a:lnTo>
                  <a:lnTo>
                    <a:pt x="584" y="106"/>
                  </a:lnTo>
                  <a:lnTo>
                    <a:pt x="584" y="106"/>
                  </a:lnTo>
                  <a:lnTo>
                    <a:pt x="584" y="106"/>
                  </a:lnTo>
                  <a:lnTo>
                    <a:pt x="580" y="110"/>
                  </a:lnTo>
                  <a:lnTo>
                    <a:pt x="578" y="114"/>
                  </a:lnTo>
                  <a:lnTo>
                    <a:pt x="578" y="114"/>
                  </a:lnTo>
                  <a:lnTo>
                    <a:pt x="576" y="116"/>
                  </a:lnTo>
                  <a:lnTo>
                    <a:pt x="576" y="116"/>
                  </a:lnTo>
                  <a:close/>
                  <a:moveTo>
                    <a:pt x="584" y="88"/>
                  </a:moveTo>
                  <a:lnTo>
                    <a:pt x="586" y="90"/>
                  </a:lnTo>
                  <a:lnTo>
                    <a:pt x="586" y="90"/>
                  </a:lnTo>
                  <a:lnTo>
                    <a:pt x="586" y="92"/>
                  </a:lnTo>
                  <a:lnTo>
                    <a:pt x="586" y="92"/>
                  </a:lnTo>
                  <a:lnTo>
                    <a:pt x="588" y="92"/>
                  </a:lnTo>
                  <a:lnTo>
                    <a:pt x="588" y="92"/>
                  </a:lnTo>
                  <a:lnTo>
                    <a:pt x="590" y="94"/>
                  </a:lnTo>
                  <a:lnTo>
                    <a:pt x="590" y="94"/>
                  </a:lnTo>
                  <a:lnTo>
                    <a:pt x="594" y="96"/>
                  </a:lnTo>
                  <a:lnTo>
                    <a:pt x="594" y="96"/>
                  </a:lnTo>
                  <a:lnTo>
                    <a:pt x="596" y="96"/>
                  </a:lnTo>
                  <a:lnTo>
                    <a:pt x="598" y="96"/>
                  </a:lnTo>
                  <a:lnTo>
                    <a:pt x="598" y="94"/>
                  </a:lnTo>
                  <a:lnTo>
                    <a:pt x="600" y="90"/>
                  </a:lnTo>
                  <a:lnTo>
                    <a:pt x="602" y="84"/>
                  </a:lnTo>
                  <a:lnTo>
                    <a:pt x="604" y="82"/>
                  </a:lnTo>
                  <a:lnTo>
                    <a:pt x="604" y="78"/>
                  </a:lnTo>
                  <a:lnTo>
                    <a:pt x="606" y="78"/>
                  </a:lnTo>
                  <a:lnTo>
                    <a:pt x="606" y="76"/>
                  </a:lnTo>
                  <a:lnTo>
                    <a:pt x="606" y="76"/>
                  </a:lnTo>
                  <a:lnTo>
                    <a:pt x="604" y="74"/>
                  </a:lnTo>
                  <a:lnTo>
                    <a:pt x="604" y="74"/>
                  </a:lnTo>
                  <a:lnTo>
                    <a:pt x="604" y="72"/>
                  </a:lnTo>
                  <a:lnTo>
                    <a:pt x="600" y="72"/>
                  </a:lnTo>
                  <a:lnTo>
                    <a:pt x="600" y="72"/>
                  </a:lnTo>
                  <a:lnTo>
                    <a:pt x="600" y="72"/>
                  </a:lnTo>
                  <a:lnTo>
                    <a:pt x="598" y="72"/>
                  </a:lnTo>
                  <a:lnTo>
                    <a:pt x="598" y="72"/>
                  </a:lnTo>
                  <a:lnTo>
                    <a:pt x="596" y="72"/>
                  </a:lnTo>
                  <a:lnTo>
                    <a:pt x="594" y="72"/>
                  </a:lnTo>
                  <a:lnTo>
                    <a:pt x="594" y="72"/>
                  </a:lnTo>
                  <a:lnTo>
                    <a:pt x="594" y="74"/>
                  </a:lnTo>
                  <a:lnTo>
                    <a:pt x="592" y="74"/>
                  </a:lnTo>
                  <a:lnTo>
                    <a:pt x="592" y="74"/>
                  </a:lnTo>
                  <a:lnTo>
                    <a:pt x="592" y="74"/>
                  </a:lnTo>
                  <a:lnTo>
                    <a:pt x="590" y="76"/>
                  </a:lnTo>
                  <a:lnTo>
                    <a:pt x="588" y="78"/>
                  </a:lnTo>
                  <a:lnTo>
                    <a:pt x="586" y="80"/>
                  </a:lnTo>
                  <a:lnTo>
                    <a:pt x="584" y="82"/>
                  </a:lnTo>
                  <a:lnTo>
                    <a:pt x="584" y="82"/>
                  </a:lnTo>
                  <a:lnTo>
                    <a:pt x="582" y="84"/>
                  </a:lnTo>
                  <a:lnTo>
                    <a:pt x="582" y="86"/>
                  </a:lnTo>
                  <a:lnTo>
                    <a:pt x="584" y="88"/>
                  </a:lnTo>
                  <a:close/>
                  <a:moveTo>
                    <a:pt x="564" y="164"/>
                  </a:moveTo>
                  <a:lnTo>
                    <a:pt x="564" y="164"/>
                  </a:lnTo>
                  <a:lnTo>
                    <a:pt x="562" y="166"/>
                  </a:lnTo>
                  <a:lnTo>
                    <a:pt x="562" y="166"/>
                  </a:lnTo>
                  <a:lnTo>
                    <a:pt x="562" y="170"/>
                  </a:lnTo>
                  <a:lnTo>
                    <a:pt x="562" y="170"/>
                  </a:lnTo>
                  <a:lnTo>
                    <a:pt x="564" y="174"/>
                  </a:lnTo>
                  <a:lnTo>
                    <a:pt x="568" y="178"/>
                  </a:lnTo>
                  <a:lnTo>
                    <a:pt x="568" y="178"/>
                  </a:lnTo>
                  <a:lnTo>
                    <a:pt x="568" y="178"/>
                  </a:lnTo>
                  <a:lnTo>
                    <a:pt x="570" y="180"/>
                  </a:lnTo>
                  <a:lnTo>
                    <a:pt x="570" y="180"/>
                  </a:lnTo>
                  <a:lnTo>
                    <a:pt x="570" y="180"/>
                  </a:lnTo>
                  <a:lnTo>
                    <a:pt x="572" y="180"/>
                  </a:lnTo>
                  <a:lnTo>
                    <a:pt x="572" y="180"/>
                  </a:lnTo>
                  <a:lnTo>
                    <a:pt x="574" y="180"/>
                  </a:lnTo>
                  <a:lnTo>
                    <a:pt x="576" y="180"/>
                  </a:lnTo>
                  <a:lnTo>
                    <a:pt x="576" y="180"/>
                  </a:lnTo>
                  <a:lnTo>
                    <a:pt x="576" y="180"/>
                  </a:lnTo>
                  <a:lnTo>
                    <a:pt x="580" y="180"/>
                  </a:lnTo>
                  <a:lnTo>
                    <a:pt x="580" y="180"/>
                  </a:lnTo>
                  <a:lnTo>
                    <a:pt x="580" y="180"/>
                  </a:lnTo>
                  <a:lnTo>
                    <a:pt x="582" y="178"/>
                  </a:lnTo>
                  <a:lnTo>
                    <a:pt x="582" y="178"/>
                  </a:lnTo>
                  <a:lnTo>
                    <a:pt x="582" y="178"/>
                  </a:lnTo>
                  <a:lnTo>
                    <a:pt x="582" y="178"/>
                  </a:lnTo>
                  <a:lnTo>
                    <a:pt x="582" y="178"/>
                  </a:lnTo>
                  <a:lnTo>
                    <a:pt x="582" y="176"/>
                  </a:lnTo>
                  <a:lnTo>
                    <a:pt x="584" y="174"/>
                  </a:lnTo>
                  <a:lnTo>
                    <a:pt x="584" y="174"/>
                  </a:lnTo>
                  <a:lnTo>
                    <a:pt x="584" y="174"/>
                  </a:lnTo>
                  <a:lnTo>
                    <a:pt x="584" y="172"/>
                  </a:lnTo>
                  <a:lnTo>
                    <a:pt x="584" y="172"/>
                  </a:lnTo>
                  <a:lnTo>
                    <a:pt x="584" y="170"/>
                  </a:lnTo>
                  <a:lnTo>
                    <a:pt x="584" y="170"/>
                  </a:lnTo>
                  <a:lnTo>
                    <a:pt x="584" y="170"/>
                  </a:lnTo>
                  <a:lnTo>
                    <a:pt x="584" y="168"/>
                  </a:lnTo>
                  <a:lnTo>
                    <a:pt x="582" y="168"/>
                  </a:lnTo>
                  <a:lnTo>
                    <a:pt x="582" y="168"/>
                  </a:lnTo>
                  <a:lnTo>
                    <a:pt x="582" y="166"/>
                  </a:lnTo>
                  <a:lnTo>
                    <a:pt x="580" y="166"/>
                  </a:lnTo>
                  <a:lnTo>
                    <a:pt x="580" y="166"/>
                  </a:lnTo>
                  <a:lnTo>
                    <a:pt x="580" y="166"/>
                  </a:lnTo>
                  <a:lnTo>
                    <a:pt x="578" y="166"/>
                  </a:lnTo>
                  <a:lnTo>
                    <a:pt x="578" y="166"/>
                  </a:lnTo>
                  <a:lnTo>
                    <a:pt x="576" y="166"/>
                  </a:lnTo>
                  <a:lnTo>
                    <a:pt x="572" y="164"/>
                  </a:lnTo>
                  <a:lnTo>
                    <a:pt x="568" y="166"/>
                  </a:lnTo>
                  <a:lnTo>
                    <a:pt x="564" y="164"/>
                  </a:lnTo>
                  <a:close/>
                  <a:moveTo>
                    <a:pt x="500" y="104"/>
                  </a:moveTo>
                  <a:lnTo>
                    <a:pt x="500" y="104"/>
                  </a:lnTo>
                  <a:lnTo>
                    <a:pt x="500" y="104"/>
                  </a:lnTo>
                  <a:lnTo>
                    <a:pt x="500" y="106"/>
                  </a:lnTo>
                  <a:lnTo>
                    <a:pt x="502" y="108"/>
                  </a:lnTo>
                  <a:lnTo>
                    <a:pt x="502" y="108"/>
                  </a:lnTo>
                  <a:lnTo>
                    <a:pt x="504" y="108"/>
                  </a:lnTo>
                  <a:lnTo>
                    <a:pt x="506" y="110"/>
                  </a:lnTo>
                  <a:lnTo>
                    <a:pt x="506" y="110"/>
                  </a:lnTo>
                  <a:lnTo>
                    <a:pt x="506" y="110"/>
                  </a:lnTo>
                  <a:lnTo>
                    <a:pt x="510" y="110"/>
                  </a:lnTo>
                  <a:lnTo>
                    <a:pt x="514" y="110"/>
                  </a:lnTo>
                  <a:lnTo>
                    <a:pt x="516" y="112"/>
                  </a:lnTo>
                  <a:lnTo>
                    <a:pt x="516" y="112"/>
                  </a:lnTo>
                  <a:lnTo>
                    <a:pt x="516" y="112"/>
                  </a:lnTo>
                  <a:lnTo>
                    <a:pt x="516" y="114"/>
                  </a:lnTo>
                  <a:lnTo>
                    <a:pt x="516" y="114"/>
                  </a:lnTo>
                  <a:lnTo>
                    <a:pt x="516" y="116"/>
                  </a:lnTo>
                  <a:lnTo>
                    <a:pt x="516" y="118"/>
                  </a:lnTo>
                  <a:lnTo>
                    <a:pt x="516" y="118"/>
                  </a:lnTo>
                  <a:lnTo>
                    <a:pt x="518" y="118"/>
                  </a:lnTo>
                  <a:lnTo>
                    <a:pt x="518" y="120"/>
                  </a:lnTo>
                  <a:lnTo>
                    <a:pt x="518" y="120"/>
                  </a:lnTo>
                  <a:lnTo>
                    <a:pt x="520" y="120"/>
                  </a:lnTo>
                  <a:lnTo>
                    <a:pt x="520" y="122"/>
                  </a:lnTo>
                  <a:lnTo>
                    <a:pt x="520" y="122"/>
                  </a:lnTo>
                  <a:lnTo>
                    <a:pt x="522" y="122"/>
                  </a:lnTo>
                  <a:lnTo>
                    <a:pt x="524" y="122"/>
                  </a:lnTo>
                  <a:lnTo>
                    <a:pt x="524" y="122"/>
                  </a:lnTo>
                  <a:lnTo>
                    <a:pt x="524" y="122"/>
                  </a:lnTo>
                  <a:lnTo>
                    <a:pt x="530" y="122"/>
                  </a:lnTo>
                  <a:lnTo>
                    <a:pt x="530" y="122"/>
                  </a:lnTo>
                  <a:lnTo>
                    <a:pt x="530" y="122"/>
                  </a:lnTo>
                  <a:lnTo>
                    <a:pt x="536" y="122"/>
                  </a:lnTo>
                  <a:lnTo>
                    <a:pt x="542" y="122"/>
                  </a:lnTo>
                  <a:lnTo>
                    <a:pt x="548" y="120"/>
                  </a:lnTo>
                  <a:lnTo>
                    <a:pt x="550" y="120"/>
                  </a:lnTo>
                  <a:lnTo>
                    <a:pt x="550" y="120"/>
                  </a:lnTo>
                  <a:lnTo>
                    <a:pt x="550" y="120"/>
                  </a:lnTo>
                  <a:lnTo>
                    <a:pt x="552" y="120"/>
                  </a:lnTo>
                  <a:lnTo>
                    <a:pt x="554" y="118"/>
                  </a:lnTo>
                  <a:lnTo>
                    <a:pt x="556" y="118"/>
                  </a:lnTo>
                  <a:lnTo>
                    <a:pt x="562" y="118"/>
                  </a:lnTo>
                  <a:lnTo>
                    <a:pt x="564" y="116"/>
                  </a:lnTo>
                  <a:lnTo>
                    <a:pt x="566" y="116"/>
                  </a:lnTo>
                  <a:lnTo>
                    <a:pt x="566" y="116"/>
                  </a:lnTo>
                  <a:lnTo>
                    <a:pt x="568" y="116"/>
                  </a:lnTo>
                  <a:lnTo>
                    <a:pt x="570" y="116"/>
                  </a:lnTo>
                  <a:lnTo>
                    <a:pt x="570" y="116"/>
                  </a:lnTo>
                  <a:lnTo>
                    <a:pt x="570" y="114"/>
                  </a:lnTo>
                  <a:lnTo>
                    <a:pt x="572" y="112"/>
                  </a:lnTo>
                  <a:lnTo>
                    <a:pt x="572" y="112"/>
                  </a:lnTo>
                  <a:lnTo>
                    <a:pt x="572" y="112"/>
                  </a:lnTo>
                  <a:lnTo>
                    <a:pt x="574" y="110"/>
                  </a:lnTo>
                  <a:lnTo>
                    <a:pt x="574" y="110"/>
                  </a:lnTo>
                  <a:lnTo>
                    <a:pt x="574" y="110"/>
                  </a:lnTo>
                  <a:lnTo>
                    <a:pt x="574" y="108"/>
                  </a:lnTo>
                  <a:lnTo>
                    <a:pt x="574" y="108"/>
                  </a:lnTo>
                  <a:lnTo>
                    <a:pt x="574" y="108"/>
                  </a:lnTo>
                  <a:lnTo>
                    <a:pt x="572" y="104"/>
                  </a:lnTo>
                  <a:lnTo>
                    <a:pt x="572" y="104"/>
                  </a:lnTo>
                  <a:lnTo>
                    <a:pt x="572" y="104"/>
                  </a:lnTo>
                  <a:lnTo>
                    <a:pt x="570" y="102"/>
                  </a:lnTo>
                  <a:lnTo>
                    <a:pt x="570" y="102"/>
                  </a:lnTo>
                  <a:lnTo>
                    <a:pt x="570" y="100"/>
                  </a:lnTo>
                  <a:lnTo>
                    <a:pt x="568" y="100"/>
                  </a:lnTo>
                  <a:lnTo>
                    <a:pt x="568" y="100"/>
                  </a:lnTo>
                  <a:lnTo>
                    <a:pt x="568" y="98"/>
                  </a:lnTo>
                  <a:lnTo>
                    <a:pt x="566" y="98"/>
                  </a:lnTo>
                  <a:lnTo>
                    <a:pt x="562" y="96"/>
                  </a:lnTo>
                  <a:lnTo>
                    <a:pt x="560" y="96"/>
                  </a:lnTo>
                  <a:lnTo>
                    <a:pt x="558" y="94"/>
                  </a:lnTo>
                  <a:lnTo>
                    <a:pt x="558" y="92"/>
                  </a:lnTo>
                  <a:lnTo>
                    <a:pt x="558" y="90"/>
                  </a:lnTo>
                  <a:lnTo>
                    <a:pt x="558" y="90"/>
                  </a:lnTo>
                  <a:lnTo>
                    <a:pt x="558" y="88"/>
                  </a:lnTo>
                  <a:lnTo>
                    <a:pt x="560" y="88"/>
                  </a:lnTo>
                  <a:lnTo>
                    <a:pt x="562" y="88"/>
                  </a:lnTo>
                  <a:lnTo>
                    <a:pt x="564" y="86"/>
                  </a:lnTo>
                  <a:lnTo>
                    <a:pt x="568" y="86"/>
                  </a:lnTo>
                  <a:lnTo>
                    <a:pt x="568" y="86"/>
                  </a:lnTo>
                  <a:lnTo>
                    <a:pt x="570" y="84"/>
                  </a:lnTo>
                  <a:lnTo>
                    <a:pt x="570" y="84"/>
                  </a:lnTo>
                  <a:lnTo>
                    <a:pt x="570" y="80"/>
                  </a:lnTo>
                  <a:lnTo>
                    <a:pt x="568" y="80"/>
                  </a:lnTo>
                  <a:lnTo>
                    <a:pt x="566" y="78"/>
                  </a:lnTo>
                  <a:lnTo>
                    <a:pt x="562" y="74"/>
                  </a:lnTo>
                  <a:lnTo>
                    <a:pt x="558" y="70"/>
                  </a:lnTo>
                  <a:lnTo>
                    <a:pt x="556" y="68"/>
                  </a:lnTo>
                  <a:lnTo>
                    <a:pt x="556" y="68"/>
                  </a:lnTo>
                  <a:lnTo>
                    <a:pt x="556" y="68"/>
                  </a:lnTo>
                  <a:lnTo>
                    <a:pt x="558" y="66"/>
                  </a:lnTo>
                  <a:lnTo>
                    <a:pt x="558" y="66"/>
                  </a:lnTo>
                  <a:lnTo>
                    <a:pt x="560" y="64"/>
                  </a:lnTo>
                  <a:lnTo>
                    <a:pt x="564" y="64"/>
                  </a:lnTo>
                  <a:lnTo>
                    <a:pt x="566" y="64"/>
                  </a:lnTo>
                  <a:lnTo>
                    <a:pt x="568" y="64"/>
                  </a:lnTo>
                  <a:lnTo>
                    <a:pt x="572" y="62"/>
                  </a:lnTo>
                  <a:lnTo>
                    <a:pt x="572" y="62"/>
                  </a:lnTo>
                  <a:lnTo>
                    <a:pt x="574" y="60"/>
                  </a:lnTo>
                  <a:lnTo>
                    <a:pt x="576" y="56"/>
                  </a:lnTo>
                  <a:lnTo>
                    <a:pt x="576" y="56"/>
                  </a:lnTo>
                  <a:lnTo>
                    <a:pt x="576" y="56"/>
                  </a:lnTo>
                  <a:lnTo>
                    <a:pt x="576" y="50"/>
                  </a:lnTo>
                  <a:lnTo>
                    <a:pt x="576" y="50"/>
                  </a:lnTo>
                  <a:lnTo>
                    <a:pt x="576" y="50"/>
                  </a:lnTo>
                  <a:lnTo>
                    <a:pt x="574" y="46"/>
                  </a:lnTo>
                  <a:lnTo>
                    <a:pt x="574" y="46"/>
                  </a:lnTo>
                  <a:lnTo>
                    <a:pt x="574" y="46"/>
                  </a:lnTo>
                  <a:lnTo>
                    <a:pt x="572" y="42"/>
                  </a:lnTo>
                  <a:lnTo>
                    <a:pt x="572" y="42"/>
                  </a:lnTo>
                  <a:lnTo>
                    <a:pt x="572" y="42"/>
                  </a:lnTo>
                  <a:lnTo>
                    <a:pt x="570" y="38"/>
                  </a:lnTo>
                  <a:lnTo>
                    <a:pt x="568" y="36"/>
                  </a:lnTo>
                  <a:lnTo>
                    <a:pt x="564" y="32"/>
                  </a:lnTo>
                  <a:lnTo>
                    <a:pt x="560" y="30"/>
                  </a:lnTo>
                  <a:lnTo>
                    <a:pt x="560" y="30"/>
                  </a:lnTo>
                  <a:lnTo>
                    <a:pt x="558" y="30"/>
                  </a:lnTo>
                  <a:lnTo>
                    <a:pt x="554" y="30"/>
                  </a:lnTo>
                  <a:lnTo>
                    <a:pt x="550" y="30"/>
                  </a:lnTo>
                  <a:lnTo>
                    <a:pt x="544" y="30"/>
                  </a:lnTo>
                  <a:lnTo>
                    <a:pt x="544" y="30"/>
                  </a:lnTo>
                  <a:lnTo>
                    <a:pt x="544" y="30"/>
                  </a:lnTo>
                  <a:lnTo>
                    <a:pt x="542" y="30"/>
                  </a:lnTo>
                  <a:lnTo>
                    <a:pt x="542" y="30"/>
                  </a:lnTo>
                  <a:lnTo>
                    <a:pt x="542" y="30"/>
                  </a:lnTo>
                  <a:lnTo>
                    <a:pt x="540" y="32"/>
                  </a:lnTo>
                  <a:lnTo>
                    <a:pt x="536" y="34"/>
                  </a:lnTo>
                  <a:lnTo>
                    <a:pt x="534" y="34"/>
                  </a:lnTo>
                  <a:lnTo>
                    <a:pt x="532" y="38"/>
                  </a:lnTo>
                  <a:lnTo>
                    <a:pt x="532" y="38"/>
                  </a:lnTo>
                  <a:lnTo>
                    <a:pt x="532" y="38"/>
                  </a:lnTo>
                  <a:lnTo>
                    <a:pt x="530" y="42"/>
                  </a:lnTo>
                  <a:lnTo>
                    <a:pt x="528" y="46"/>
                  </a:lnTo>
                  <a:lnTo>
                    <a:pt x="526" y="48"/>
                  </a:lnTo>
                  <a:lnTo>
                    <a:pt x="524" y="52"/>
                  </a:lnTo>
                  <a:lnTo>
                    <a:pt x="520" y="54"/>
                  </a:lnTo>
                  <a:lnTo>
                    <a:pt x="518" y="54"/>
                  </a:lnTo>
                  <a:lnTo>
                    <a:pt x="516" y="56"/>
                  </a:lnTo>
                  <a:lnTo>
                    <a:pt x="516" y="56"/>
                  </a:lnTo>
                  <a:lnTo>
                    <a:pt x="514" y="56"/>
                  </a:lnTo>
                  <a:lnTo>
                    <a:pt x="514" y="56"/>
                  </a:lnTo>
                  <a:lnTo>
                    <a:pt x="514" y="60"/>
                  </a:lnTo>
                  <a:lnTo>
                    <a:pt x="516" y="64"/>
                  </a:lnTo>
                  <a:lnTo>
                    <a:pt x="518" y="68"/>
                  </a:lnTo>
                  <a:lnTo>
                    <a:pt x="520" y="72"/>
                  </a:lnTo>
                  <a:lnTo>
                    <a:pt x="520" y="78"/>
                  </a:lnTo>
                  <a:lnTo>
                    <a:pt x="520" y="80"/>
                  </a:lnTo>
                  <a:lnTo>
                    <a:pt x="518" y="80"/>
                  </a:lnTo>
                  <a:lnTo>
                    <a:pt x="516" y="80"/>
                  </a:lnTo>
                  <a:lnTo>
                    <a:pt x="514" y="78"/>
                  </a:lnTo>
                  <a:lnTo>
                    <a:pt x="514" y="76"/>
                  </a:lnTo>
                  <a:lnTo>
                    <a:pt x="512" y="76"/>
                  </a:lnTo>
                  <a:lnTo>
                    <a:pt x="510" y="76"/>
                  </a:lnTo>
                  <a:lnTo>
                    <a:pt x="510" y="76"/>
                  </a:lnTo>
                  <a:lnTo>
                    <a:pt x="508" y="76"/>
                  </a:lnTo>
                  <a:lnTo>
                    <a:pt x="506" y="76"/>
                  </a:lnTo>
                  <a:lnTo>
                    <a:pt x="506" y="76"/>
                  </a:lnTo>
                  <a:lnTo>
                    <a:pt x="506" y="76"/>
                  </a:lnTo>
                  <a:lnTo>
                    <a:pt x="504" y="76"/>
                  </a:lnTo>
                  <a:lnTo>
                    <a:pt x="504" y="76"/>
                  </a:lnTo>
                  <a:lnTo>
                    <a:pt x="504" y="78"/>
                  </a:lnTo>
                  <a:lnTo>
                    <a:pt x="502" y="80"/>
                  </a:lnTo>
                  <a:lnTo>
                    <a:pt x="502" y="80"/>
                  </a:lnTo>
                  <a:lnTo>
                    <a:pt x="502" y="80"/>
                  </a:lnTo>
                  <a:lnTo>
                    <a:pt x="500" y="80"/>
                  </a:lnTo>
                  <a:lnTo>
                    <a:pt x="500" y="80"/>
                  </a:lnTo>
                  <a:lnTo>
                    <a:pt x="500" y="80"/>
                  </a:lnTo>
                  <a:lnTo>
                    <a:pt x="502" y="82"/>
                  </a:lnTo>
                  <a:lnTo>
                    <a:pt x="500" y="84"/>
                  </a:lnTo>
                  <a:lnTo>
                    <a:pt x="500" y="84"/>
                  </a:lnTo>
                  <a:lnTo>
                    <a:pt x="500" y="84"/>
                  </a:lnTo>
                  <a:lnTo>
                    <a:pt x="502" y="88"/>
                  </a:lnTo>
                  <a:lnTo>
                    <a:pt x="502" y="92"/>
                  </a:lnTo>
                  <a:lnTo>
                    <a:pt x="504" y="96"/>
                  </a:lnTo>
                  <a:lnTo>
                    <a:pt x="504" y="96"/>
                  </a:lnTo>
                  <a:lnTo>
                    <a:pt x="504" y="96"/>
                  </a:lnTo>
                  <a:lnTo>
                    <a:pt x="502" y="98"/>
                  </a:lnTo>
                  <a:lnTo>
                    <a:pt x="502" y="98"/>
                  </a:lnTo>
                  <a:lnTo>
                    <a:pt x="500" y="98"/>
                  </a:lnTo>
                  <a:lnTo>
                    <a:pt x="500" y="98"/>
                  </a:lnTo>
                  <a:lnTo>
                    <a:pt x="500" y="98"/>
                  </a:lnTo>
                  <a:lnTo>
                    <a:pt x="500" y="100"/>
                  </a:lnTo>
                  <a:lnTo>
                    <a:pt x="498" y="100"/>
                  </a:lnTo>
                  <a:lnTo>
                    <a:pt x="498" y="100"/>
                  </a:lnTo>
                  <a:lnTo>
                    <a:pt x="498" y="102"/>
                  </a:lnTo>
                  <a:lnTo>
                    <a:pt x="500" y="102"/>
                  </a:lnTo>
                  <a:lnTo>
                    <a:pt x="500" y="102"/>
                  </a:lnTo>
                  <a:lnTo>
                    <a:pt x="500" y="104"/>
                  </a:lnTo>
                  <a:lnTo>
                    <a:pt x="500" y="104"/>
                  </a:lnTo>
                  <a:close/>
                  <a:moveTo>
                    <a:pt x="528" y="92"/>
                  </a:moveTo>
                  <a:lnTo>
                    <a:pt x="528" y="92"/>
                  </a:lnTo>
                  <a:lnTo>
                    <a:pt x="528" y="92"/>
                  </a:lnTo>
                  <a:lnTo>
                    <a:pt x="528" y="94"/>
                  </a:lnTo>
                  <a:lnTo>
                    <a:pt x="530" y="94"/>
                  </a:lnTo>
                  <a:lnTo>
                    <a:pt x="530" y="94"/>
                  </a:lnTo>
                  <a:lnTo>
                    <a:pt x="530" y="96"/>
                  </a:lnTo>
                  <a:lnTo>
                    <a:pt x="530" y="98"/>
                  </a:lnTo>
                  <a:lnTo>
                    <a:pt x="532" y="100"/>
                  </a:lnTo>
                  <a:lnTo>
                    <a:pt x="534" y="100"/>
                  </a:lnTo>
                  <a:lnTo>
                    <a:pt x="538" y="104"/>
                  </a:lnTo>
                  <a:lnTo>
                    <a:pt x="538" y="104"/>
                  </a:lnTo>
                  <a:lnTo>
                    <a:pt x="540" y="106"/>
                  </a:lnTo>
                  <a:lnTo>
                    <a:pt x="540" y="106"/>
                  </a:lnTo>
                  <a:lnTo>
                    <a:pt x="538" y="106"/>
                  </a:lnTo>
                  <a:lnTo>
                    <a:pt x="538" y="108"/>
                  </a:lnTo>
                  <a:lnTo>
                    <a:pt x="538" y="108"/>
                  </a:lnTo>
                  <a:lnTo>
                    <a:pt x="538" y="108"/>
                  </a:lnTo>
                  <a:lnTo>
                    <a:pt x="538" y="108"/>
                  </a:lnTo>
                  <a:lnTo>
                    <a:pt x="536" y="106"/>
                  </a:lnTo>
                  <a:lnTo>
                    <a:pt x="534" y="104"/>
                  </a:lnTo>
                  <a:lnTo>
                    <a:pt x="532" y="102"/>
                  </a:lnTo>
                  <a:lnTo>
                    <a:pt x="530" y="98"/>
                  </a:lnTo>
                  <a:lnTo>
                    <a:pt x="528" y="96"/>
                  </a:lnTo>
                  <a:lnTo>
                    <a:pt x="528" y="94"/>
                  </a:lnTo>
                  <a:lnTo>
                    <a:pt x="526" y="92"/>
                  </a:lnTo>
                  <a:lnTo>
                    <a:pt x="528" y="92"/>
                  </a:lnTo>
                  <a:close/>
                  <a:moveTo>
                    <a:pt x="2428" y="930"/>
                  </a:moveTo>
                  <a:lnTo>
                    <a:pt x="2432" y="926"/>
                  </a:lnTo>
                  <a:lnTo>
                    <a:pt x="2434" y="922"/>
                  </a:lnTo>
                  <a:lnTo>
                    <a:pt x="2434" y="922"/>
                  </a:lnTo>
                  <a:lnTo>
                    <a:pt x="2434" y="922"/>
                  </a:lnTo>
                  <a:lnTo>
                    <a:pt x="2434" y="922"/>
                  </a:lnTo>
                  <a:lnTo>
                    <a:pt x="2434" y="922"/>
                  </a:lnTo>
                  <a:lnTo>
                    <a:pt x="2434" y="920"/>
                  </a:lnTo>
                  <a:lnTo>
                    <a:pt x="2434" y="920"/>
                  </a:lnTo>
                  <a:lnTo>
                    <a:pt x="2434" y="920"/>
                  </a:lnTo>
                  <a:lnTo>
                    <a:pt x="2434" y="918"/>
                  </a:lnTo>
                  <a:lnTo>
                    <a:pt x="2436" y="918"/>
                  </a:lnTo>
                  <a:lnTo>
                    <a:pt x="2440" y="918"/>
                  </a:lnTo>
                  <a:lnTo>
                    <a:pt x="2442" y="918"/>
                  </a:lnTo>
                  <a:lnTo>
                    <a:pt x="2442" y="918"/>
                  </a:lnTo>
                  <a:lnTo>
                    <a:pt x="2446" y="918"/>
                  </a:lnTo>
                  <a:lnTo>
                    <a:pt x="2446" y="918"/>
                  </a:lnTo>
                  <a:lnTo>
                    <a:pt x="2446" y="918"/>
                  </a:lnTo>
                  <a:lnTo>
                    <a:pt x="2448" y="918"/>
                  </a:lnTo>
                  <a:lnTo>
                    <a:pt x="2448" y="918"/>
                  </a:lnTo>
                  <a:lnTo>
                    <a:pt x="2450" y="916"/>
                  </a:lnTo>
                  <a:lnTo>
                    <a:pt x="2452" y="916"/>
                  </a:lnTo>
                  <a:lnTo>
                    <a:pt x="2452" y="916"/>
                  </a:lnTo>
                  <a:lnTo>
                    <a:pt x="2452" y="916"/>
                  </a:lnTo>
                  <a:lnTo>
                    <a:pt x="2454" y="912"/>
                  </a:lnTo>
                  <a:lnTo>
                    <a:pt x="2456" y="912"/>
                  </a:lnTo>
                  <a:lnTo>
                    <a:pt x="2458" y="910"/>
                  </a:lnTo>
                  <a:lnTo>
                    <a:pt x="2460" y="906"/>
                  </a:lnTo>
                  <a:lnTo>
                    <a:pt x="2460" y="906"/>
                  </a:lnTo>
                  <a:lnTo>
                    <a:pt x="2460" y="904"/>
                  </a:lnTo>
                  <a:lnTo>
                    <a:pt x="2460" y="902"/>
                  </a:lnTo>
                  <a:lnTo>
                    <a:pt x="2462" y="900"/>
                  </a:lnTo>
                  <a:lnTo>
                    <a:pt x="2462" y="900"/>
                  </a:lnTo>
                  <a:lnTo>
                    <a:pt x="2462" y="900"/>
                  </a:lnTo>
                  <a:lnTo>
                    <a:pt x="2462" y="898"/>
                  </a:lnTo>
                  <a:lnTo>
                    <a:pt x="2462" y="898"/>
                  </a:lnTo>
                  <a:lnTo>
                    <a:pt x="2462" y="896"/>
                  </a:lnTo>
                  <a:lnTo>
                    <a:pt x="2460" y="894"/>
                  </a:lnTo>
                  <a:lnTo>
                    <a:pt x="2460" y="894"/>
                  </a:lnTo>
                  <a:lnTo>
                    <a:pt x="2460" y="894"/>
                  </a:lnTo>
                  <a:lnTo>
                    <a:pt x="2460" y="892"/>
                  </a:lnTo>
                  <a:lnTo>
                    <a:pt x="2460" y="892"/>
                  </a:lnTo>
                  <a:lnTo>
                    <a:pt x="2458" y="892"/>
                  </a:lnTo>
                  <a:lnTo>
                    <a:pt x="2456" y="890"/>
                  </a:lnTo>
                  <a:lnTo>
                    <a:pt x="2454" y="888"/>
                  </a:lnTo>
                  <a:lnTo>
                    <a:pt x="2452" y="886"/>
                  </a:lnTo>
                  <a:lnTo>
                    <a:pt x="2448" y="886"/>
                  </a:lnTo>
                  <a:lnTo>
                    <a:pt x="2446" y="884"/>
                  </a:lnTo>
                  <a:lnTo>
                    <a:pt x="2444" y="882"/>
                  </a:lnTo>
                  <a:lnTo>
                    <a:pt x="2444" y="882"/>
                  </a:lnTo>
                  <a:lnTo>
                    <a:pt x="2444" y="880"/>
                  </a:lnTo>
                  <a:lnTo>
                    <a:pt x="2442" y="880"/>
                  </a:lnTo>
                  <a:lnTo>
                    <a:pt x="2442" y="876"/>
                  </a:lnTo>
                  <a:lnTo>
                    <a:pt x="2442" y="872"/>
                  </a:lnTo>
                  <a:lnTo>
                    <a:pt x="2442" y="870"/>
                  </a:lnTo>
                  <a:lnTo>
                    <a:pt x="2442" y="870"/>
                  </a:lnTo>
                  <a:lnTo>
                    <a:pt x="2442" y="870"/>
                  </a:lnTo>
                  <a:lnTo>
                    <a:pt x="2442" y="868"/>
                  </a:lnTo>
                  <a:lnTo>
                    <a:pt x="2442" y="868"/>
                  </a:lnTo>
                  <a:lnTo>
                    <a:pt x="2440" y="868"/>
                  </a:lnTo>
                  <a:lnTo>
                    <a:pt x="2440" y="866"/>
                  </a:lnTo>
                  <a:lnTo>
                    <a:pt x="2440" y="866"/>
                  </a:lnTo>
                  <a:lnTo>
                    <a:pt x="2438" y="866"/>
                  </a:lnTo>
                  <a:lnTo>
                    <a:pt x="2438" y="864"/>
                  </a:lnTo>
                  <a:lnTo>
                    <a:pt x="2438" y="864"/>
                  </a:lnTo>
                  <a:lnTo>
                    <a:pt x="2436" y="864"/>
                  </a:lnTo>
                  <a:lnTo>
                    <a:pt x="2434" y="862"/>
                  </a:lnTo>
                  <a:lnTo>
                    <a:pt x="2434" y="862"/>
                  </a:lnTo>
                  <a:lnTo>
                    <a:pt x="2434" y="862"/>
                  </a:lnTo>
                  <a:lnTo>
                    <a:pt x="2432" y="862"/>
                  </a:lnTo>
                  <a:lnTo>
                    <a:pt x="2430" y="862"/>
                  </a:lnTo>
                  <a:lnTo>
                    <a:pt x="2426" y="862"/>
                  </a:lnTo>
                  <a:lnTo>
                    <a:pt x="2420" y="862"/>
                  </a:lnTo>
                  <a:lnTo>
                    <a:pt x="2416" y="862"/>
                  </a:lnTo>
                  <a:lnTo>
                    <a:pt x="2412" y="862"/>
                  </a:lnTo>
                  <a:lnTo>
                    <a:pt x="2408" y="862"/>
                  </a:lnTo>
                  <a:lnTo>
                    <a:pt x="2404" y="862"/>
                  </a:lnTo>
                  <a:lnTo>
                    <a:pt x="2404" y="862"/>
                  </a:lnTo>
                  <a:lnTo>
                    <a:pt x="2404" y="862"/>
                  </a:lnTo>
                  <a:lnTo>
                    <a:pt x="2402" y="864"/>
                  </a:lnTo>
                  <a:lnTo>
                    <a:pt x="2402" y="864"/>
                  </a:lnTo>
                  <a:lnTo>
                    <a:pt x="2402" y="864"/>
                  </a:lnTo>
                  <a:lnTo>
                    <a:pt x="2400" y="864"/>
                  </a:lnTo>
                  <a:lnTo>
                    <a:pt x="2400" y="864"/>
                  </a:lnTo>
                  <a:lnTo>
                    <a:pt x="2400" y="866"/>
                  </a:lnTo>
                  <a:lnTo>
                    <a:pt x="2400" y="868"/>
                  </a:lnTo>
                  <a:lnTo>
                    <a:pt x="2400" y="868"/>
                  </a:lnTo>
                  <a:lnTo>
                    <a:pt x="2400" y="868"/>
                  </a:lnTo>
                  <a:lnTo>
                    <a:pt x="2398" y="870"/>
                  </a:lnTo>
                  <a:lnTo>
                    <a:pt x="2398" y="870"/>
                  </a:lnTo>
                  <a:lnTo>
                    <a:pt x="2398" y="870"/>
                  </a:lnTo>
                  <a:lnTo>
                    <a:pt x="2400" y="872"/>
                  </a:lnTo>
                  <a:lnTo>
                    <a:pt x="2400" y="876"/>
                  </a:lnTo>
                  <a:lnTo>
                    <a:pt x="2400" y="876"/>
                  </a:lnTo>
                  <a:lnTo>
                    <a:pt x="2400" y="878"/>
                  </a:lnTo>
                  <a:lnTo>
                    <a:pt x="2400" y="880"/>
                  </a:lnTo>
                  <a:lnTo>
                    <a:pt x="2400" y="882"/>
                  </a:lnTo>
                  <a:lnTo>
                    <a:pt x="2400" y="886"/>
                  </a:lnTo>
                  <a:lnTo>
                    <a:pt x="2400" y="886"/>
                  </a:lnTo>
                  <a:lnTo>
                    <a:pt x="2400" y="886"/>
                  </a:lnTo>
                  <a:lnTo>
                    <a:pt x="2398" y="884"/>
                  </a:lnTo>
                  <a:lnTo>
                    <a:pt x="2396" y="882"/>
                  </a:lnTo>
                  <a:lnTo>
                    <a:pt x="2394" y="880"/>
                  </a:lnTo>
                  <a:lnTo>
                    <a:pt x="2394" y="880"/>
                  </a:lnTo>
                  <a:lnTo>
                    <a:pt x="2392" y="878"/>
                  </a:lnTo>
                  <a:lnTo>
                    <a:pt x="2392" y="876"/>
                  </a:lnTo>
                  <a:lnTo>
                    <a:pt x="2394" y="872"/>
                  </a:lnTo>
                  <a:lnTo>
                    <a:pt x="2394" y="870"/>
                  </a:lnTo>
                  <a:lnTo>
                    <a:pt x="2394" y="870"/>
                  </a:lnTo>
                  <a:lnTo>
                    <a:pt x="2394" y="868"/>
                  </a:lnTo>
                  <a:lnTo>
                    <a:pt x="2394" y="868"/>
                  </a:lnTo>
                  <a:lnTo>
                    <a:pt x="2396" y="866"/>
                  </a:lnTo>
                  <a:lnTo>
                    <a:pt x="2398" y="864"/>
                  </a:lnTo>
                  <a:lnTo>
                    <a:pt x="2398" y="864"/>
                  </a:lnTo>
                  <a:lnTo>
                    <a:pt x="2398" y="864"/>
                  </a:lnTo>
                  <a:lnTo>
                    <a:pt x="2398" y="862"/>
                  </a:lnTo>
                  <a:lnTo>
                    <a:pt x="2398" y="862"/>
                  </a:lnTo>
                  <a:lnTo>
                    <a:pt x="2398" y="860"/>
                  </a:lnTo>
                  <a:lnTo>
                    <a:pt x="2398" y="858"/>
                  </a:lnTo>
                  <a:lnTo>
                    <a:pt x="2398" y="858"/>
                  </a:lnTo>
                  <a:lnTo>
                    <a:pt x="2398" y="858"/>
                  </a:lnTo>
                  <a:lnTo>
                    <a:pt x="2398" y="854"/>
                  </a:lnTo>
                  <a:lnTo>
                    <a:pt x="2398" y="854"/>
                  </a:lnTo>
                  <a:lnTo>
                    <a:pt x="2396" y="854"/>
                  </a:lnTo>
                  <a:lnTo>
                    <a:pt x="2396" y="852"/>
                  </a:lnTo>
                  <a:lnTo>
                    <a:pt x="2394" y="850"/>
                  </a:lnTo>
                  <a:lnTo>
                    <a:pt x="2392" y="848"/>
                  </a:lnTo>
                  <a:lnTo>
                    <a:pt x="2390" y="846"/>
                  </a:lnTo>
                  <a:lnTo>
                    <a:pt x="2386" y="844"/>
                  </a:lnTo>
                  <a:lnTo>
                    <a:pt x="2384" y="840"/>
                  </a:lnTo>
                  <a:lnTo>
                    <a:pt x="2376" y="836"/>
                  </a:lnTo>
                  <a:lnTo>
                    <a:pt x="2368" y="830"/>
                  </a:lnTo>
                  <a:lnTo>
                    <a:pt x="2360" y="824"/>
                  </a:lnTo>
                  <a:lnTo>
                    <a:pt x="2354" y="818"/>
                  </a:lnTo>
                  <a:lnTo>
                    <a:pt x="2346" y="812"/>
                  </a:lnTo>
                  <a:lnTo>
                    <a:pt x="2344" y="810"/>
                  </a:lnTo>
                  <a:lnTo>
                    <a:pt x="2342" y="806"/>
                  </a:lnTo>
                  <a:lnTo>
                    <a:pt x="2338" y="802"/>
                  </a:lnTo>
                  <a:lnTo>
                    <a:pt x="2334" y="800"/>
                  </a:lnTo>
                  <a:lnTo>
                    <a:pt x="2332" y="796"/>
                  </a:lnTo>
                  <a:lnTo>
                    <a:pt x="2328" y="792"/>
                  </a:lnTo>
                  <a:lnTo>
                    <a:pt x="2324" y="788"/>
                  </a:lnTo>
                  <a:lnTo>
                    <a:pt x="2320" y="784"/>
                  </a:lnTo>
                  <a:lnTo>
                    <a:pt x="2318" y="782"/>
                  </a:lnTo>
                  <a:lnTo>
                    <a:pt x="2314" y="780"/>
                  </a:lnTo>
                  <a:lnTo>
                    <a:pt x="2308" y="776"/>
                  </a:lnTo>
                  <a:lnTo>
                    <a:pt x="2298" y="772"/>
                  </a:lnTo>
                  <a:lnTo>
                    <a:pt x="2294" y="768"/>
                  </a:lnTo>
                  <a:lnTo>
                    <a:pt x="2288" y="766"/>
                  </a:lnTo>
                  <a:lnTo>
                    <a:pt x="2284" y="764"/>
                  </a:lnTo>
                  <a:lnTo>
                    <a:pt x="2282" y="762"/>
                  </a:lnTo>
                  <a:lnTo>
                    <a:pt x="2278" y="762"/>
                  </a:lnTo>
                  <a:lnTo>
                    <a:pt x="2276" y="760"/>
                  </a:lnTo>
                  <a:lnTo>
                    <a:pt x="2274" y="760"/>
                  </a:lnTo>
                  <a:lnTo>
                    <a:pt x="2272" y="758"/>
                  </a:lnTo>
                  <a:lnTo>
                    <a:pt x="2270" y="756"/>
                  </a:lnTo>
                  <a:lnTo>
                    <a:pt x="2270" y="756"/>
                  </a:lnTo>
                  <a:lnTo>
                    <a:pt x="2270" y="756"/>
                  </a:lnTo>
                  <a:lnTo>
                    <a:pt x="2268" y="756"/>
                  </a:lnTo>
                  <a:lnTo>
                    <a:pt x="2266" y="756"/>
                  </a:lnTo>
                  <a:lnTo>
                    <a:pt x="2266" y="756"/>
                  </a:lnTo>
                  <a:lnTo>
                    <a:pt x="2260" y="756"/>
                  </a:lnTo>
                  <a:lnTo>
                    <a:pt x="2256" y="756"/>
                  </a:lnTo>
                  <a:lnTo>
                    <a:pt x="2250" y="756"/>
                  </a:lnTo>
                  <a:lnTo>
                    <a:pt x="2246" y="756"/>
                  </a:lnTo>
                  <a:lnTo>
                    <a:pt x="2240" y="754"/>
                  </a:lnTo>
                  <a:lnTo>
                    <a:pt x="2234" y="754"/>
                  </a:lnTo>
                  <a:lnTo>
                    <a:pt x="2228" y="752"/>
                  </a:lnTo>
                  <a:lnTo>
                    <a:pt x="2226" y="752"/>
                  </a:lnTo>
                  <a:lnTo>
                    <a:pt x="2222" y="750"/>
                  </a:lnTo>
                  <a:lnTo>
                    <a:pt x="2220" y="750"/>
                  </a:lnTo>
                  <a:lnTo>
                    <a:pt x="2220" y="750"/>
                  </a:lnTo>
                  <a:lnTo>
                    <a:pt x="2216" y="750"/>
                  </a:lnTo>
                  <a:lnTo>
                    <a:pt x="2214" y="748"/>
                  </a:lnTo>
                  <a:lnTo>
                    <a:pt x="2212" y="748"/>
                  </a:lnTo>
                  <a:lnTo>
                    <a:pt x="2210" y="748"/>
                  </a:lnTo>
                  <a:lnTo>
                    <a:pt x="2208" y="748"/>
                  </a:lnTo>
                  <a:lnTo>
                    <a:pt x="2206" y="746"/>
                  </a:lnTo>
                  <a:lnTo>
                    <a:pt x="2200" y="746"/>
                  </a:lnTo>
                  <a:lnTo>
                    <a:pt x="2196" y="744"/>
                  </a:lnTo>
                  <a:lnTo>
                    <a:pt x="2194" y="744"/>
                  </a:lnTo>
                  <a:lnTo>
                    <a:pt x="2192" y="744"/>
                  </a:lnTo>
                  <a:lnTo>
                    <a:pt x="2190" y="744"/>
                  </a:lnTo>
                  <a:lnTo>
                    <a:pt x="2188" y="744"/>
                  </a:lnTo>
                  <a:lnTo>
                    <a:pt x="2188" y="744"/>
                  </a:lnTo>
                  <a:lnTo>
                    <a:pt x="2188" y="744"/>
                  </a:lnTo>
                  <a:lnTo>
                    <a:pt x="2186" y="746"/>
                  </a:lnTo>
                  <a:lnTo>
                    <a:pt x="2186" y="746"/>
                  </a:lnTo>
                  <a:lnTo>
                    <a:pt x="2184" y="746"/>
                  </a:lnTo>
                  <a:lnTo>
                    <a:pt x="2182" y="750"/>
                  </a:lnTo>
                  <a:lnTo>
                    <a:pt x="2182" y="750"/>
                  </a:lnTo>
                  <a:lnTo>
                    <a:pt x="2182" y="750"/>
                  </a:lnTo>
                  <a:lnTo>
                    <a:pt x="2180" y="754"/>
                  </a:lnTo>
                  <a:lnTo>
                    <a:pt x="2180" y="754"/>
                  </a:lnTo>
                  <a:lnTo>
                    <a:pt x="2180" y="754"/>
                  </a:lnTo>
                  <a:lnTo>
                    <a:pt x="2180" y="760"/>
                  </a:lnTo>
                  <a:lnTo>
                    <a:pt x="2180" y="760"/>
                  </a:lnTo>
                  <a:lnTo>
                    <a:pt x="2182" y="762"/>
                  </a:lnTo>
                  <a:lnTo>
                    <a:pt x="2182" y="768"/>
                  </a:lnTo>
                  <a:lnTo>
                    <a:pt x="2184" y="772"/>
                  </a:lnTo>
                  <a:lnTo>
                    <a:pt x="2186" y="776"/>
                  </a:lnTo>
                  <a:lnTo>
                    <a:pt x="2188" y="780"/>
                  </a:lnTo>
                  <a:lnTo>
                    <a:pt x="2188" y="784"/>
                  </a:lnTo>
                  <a:lnTo>
                    <a:pt x="2190" y="786"/>
                  </a:lnTo>
                  <a:lnTo>
                    <a:pt x="2190" y="788"/>
                  </a:lnTo>
                  <a:lnTo>
                    <a:pt x="2190" y="788"/>
                  </a:lnTo>
                  <a:lnTo>
                    <a:pt x="2188" y="788"/>
                  </a:lnTo>
                  <a:lnTo>
                    <a:pt x="2186" y="788"/>
                  </a:lnTo>
                  <a:lnTo>
                    <a:pt x="2182" y="788"/>
                  </a:lnTo>
                  <a:lnTo>
                    <a:pt x="2178" y="786"/>
                  </a:lnTo>
                  <a:lnTo>
                    <a:pt x="2176" y="786"/>
                  </a:lnTo>
                  <a:lnTo>
                    <a:pt x="2172" y="786"/>
                  </a:lnTo>
                  <a:lnTo>
                    <a:pt x="2170" y="784"/>
                  </a:lnTo>
                  <a:lnTo>
                    <a:pt x="2164" y="784"/>
                  </a:lnTo>
                  <a:lnTo>
                    <a:pt x="2162" y="784"/>
                  </a:lnTo>
                  <a:lnTo>
                    <a:pt x="2158" y="782"/>
                  </a:lnTo>
                  <a:lnTo>
                    <a:pt x="2158" y="782"/>
                  </a:lnTo>
                  <a:lnTo>
                    <a:pt x="2156" y="780"/>
                  </a:lnTo>
                  <a:lnTo>
                    <a:pt x="2156" y="780"/>
                  </a:lnTo>
                  <a:lnTo>
                    <a:pt x="2154" y="778"/>
                  </a:lnTo>
                  <a:lnTo>
                    <a:pt x="2154" y="774"/>
                  </a:lnTo>
                  <a:lnTo>
                    <a:pt x="2154" y="772"/>
                  </a:lnTo>
                  <a:lnTo>
                    <a:pt x="2154" y="770"/>
                  </a:lnTo>
                  <a:lnTo>
                    <a:pt x="2154" y="766"/>
                  </a:lnTo>
                  <a:lnTo>
                    <a:pt x="2154" y="764"/>
                  </a:lnTo>
                  <a:lnTo>
                    <a:pt x="2154" y="764"/>
                  </a:lnTo>
                  <a:lnTo>
                    <a:pt x="2156" y="764"/>
                  </a:lnTo>
                  <a:lnTo>
                    <a:pt x="2156" y="762"/>
                  </a:lnTo>
                  <a:lnTo>
                    <a:pt x="2160" y="762"/>
                  </a:lnTo>
                  <a:lnTo>
                    <a:pt x="2162" y="762"/>
                  </a:lnTo>
                  <a:lnTo>
                    <a:pt x="2166" y="760"/>
                  </a:lnTo>
                  <a:lnTo>
                    <a:pt x="2168" y="760"/>
                  </a:lnTo>
                  <a:lnTo>
                    <a:pt x="2170" y="760"/>
                  </a:lnTo>
                  <a:lnTo>
                    <a:pt x="2170" y="760"/>
                  </a:lnTo>
                  <a:lnTo>
                    <a:pt x="2172" y="760"/>
                  </a:lnTo>
                  <a:lnTo>
                    <a:pt x="2172" y="758"/>
                  </a:lnTo>
                  <a:lnTo>
                    <a:pt x="2172" y="758"/>
                  </a:lnTo>
                  <a:lnTo>
                    <a:pt x="2172" y="756"/>
                  </a:lnTo>
                  <a:lnTo>
                    <a:pt x="2172" y="754"/>
                  </a:lnTo>
                  <a:lnTo>
                    <a:pt x="2172" y="754"/>
                  </a:lnTo>
                  <a:lnTo>
                    <a:pt x="2172" y="754"/>
                  </a:lnTo>
                  <a:lnTo>
                    <a:pt x="2170" y="752"/>
                  </a:lnTo>
                  <a:lnTo>
                    <a:pt x="2168" y="750"/>
                  </a:lnTo>
                  <a:lnTo>
                    <a:pt x="2166" y="748"/>
                  </a:lnTo>
                  <a:lnTo>
                    <a:pt x="2162" y="746"/>
                  </a:lnTo>
                  <a:lnTo>
                    <a:pt x="2160" y="746"/>
                  </a:lnTo>
                  <a:lnTo>
                    <a:pt x="2160" y="746"/>
                  </a:lnTo>
                  <a:lnTo>
                    <a:pt x="2160" y="746"/>
                  </a:lnTo>
                  <a:lnTo>
                    <a:pt x="2158" y="744"/>
                  </a:lnTo>
                  <a:lnTo>
                    <a:pt x="2158" y="744"/>
                  </a:lnTo>
                  <a:lnTo>
                    <a:pt x="2156" y="744"/>
                  </a:lnTo>
                  <a:lnTo>
                    <a:pt x="2156" y="744"/>
                  </a:lnTo>
                  <a:lnTo>
                    <a:pt x="2156" y="744"/>
                  </a:lnTo>
                  <a:lnTo>
                    <a:pt x="2154" y="746"/>
                  </a:lnTo>
                  <a:lnTo>
                    <a:pt x="2152" y="746"/>
                  </a:lnTo>
                  <a:lnTo>
                    <a:pt x="2152" y="746"/>
                  </a:lnTo>
                  <a:lnTo>
                    <a:pt x="2152" y="746"/>
                  </a:lnTo>
                  <a:lnTo>
                    <a:pt x="2150" y="748"/>
                  </a:lnTo>
                  <a:lnTo>
                    <a:pt x="2150" y="748"/>
                  </a:lnTo>
                  <a:lnTo>
                    <a:pt x="2150" y="748"/>
                  </a:lnTo>
                  <a:lnTo>
                    <a:pt x="2148" y="752"/>
                  </a:lnTo>
                  <a:lnTo>
                    <a:pt x="2146" y="754"/>
                  </a:lnTo>
                  <a:lnTo>
                    <a:pt x="2144" y="758"/>
                  </a:lnTo>
                  <a:lnTo>
                    <a:pt x="2142" y="760"/>
                  </a:lnTo>
                  <a:lnTo>
                    <a:pt x="2142" y="762"/>
                  </a:lnTo>
                  <a:lnTo>
                    <a:pt x="2138" y="766"/>
                  </a:lnTo>
                  <a:lnTo>
                    <a:pt x="2136" y="768"/>
                  </a:lnTo>
                  <a:lnTo>
                    <a:pt x="2136" y="768"/>
                  </a:lnTo>
                  <a:lnTo>
                    <a:pt x="2134" y="770"/>
                  </a:lnTo>
                  <a:lnTo>
                    <a:pt x="2134" y="770"/>
                  </a:lnTo>
                  <a:lnTo>
                    <a:pt x="2134" y="770"/>
                  </a:lnTo>
                  <a:lnTo>
                    <a:pt x="2134" y="770"/>
                  </a:lnTo>
                  <a:lnTo>
                    <a:pt x="2132" y="770"/>
                  </a:lnTo>
                  <a:lnTo>
                    <a:pt x="2130" y="768"/>
                  </a:lnTo>
                  <a:lnTo>
                    <a:pt x="2128" y="766"/>
                  </a:lnTo>
                  <a:lnTo>
                    <a:pt x="2128" y="766"/>
                  </a:lnTo>
                  <a:lnTo>
                    <a:pt x="2128" y="766"/>
                  </a:lnTo>
                  <a:lnTo>
                    <a:pt x="2126" y="766"/>
                  </a:lnTo>
                  <a:lnTo>
                    <a:pt x="2126" y="766"/>
                  </a:lnTo>
                  <a:lnTo>
                    <a:pt x="2126" y="764"/>
                  </a:lnTo>
                  <a:lnTo>
                    <a:pt x="2124" y="764"/>
                  </a:lnTo>
                  <a:lnTo>
                    <a:pt x="2124" y="764"/>
                  </a:lnTo>
                  <a:lnTo>
                    <a:pt x="2124" y="764"/>
                  </a:lnTo>
                  <a:lnTo>
                    <a:pt x="2120" y="764"/>
                  </a:lnTo>
                  <a:lnTo>
                    <a:pt x="2118" y="764"/>
                  </a:lnTo>
                  <a:lnTo>
                    <a:pt x="2112" y="764"/>
                  </a:lnTo>
                  <a:lnTo>
                    <a:pt x="2106" y="766"/>
                  </a:lnTo>
                  <a:lnTo>
                    <a:pt x="2104" y="766"/>
                  </a:lnTo>
                  <a:lnTo>
                    <a:pt x="2104" y="766"/>
                  </a:lnTo>
                  <a:lnTo>
                    <a:pt x="2104" y="766"/>
                  </a:lnTo>
                  <a:lnTo>
                    <a:pt x="2102" y="764"/>
                  </a:lnTo>
                  <a:lnTo>
                    <a:pt x="2102" y="764"/>
                  </a:lnTo>
                  <a:lnTo>
                    <a:pt x="2100" y="762"/>
                  </a:lnTo>
                  <a:lnTo>
                    <a:pt x="2100" y="758"/>
                  </a:lnTo>
                  <a:lnTo>
                    <a:pt x="2100" y="758"/>
                  </a:lnTo>
                  <a:lnTo>
                    <a:pt x="2098" y="758"/>
                  </a:lnTo>
                  <a:lnTo>
                    <a:pt x="2098" y="756"/>
                  </a:lnTo>
                  <a:lnTo>
                    <a:pt x="2098" y="756"/>
                  </a:lnTo>
                  <a:lnTo>
                    <a:pt x="2096" y="756"/>
                  </a:lnTo>
                  <a:lnTo>
                    <a:pt x="2094" y="756"/>
                  </a:lnTo>
                  <a:lnTo>
                    <a:pt x="2094" y="756"/>
                  </a:lnTo>
                  <a:lnTo>
                    <a:pt x="2094" y="756"/>
                  </a:lnTo>
                  <a:lnTo>
                    <a:pt x="2092" y="756"/>
                  </a:lnTo>
                  <a:lnTo>
                    <a:pt x="2088" y="754"/>
                  </a:lnTo>
                  <a:lnTo>
                    <a:pt x="2086" y="754"/>
                  </a:lnTo>
                  <a:lnTo>
                    <a:pt x="2082" y="756"/>
                  </a:lnTo>
                  <a:lnTo>
                    <a:pt x="2076" y="756"/>
                  </a:lnTo>
                  <a:lnTo>
                    <a:pt x="2072" y="756"/>
                  </a:lnTo>
                  <a:lnTo>
                    <a:pt x="2070" y="756"/>
                  </a:lnTo>
                  <a:lnTo>
                    <a:pt x="2066" y="758"/>
                  </a:lnTo>
                  <a:lnTo>
                    <a:pt x="2066" y="758"/>
                  </a:lnTo>
                  <a:lnTo>
                    <a:pt x="2066" y="758"/>
                  </a:lnTo>
                  <a:lnTo>
                    <a:pt x="2062" y="760"/>
                  </a:lnTo>
                  <a:lnTo>
                    <a:pt x="2062" y="760"/>
                  </a:lnTo>
                  <a:lnTo>
                    <a:pt x="2062" y="760"/>
                  </a:lnTo>
                  <a:lnTo>
                    <a:pt x="2060" y="762"/>
                  </a:lnTo>
                  <a:lnTo>
                    <a:pt x="2056" y="766"/>
                  </a:lnTo>
                  <a:lnTo>
                    <a:pt x="2054" y="768"/>
                  </a:lnTo>
                  <a:lnTo>
                    <a:pt x="2054" y="770"/>
                  </a:lnTo>
                  <a:lnTo>
                    <a:pt x="2052" y="770"/>
                  </a:lnTo>
                  <a:lnTo>
                    <a:pt x="2052" y="770"/>
                  </a:lnTo>
                  <a:lnTo>
                    <a:pt x="2052" y="770"/>
                  </a:lnTo>
                  <a:lnTo>
                    <a:pt x="2052" y="768"/>
                  </a:lnTo>
                  <a:lnTo>
                    <a:pt x="2052" y="768"/>
                  </a:lnTo>
                  <a:lnTo>
                    <a:pt x="2052" y="768"/>
                  </a:lnTo>
                  <a:lnTo>
                    <a:pt x="2052" y="766"/>
                  </a:lnTo>
                  <a:lnTo>
                    <a:pt x="2050" y="766"/>
                  </a:lnTo>
                  <a:lnTo>
                    <a:pt x="2050" y="766"/>
                  </a:lnTo>
                  <a:lnTo>
                    <a:pt x="2050" y="766"/>
                  </a:lnTo>
                  <a:lnTo>
                    <a:pt x="2048" y="762"/>
                  </a:lnTo>
                  <a:lnTo>
                    <a:pt x="2044" y="760"/>
                  </a:lnTo>
                  <a:lnTo>
                    <a:pt x="2042" y="758"/>
                  </a:lnTo>
                  <a:lnTo>
                    <a:pt x="2040" y="758"/>
                  </a:lnTo>
                  <a:lnTo>
                    <a:pt x="2040" y="758"/>
                  </a:lnTo>
                  <a:lnTo>
                    <a:pt x="2040" y="758"/>
                  </a:lnTo>
                  <a:lnTo>
                    <a:pt x="2038" y="756"/>
                  </a:lnTo>
                  <a:lnTo>
                    <a:pt x="2034" y="756"/>
                  </a:lnTo>
                  <a:lnTo>
                    <a:pt x="2032" y="756"/>
                  </a:lnTo>
                  <a:lnTo>
                    <a:pt x="2030" y="754"/>
                  </a:lnTo>
                  <a:lnTo>
                    <a:pt x="2030" y="754"/>
                  </a:lnTo>
                  <a:lnTo>
                    <a:pt x="2032" y="752"/>
                  </a:lnTo>
                  <a:lnTo>
                    <a:pt x="2036" y="750"/>
                  </a:lnTo>
                  <a:lnTo>
                    <a:pt x="2036" y="750"/>
                  </a:lnTo>
                  <a:lnTo>
                    <a:pt x="2036" y="748"/>
                  </a:lnTo>
                  <a:lnTo>
                    <a:pt x="2036" y="748"/>
                  </a:lnTo>
                  <a:lnTo>
                    <a:pt x="2036" y="748"/>
                  </a:lnTo>
                  <a:lnTo>
                    <a:pt x="2038" y="746"/>
                  </a:lnTo>
                  <a:lnTo>
                    <a:pt x="2038" y="744"/>
                  </a:lnTo>
                  <a:lnTo>
                    <a:pt x="2038" y="744"/>
                  </a:lnTo>
                  <a:lnTo>
                    <a:pt x="2038" y="744"/>
                  </a:lnTo>
                  <a:lnTo>
                    <a:pt x="2038" y="740"/>
                  </a:lnTo>
                  <a:lnTo>
                    <a:pt x="2038" y="740"/>
                  </a:lnTo>
                  <a:lnTo>
                    <a:pt x="2038" y="736"/>
                  </a:lnTo>
                  <a:lnTo>
                    <a:pt x="2038" y="736"/>
                  </a:lnTo>
                  <a:lnTo>
                    <a:pt x="2038" y="734"/>
                  </a:lnTo>
                  <a:lnTo>
                    <a:pt x="2038" y="730"/>
                  </a:lnTo>
                  <a:lnTo>
                    <a:pt x="2038" y="730"/>
                  </a:lnTo>
                  <a:lnTo>
                    <a:pt x="2038" y="730"/>
                  </a:lnTo>
                  <a:lnTo>
                    <a:pt x="2036" y="728"/>
                  </a:lnTo>
                  <a:lnTo>
                    <a:pt x="2034" y="724"/>
                  </a:lnTo>
                  <a:lnTo>
                    <a:pt x="2034" y="722"/>
                  </a:lnTo>
                  <a:lnTo>
                    <a:pt x="2032" y="718"/>
                  </a:lnTo>
                  <a:lnTo>
                    <a:pt x="2026" y="712"/>
                  </a:lnTo>
                  <a:lnTo>
                    <a:pt x="2024" y="708"/>
                  </a:lnTo>
                  <a:lnTo>
                    <a:pt x="2022" y="706"/>
                  </a:lnTo>
                  <a:lnTo>
                    <a:pt x="2022" y="706"/>
                  </a:lnTo>
                  <a:lnTo>
                    <a:pt x="2020" y="706"/>
                  </a:lnTo>
                  <a:lnTo>
                    <a:pt x="2018" y="704"/>
                  </a:lnTo>
                  <a:lnTo>
                    <a:pt x="2018" y="704"/>
                  </a:lnTo>
                  <a:lnTo>
                    <a:pt x="2016" y="702"/>
                  </a:lnTo>
                  <a:lnTo>
                    <a:pt x="2014" y="702"/>
                  </a:lnTo>
                  <a:lnTo>
                    <a:pt x="2014" y="702"/>
                  </a:lnTo>
                  <a:lnTo>
                    <a:pt x="2012" y="702"/>
                  </a:lnTo>
                  <a:lnTo>
                    <a:pt x="2008" y="700"/>
                  </a:lnTo>
                  <a:lnTo>
                    <a:pt x="2002" y="698"/>
                  </a:lnTo>
                  <a:lnTo>
                    <a:pt x="1996" y="698"/>
                  </a:lnTo>
                  <a:lnTo>
                    <a:pt x="1990" y="698"/>
                  </a:lnTo>
                  <a:lnTo>
                    <a:pt x="1984" y="696"/>
                  </a:lnTo>
                  <a:lnTo>
                    <a:pt x="1978" y="696"/>
                  </a:lnTo>
                  <a:lnTo>
                    <a:pt x="1972" y="696"/>
                  </a:lnTo>
                  <a:lnTo>
                    <a:pt x="1966" y="698"/>
                  </a:lnTo>
                  <a:lnTo>
                    <a:pt x="1966" y="698"/>
                  </a:lnTo>
                  <a:lnTo>
                    <a:pt x="1962" y="698"/>
                  </a:lnTo>
                  <a:lnTo>
                    <a:pt x="1962" y="698"/>
                  </a:lnTo>
                  <a:lnTo>
                    <a:pt x="1962" y="698"/>
                  </a:lnTo>
                  <a:lnTo>
                    <a:pt x="1960" y="700"/>
                  </a:lnTo>
                  <a:lnTo>
                    <a:pt x="1960" y="700"/>
                  </a:lnTo>
                  <a:lnTo>
                    <a:pt x="1960" y="700"/>
                  </a:lnTo>
                  <a:lnTo>
                    <a:pt x="1958" y="702"/>
                  </a:lnTo>
                  <a:lnTo>
                    <a:pt x="1958" y="702"/>
                  </a:lnTo>
                  <a:lnTo>
                    <a:pt x="1956" y="702"/>
                  </a:lnTo>
                  <a:lnTo>
                    <a:pt x="1954" y="704"/>
                  </a:lnTo>
                  <a:lnTo>
                    <a:pt x="1954" y="706"/>
                  </a:lnTo>
                  <a:lnTo>
                    <a:pt x="1952" y="708"/>
                  </a:lnTo>
                  <a:lnTo>
                    <a:pt x="1950" y="708"/>
                  </a:lnTo>
                  <a:lnTo>
                    <a:pt x="1950" y="708"/>
                  </a:lnTo>
                  <a:lnTo>
                    <a:pt x="1946" y="708"/>
                  </a:lnTo>
                  <a:lnTo>
                    <a:pt x="1944" y="708"/>
                  </a:lnTo>
                  <a:lnTo>
                    <a:pt x="1936" y="708"/>
                  </a:lnTo>
                  <a:lnTo>
                    <a:pt x="1932" y="706"/>
                  </a:lnTo>
                  <a:lnTo>
                    <a:pt x="1928" y="704"/>
                  </a:lnTo>
                  <a:lnTo>
                    <a:pt x="1924" y="704"/>
                  </a:lnTo>
                  <a:lnTo>
                    <a:pt x="1922" y="704"/>
                  </a:lnTo>
                  <a:lnTo>
                    <a:pt x="1918" y="702"/>
                  </a:lnTo>
                  <a:lnTo>
                    <a:pt x="1920" y="702"/>
                  </a:lnTo>
                  <a:lnTo>
                    <a:pt x="1918" y="702"/>
                  </a:lnTo>
                  <a:lnTo>
                    <a:pt x="1916" y="700"/>
                  </a:lnTo>
                  <a:lnTo>
                    <a:pt x="1916" y="700"/>
                  </a:lnTo>
                  <a:lnTo>
                    <a:pt x="1914" y="698"/>
                  </a:lnTo>
                  <a:lnTo>
                    <a:pt x="1912" y="696"/>
                  </a:lnTo>
                  <a:lnTo>
                    <a:pt x="1910" y="694"/>
                  </a:lnTo>
                  <a:lnTo>
                    <a:pt x="1906" y="692"/>
                  </a:lnTo>
                  <a:lnTo>
                    <a:pt x="1904" y="688"/>
                  </a:lnTo>
                  <a:lnTo>
                    <a:pt x="1900" y="684"/>
                  </a:lnTo>
                  <a:lnTo>
                    <a:pt x="1896" y="680"/>
                  </a:lnTo>
                  <a:lnTo>
                    <a:pt x="1894" y="676"/>
                  </a:lnTo>
                  <a:lnTo>
                    <a:pt x="1890" y="674"/>
                  </a:lnTo>
                  <a:lnTo>
                    <a:pt x="1888" y="670"/>
                  </a:lnTo>
                  <a:lnTo>
                    <a:pt x="1886" y="666"/>
                  </a:lnTo>
                  <a:lnTo>
                    <a:pt x="1886" y="666"/>
                  </a:lnTo>
                  <a:lnTo>
                    <a:pt x="1886" y="664"/>
                  </a:lnTo>
                  <a:lnTo>
                    <a:pt x="1886" y="660"/>
                  </a:lnTo>
                  <a:lnTo>
                    <a:pt x="1886" y="656"/>
                  </a:lnTo>
                  <a:lnTo>
                    <a:pt x="1886" y="656"/>
                  </a:lnTo>
                  <a:lnTo>
                    <a:pt x="1886" y="656"/>
                  </a:lnTo>
                  <a:lnTo>
                    <a:pt x="1886" y="654"/>
                  </a:lnTo>
                  <a:lnTo>
                    <a:pt x="1886" y="654"/>
                  </a:lnTo>
                  <a:lnTo>
                    <a:pt x="1886" y="654"/>
                  </a:lnTo>
                  <a:lnTo>
                    <a:pt x="1886" y="652"/>
                  </a:lnTo>
                  <a:lnTo>
                    <a:pt x="1886" y="652"/>
                  </a:lnTo>
                  <a:lnTo>
                    <a:pt x="1886" y="652"/>
                  </a:lnTo>
                  <a:lnTo>
                    <a:pt x="1884" y="650"/>
                  </a:lnTo>
                  <a:lnTo>
                    <a:pt x="1884" y="650"/>
                  </a:lnTo>
                  <a:lnTo>
                    <a:pt x="1884" y="648"/>
                  </a:lnTo>
                  <a:lnTo>
                    <a:pt x="1882" y="646"/>
                  </a:lnTo>
                  <a:lnTo>
                    <a:pt x="1882" y="646"/>
                  </a:lnTo>
                  <a:lnTo>
                    <a:pt x="1880" y="646"/>
                  </a:lnTo>
                  <a:lnTo>
                    <a:pt x="1878" y="644"/>
                  </a:lnTo>
                  <a:lnTo>
                    <a:pt x="1876" y="644"/>
                  </a:lnTo>
                  <a:lnTo>
                    <a:pt x="1874" y="642"/>
                  </a:lnTo>
                  <a:lnTo>
                    <a:pt x="1872" y="642"/>
                  </a:lnTo>
                  <a:lnTo>
                    <a:pt x="1868" y="640"/>
                  </a:lnTo>
                  <a:lnTo>
                    <a:pt x="1864" y="640"/>
                  </a:lnTo>
                  <a:lnTo>
                    <a:pt x="1860" y="640"/>
                  </a:lnTo>
                  <a:lnTo>
                    <a:pt x="1854" y="638"/>
                  </a:lnTo>
                  <a:lnTo>
                    <a:pt x="1850" y="638"/>
                  </a:lnTo>
                  <a:lnTo>
                    <a:pt x="1846" y="638"/>
                  </a:lnTo>
                  <a:lnTo>
                    <a:pt x="1840" y="636"/>
                  </a:lnTo>
                  <a:lnTo>
                    <a:pt x="1838" y="636"/>
                  </a:lnTo>
                  <a:lnTo>
                    <a:pt x="1834" y="634"/>
                  </a:lnTo>
                  <a:lnTo>
                    <a:pt x="1832" y="634"/>
                  </a:lnTo>
                  <a:lnTo>
                    <a:pt x="1828" y="630"/>
                  </a:lnTo>
                  <a:lnTo>
                    <a:pt x="1822" y="628"/>
                  </a:lnTo>
                  <a:lnTo>
                    <a:pt x="1818" y="626"/>
                  </a:lnTo>
                  <a:lnTo>
                    <a:pt x="1812" y="624"/>
                  </a:lnTo>
                  <a:lnTo>
                    <a:pt x="1806" y="622"/>
                  </a:lnTo>
                  <a:lnTo>
                    <a:pt x="1800" y="620"/>
                  </a:lnTo>
                  <a:lnTo>
                    <a:pt x="1800" y="620"/>
                  </a:lnTo>
                  <a:lnTo>
                    <a:pt x="1792" y="620"/>
                  </a:lnTo>
                  <a:lnTo>
                    <a:pt x="1792" y="620"/>
                  </a:lnTo>
                  <a:lnTo>
                    <a:pt x="1792" y="620"/>
                  </a:lnTo>
                  <a:lnTo>
                    <a:pt x="1788" y="620"/>
                  </a:lnTo>
                  <a:lnTo>
                    <a:pt x="1784" y="620"/>
                  </a:lnTo>
                  <a:lnTo>
                    <a:pt x="1776" y="622"/>
                  </a:lnTo>
                  <a:lnTo>
                    <a:pt x="1772" y="624"/>
                  </a:lnTo>
                  <a:lnTo>
                    <a:pt x="1768" y="624"/>
                  </a:lnTo>
                  <a:lnTo>
                    <a:pt x="1764" y="626"/>
                  </a:lnTo>
                  <a:lnTo>
                    <a:pt x="1762" y="628"/>
                  </a:lnTo>
                  <a:lnTo>
                    <a:pt x="1756" y="630"/>
                  </a:lnTo>
                  <a:lnTo>
                    <a:pt x="1752" y="632"/>
                  </a:lnTo>
                  <a:lnTo>
                    <a:pt x="1752" y="632"/>
                  </a:lnTo>
                  <a:lnTo>
                    <a:pt x="1752" y="632"/>
                  </a:lnTo>
                  <a:lnTo>
                    <a:pt x="1750" y="634"/>
                  </a:lnTo>
                  <a:lnTo>
                    <a:pt x="1750" y="634"/>
                  </a:lnTo>
                  <a:lnTo>
                    <a:pt x="1748" y="634"/>
                  </a:lnTo>
                  <a:lnTo>
                    <a:pt x="1746" y="638"/>
                  </a:lnTo>
                  <a:lnTo>
                    <a:pt x="1746" y="638"/>
                  </a:lnTo>
                  <a:lnTo>
                    <a:pt x="1746" y="638"/>
                  </a:lnTo>
                  <a:lnTo>
                    <a:pt x="1746" y="642"/>
                  </a:lnTo>
                  <a:lnTo>
                    <a:pt x="1744" y="644"/>
                  </a:lnTo>
                  <a:lnTo>
                    <a:pt x="1744" y="646"/>
                  </a:lnTo>
                  <a:lnTo>
                    <a:pt x="1744" y="642"/>
                  </a:lnTo>
                  <a:lnTo>
                    <a:pt x="1744" y="638"/>
                  </a:lnTo>
                  <a:lnTo>
                    <a:pt x="1742" y="634"/>
                  </a:lnTo>
                  <a:lnTo>
                    <a:pt x="1742" y="634"/>
                  </a:lnTo>
                  <a:lnTo>
                    <a:pt x="1742" y="634"/>
                  </a:lnTo>
                  <a:lnTo>
                    <a:pt x="1742" y="632"/>
                  </a:lnTo>
                  <a:lnTo>
                    <a:pt x="1742" y="632"/>
                  </a:lnTo>
                  <a:lnTo>
                    <a:pt x="1742" y="632"/>
                  </a:lnTo>
                  <a:lnTo>
                    <a:pt x="1740" y="630"/>
                  </a:lnTo>
                  <a:lnTo>
                    <a:pt x="1738" y="630"/>
                  </a:lnTo>
                  <a:lnTo>
                    <a:pt x="1738" y="630"/>
                  </a:lnTo>
                  <a:lnTo>
                    <a:pt x="1738" y="632"/>
                  </a:lnTo>
                  <a:lnTo>
                    <a:pt x="1736" y="632"/>
                  </a:lnTo>
                  <a:lnTo>
                    <a:pt x="1736" y="632"/>
                  </a:lnTo>
                  <a:lnTo>
                    <a:pt x="1736" y="632"/>
                  </a:lnTo>
                  <a:lnTo>
                    <a:pt x="1734" y="634"/>
                  </a:lnTo>
                  <a:lnTo>
                    <a:pt x="1734" y="634"/>
                  </a:lnTo>
                  <a:lnTo>
                    <a:pt x="1734" y="634"/>
                  </a:lnTo>
                  <a:lnTo>
                    <a:pt x="1734" y="636"/>
                  </a:lnTo>
                  <a:lnTo>
                    <a:pt x="1732" y="640"/>
                  </a:lnTo>
                  <a:lnTo>
                    <a:pt x="1730" y="642"/>
                  </a:lnTo>
                  <a:lnTo>
                    <a:pt x="1730" y="646"/>
                  </a:lnTo>
                  <a:lnTo>
                    <a:pt x="1728" y="648"/>
                  </a:lnTo>
                  <a:lnTo>
                    <a:pt x="1728" y="648"/>
                  </a:lnTo>
                  <a:lnTo>
                    <a:pt x="1728" y="650"/>
                  </a:lnTo>
                  <a:lnTo>
                    <a:pt x="1728" y="650"/>
                  </a:lnTo>
                  <a:lnTo>
                    <a:pt x="1728" y="650"/>
                  </a:lnTo>
                  <a:lnTo>
                    <a:pt x="1728" y="652"/>
                  </a:lnTo>
                  <a:lnTo>
                    <a:pt x="1728" y="654"/>
                  </a:lnTo>
                  <a:lnTo>
                    <a:pt x="1728" y="654"/>
                  </a:lnTo>
                  <a:lnTo>
                    <a:pt x="1730" y="654"/>
                  </a:lnTo>
                  <a:lnTo>
                    <a:pt x="1730" y="656"/>
                  </a:lnTo>
                  <a:lnTo>
                    <a:pt x="1730" y="656"/>
                  </a:lnTo>
                  <a:lnTo>
                    <a:pt x="1732" y="656"/>
                  </a:lnTo>
                  <a:lnTo>
                    <a:pt x="1734" y="656"/>
                  </a:lnTo>
                  <a:lnTo>
                    <a:pt x="1734" y="658"/>
                  </a:lnTo>
                  <a:lnTo>
                    <a:pt x="1738" y="658"/>
                  </a:lnTo>
                  <a:lnTo>
                    <a:pt x="1738" y="658"/>
                  </a:lnTo>
                  <a:lnTo>
                    <a:pt x="1738" y="660"/>
                  </a:lnTo>
                  <a:lnTo>
                    <a:pt x="1740" y="660"/>
                  </a:lnTo>
                  <a:lnTo>
                    <a:pt x="1740" y="662"/>
                  </a:lnTo>
                  <a:lnTo>
                    <a:pt x="1740" y="664"/>
                  </a:lnTo>
                  <a:lnTo>
                    <a:pt x="1740" y="668"/>
                  </a:lnTo>
                  <a:lnTo>
                    <a:pt x="1740" y="672"/>
                  </a:lnTo>
                  <a:lnTo>
                    <a:pt x="1742" y="674"/>
                  </a:lnTo>
                  <a:lnTo>
                    <a:pt x="1740" y="678"/>
                  </a:lnTo>
                  <a:lnTo>
                    <a:pt x="1740" y="680"/>
                  </a:lnTo>
                  <a:lnTo>
                    <a:pt x="1740" y="680"/>
                  </a:lnTo>
                  <a:lnTo>
                    <a:pt x="1738" y="680"/>
                  </a:lnTo>
                  <a:lnTo>
                    <a:pt x="1736" y="680"/>
                  </a:lnTo>
                  <a:lnTo>
                    <a:pt x="1734" y="680"/>
                  </a:lnTo>
                  <a:lnTo>
                    <a:pt x="1728" y="678"/>
                  </a:lnTo>
                  <a:lnTo>
                    <a:pt x="1724" y="676"/>
                  </a:lnTo>
                  <a:lnTo>
                    <a:pt x="1722" y="676"/>
                  </a:lnTo>
                  <a:lnTo>
                    <a:pt x="1722" y="676"/>
                  </a:lnTo>
                  <a:lnTo>
                    <a:pt x="1722" y="676"/>
                  </a:lnTo>
                  <a:lnTo>
                    <a:pt x="1720" y="676"/>
                  </a:lnTo>
                  <a:lnTo>
                    <a:pt x="1720" y="676"/>
                  </a:lnTo>
                  <a:lnTo>
                    <a:pt x="1718" y="678"/>
                  </a:lnTo>
                  <a:lnTo>
                    <a:pt x="1718" y="678"/>
                  </a:lnTo>
                  <a:lnTo>
                    <a:pt x="1716" y="678"/>
                  </a:lnTo>
                  <a:lnTo>
                    <a:pt x="1714" y="678"/>
                  </a:lnTo>
                  <a:lnTo>
                    <a:pt x="1710" y="678"/>
                  </a:lnTo>
                  <a:lnTo>
                    <a:pt x="1706" y="678"/>
                  </a:lnTo>
                  <a:lnTo>
                    <a:pt x="1702" y="678"/>
                  </a:lnTo>
                  <a:lnTo>
                    <a:pt x="1698" y="678"/>
                  </a:lnTo>
                  <a:lnTo>
                    <a:pt x="1688" y="678"/>
                  </a:lnTo>
                  <a:lnTo>
                    <a:pt x="1684" y="678"/>
                  </a:lnTo>
                  <a:lnTo>
                    <a:pt x="1682" y="678"/>
                  </a:lnTo>
                  <a:lnTo>
                    <a:pt x="1678" y="678"/>
                  </a:lnTo>
                  <a:lnTo>
                    <a:pt x="1678" y="678"/>
                  </a:lnTo>
                  <a:lnTo>
                    <a:pt x="1678" y="678"/>
                  </a:lnTo>
                  <a:lnTo>
                    <a:pt x="1676" y="680"/>
                  </a:lnTo>
                  <a:lnTo>
                    <a:pt x="1676" y="680"/>
                  </a:lnTo>
                  <a:lnTo>
                    <a:pt x="1676" y="680"/>
                  </a:lnTo>
                  <a:lnTo>
                    <a:pt x="1676" y="680"/>
                  </a:lnTo>
                  <a:lnTo>
                    <a:pt x="1676" y="680"/>
                  </a:lnTo>
                  <a:lnTo>
                    <a:pt x="1674" y="680"/>
                  </a:lnTo>
                  <a:lnTo>
                    <a:pt x="1674" y="682"/>
                  </a:lnTo>
                  <a:lnTo>
                    <a:pt x="1672" y="682"/>
                  </a:lnTo>
                  <a:lnTo>
                    <a:pt x="1672" y="684"/>
                  </a:lnTo>
                  <a:lnTo>
                    <a:pt x="1672" y="684"/>
                  </a:lnTo>
                  <a:lnTo>
                    <a:pt x="1670" y="684"/>
                  </a:lnTo>
                  <a:lnTo>
                    <a:pt x="1668" y="684"/>
                  </a:lnTo>
                  <a:lnTo>
                    <a:pt x="1664" y="686"/>
                  </a:lnTo>
                  <a:lnTo>
                    <a:pt x="1658" y="686"/>
                  </a:lnTo>
                  <a:lnTo>
                    <a:pt x="1658" y="686"/>
                  </a:lnTo>
                  <a:lnTo>
                    <a:pt x="1658" y="686"/>
                  </a:lnTo>
                  <a:lnTo>
                    <a:pt x="1656" y="686"/>
                  </a:lnTo>
                  <a:lnTo>
                    <a:pt x="1654" y="684"/>
                  </a:lnTo>
                  <a:lnTo>
                    <a:pt x="1652" y="682"/>
                  </a:lnTo>
                  <a:lnTo>
                    <a:pt x="1652" y="682"/>
                  </a:lnTo>
                  <a:lnTo>
                    <a:pt x="1650" y="678"/>
                  </a:lnTo>
                  <a:lnTo>
                    <a:pt x="1650" y="676"/>
                  </a:lnTo>
                  <a:lnTo>
                    <a:pt x="1648" y="674"/>
                  </a:lnTo>
                  <a:lnTo>
                    <a:pt x="1648" y="672"/>
                  </a:lnTo>
                  <a:lnTo>
                    <a:pt x="1648" y="666"/>
                  </a:lnTo>
                  <a:lnTo>
                    <a:pt x="1648" y="664"/>
                  </a:lnTo>
                  <a:lnTo>
                    <a:pt x="1648" y="662"/>
                  </a:lnTo>
                  <a:lnTo>
                    <a:pt x="1648" y="662"/>
                  </a:lnTo>
                  <a:lnTo>
                    <a:pt x="1648" y="660"/>
                  </a:lnTo>
                  <a:lnTo>
                    <a:pt x="1648" y="660"/>
                  </a:lnTo>
                  <a:lnTo>
                    <a:pt x="1646" y="660"/>
                  </a:lnTo>
                  <a:lnTo>
                    <a:pt x="1646" y="658"/>
                  </a:lnTo>
                  <a:lnTo>
                    <a:pt x="1646" y="658"/>
                  </a:lnTo>
                  <a:lnTo>
                    <a:pt x="1644" y="658"/>
                  </a:lnTo>
                  <a:lnTo>
                    <a:pt x="1642" y="658"/>
                  </a:lnTo>
                  <a:lnTo>
                    <a:pt x="1642" y="658"/>
                  </a:lnTo>
                  <a:lnTo>
                    <a:pt x="1642" y="658"/>
                  </a:lnTo>
                  <a:lnTo>
                    <a:pt x="1640" y="658"/>
                  </a:lnTo>
                  <a:lnTo>
                    <a:pt x="1640" y="658"/>
                  </a:lnTo>
                  <a:lnTo>
                    <a:pt x="1640" y="658"/>
                  </a:lnTo>
                  <a:lnTo>
                    <a:pt x="1638" y="660"/>
                  </a:lnTo>
                  <a:lnTo>
                    <a:pt x="1636" y="662"/>
                  </a:lnTo>
                  <a:lnTo>
                    <a:pt x="1634" y="666"/>
                  </a:lnTo>
                  <a:lnTo>
                    <a:pt x="1632" y="670"/>
                  </a:lnTo>
                  <a:lnTo>
                    <a:pt x="1632" y="670"/>
                  </a:lnTo>
                  <a:lnTo>
                    <a:pt x="1632" y="672"/>
                  </a:lnTo>
                  <a:lnTo>
                    <a:pt x="1630" y="674"/>
                  </a:lnTo>
                  <a:lnTo>
                    <a:pt x="1630" y="674"/>
                  </a:lnTo>
                  <a:lnTo>
                    <a:pt x="1630" y="676"/>
                  </a:lnTo>
                  <a:lnTo>
                    <a:pt x="1630" y="678"/>
                  </a:lnTo>
                  <a:lnTo>
                    <a:pt x="1630" y="682"/>
                  </a:lnTo>
                  <a:lnTo>
                    <a:pt x="1630" y="684"/>
                  </a:lnTo>
                  <a:lnTo>
                    <a:pt x="1630" y="688"/>
                  </a:lnTo>
                  <a:lnTo>
                    <a:pt x="1628" y="690"/>
                  </a:lnTo>
                  <a:lnTo>
                    <a:pt x="1626" y="694"/>
                  </a:lnTo>
                  <a:lnTo>
                    <a:pt x="1626" y="698"/>
                  </a:lnTo>
                  <a:lnTo>
                    <a:pt x="1624" y="704"/>
                  </a:lnTo>
                  <a:lnTo>
                    <a:pt x="1622" y="708"/>
                  </a:lnTo>
                  <a:lnTo>
                    <a:pt x="1620" y="710"/>
                  </a:lnTo>
                  <a:lnTo>
                    <a:pt x="1618" y="714"/>
                  </a:lnTo>
                  <a:lnTo>
                    <a:pt x="1618" y="716"/>
                  </a:lnTo>
                  <a:lnTo>
                    <a:pt x="1616" y="716"/>
                  </a:lnTo>
                  <a:lnTo>
                    <a:pt x="1616" y="716"/>
                  </a:lnTo>
                  <a:lnTo>
                    <a:pt x="1616" y="714"/>
                  </a:lnTo>
                  <a:lnTo>
                    <a:pt x="1614" y="712"/>
                  </a:lnTo>
                  <a:lnTo>
                    <a:pt x="1612" y="710"/>
                  </a:lnTo>
                  <a:lnTo>
                    <a:pt x="1610" y="708"/>
                  </a:lnTo>
                  <a:lnTo>
                    <a:pt x="1608" y="706"/>
                  </a:lnTo>
                  <a:lnTo>
                    <a:pt x="1606" y="702"/>
                  </a:lnTo>
                  <a:lnTo>
                    <a:pt x="1602" y="698"/>
                  </a:lnTo>
                  <a:lnTo>
                    <a:pt x="1598" y="692"/>
                  </a:lnTo>
                  <a:lnTo>
                    <a:pt x="1596" y="688"/>
                  </a:lnTo>
                  <a:lnTo>
                    <a:pt x="1594" y="684"/>
                  </a:lnTo>
                  <a:lnTo>
                    <a:pt x="1592" y="682"/>
                  </a:lnTo>
                  <a:lnTo>
                    <a:pt x="1592" y="678"/>
                  </a:lnTo>
                  <a:lnTo>
                    <a:pt x="1590" y="672"/>
                  </a:lnTo>
                  <a:lnTo>
                    <a:pt x="1590" y="664"/>
                  </a:lnTo>
                  <a:lnTo>
                    <a:pt x="1590" y="660"/>
                  </a:lnTo>
                  <a:lnTo>
                    <a:pt x="1590" y="658"/>
                  </a:lnTo>
                  <a:lnTo>
                    <a:pt x="1590" y="656"/>
                  </a:lnTo>
                  <a:lnTo>
                    <a:pt x="1590" y="656"/>
                  </a:lnTo>
                  <a:lnTo>
                    <a:pt x="1592" y="652"/>
                  </a:lnTo>
                  <a:lnTo>
                    <a:pt x="1594" y="648"/>
                  </a:lnTo>
                  <a:lnTo>
                    <a:pt x="1594" y="648"/>
                  </a:lnTo>
                  <a:lnTo>
                    <a:pt x="1594" y="646"/>
                  </a:lnTo>
                  <a:lnTo>
                    <a:pt x="1596" y="642"/>
                  </a:lnTo>
                  <a:lnTo>
                    <a:pt x="1596" y="642"/>
                  </a:lnTo>
                  <a:lnTo>
                    <a:pt x="1596" y="642"/>
                  </a:lnTo>
                  <a:lnTo>
                    <a:pt x="1596" y="636"/>
                  </a:lnTo>
                  <a:lnTo>
                    <a:pt x="1596" y="630"/>
                  </a:lnTo>
                  <a:lnTo>
                    <a:pt x="1596" y="622"/>
                  </a:lnTo>
                  <a:lnTo>
                    <a:pt x="1596" y="616"/>
                  </a:lnTo>
                  <a:lnTo>
                    <a:pt x="1596" y="616"/>
                  </a:lnTo>
                  <a:lnTo>
                    <a:pt x="1596" y="616"/>
                  </a:lnTo>
                  <a:lnTo>
                    <a:pt x="1594" y="610"/>
                  </a:lnTo>
                  <a:lnTo>
                    <a:pt x="1594" y="610"/>
                  </a:lnTo>
                  <a:lnTo>
                    <a:pt x="1594" y="610"/>
                  </a:lnTo>
                  <a:lnTo>
                    <a:pt x="1590" y="604"/>
                  </a:lnTo>
                  <a:lnTo>
                    <a:pt x="1586" y="598"/>
                  </a:lnTo>
                  <a:lnTo>
                    <a:pt x="1582" y="594"/>
                  </a:lnTo>
                  <a:lnTo>
                    <a:pt x="1582" y="594"/>
                  </a:lnTo>
                  <a:lnTo>
                    <a:pt x="1580" y="594"/>
                  </a:lnTo>
                  <a:lnTo>
                    <a:pt x="1578" y="592"/>
                  </a:lnTo>
                  <a:lnTo>
                    <a:pt x="1578" y="592"/>
                  </a:lnTo>
                  <a:lnTo>
                    <a:pt x="1578" y="592"/>
                  </a:lnTo>
                  <a:lnTo>
                    <a:pt x="1576" y="590"/>
                  </a:lnTo>
                  <a:lnTo>
                    <a:pt x="1576" y="590"/>
                  </a:lnTo>
                  <a:lnTo>
                    <a:pt x="1574" y="590"/>
                  </a:lnTo>
                  <a:lnTo>
                    <a:pt x="1568" y="590"/>
                  </a:lnTo>
                  <a:lnTo>
                    <a:pt x="1562" y="588"/>
                  </a:lnTo>
                  <a:lnTo>
                    <a:pt x="1556" y="588"/>
                  </a:lnTo>
                  <a:lnTo>
                    <a:pt x="1552" y="586"/>
                  </a:lnTo>
                  <a:lnTo>
                    <a:pt x="1548" y="584"/>
                  </a:lnTo>
                  <a:lnTo>
                    <a:pt x="1544" y="584"/>
                  </a:lnTo>
                  <a:lnTo>
                    <a:pt x="1540" y="582"/>
                  </a:lnTo>
                  <a:lnTo>
                    <a:pt x="1540" y="582"/>
                  </a:lnTo>
                  <a:lnTo>
                    <a:pt x="1538" y="580"/>
                  </a:lnTo>
                  <a:lnTo>
                    <a:pt x="1538" y="580"/>
                  </a:lnTo>
                  <a:lnTo>
                    <a:pt x="1538" y="580"/>
                  </a:lnTo>
                  <a:lnTo>
                    <a:pt x="1534" y="576"/>
                  </a:lnTo>
                  <a:lnTo>
                    <a:pt x="1532" y="574"/>
                  </a:lnTo>
                  <a:lnTo>
                    <a:pt x="1532" y="572"/>
                  </a:lnTo>
                  <a:lnTo>
                    <a:pt x="1532" y="572"/>
                  </a:lnTo>
                  <a:lnTo>
                    <a:pt x="1530" y="572"/>
                  </a:lnTo>
                  <a:lnTo>
                    <a:pt x="1530" y="570"/>
                  </a:lnTo>
                  <a:lnTo>
                    <a:pt x="1530" y="570"/>
                  </a:lnTo>
                  <a:lnTo>
                    <a:pt x="1528" y="570"/>
                  </a:lnTo>
                  <a:lnTo>
                    <a:pt x="1526" y="570"/>
                  </a:lnTo>
                  <a:lnTo>
                    <a:pt x="1526" y="570"/>
                  </a:lnTo>
                  <a:lnTo>
                    <a:pt x="1526" y="570"/>
                  </a:lnTo>
                  <a:lnTo>
                    <a:pt x="1522" y="570"/>
                  </a:lnTo>
                  <a:lnTo>
                    <a:pt x="1522" y="570"/>
                  </a:lnTo>
                  <a:lnTo>
                    <a:pt x="1522" y="570"/>
                  </a:lnTo>
                  <a:lnTo>
                    <a:pt x="1516" y="570"/>
                  </a:lnTo>
                  <a:lnTo>
                    <a:pt x="1512" y="572"/>
                  </a:lnTo>
                  <a:lnTo>
                    <a:pt x="1512" y="572"/>
                  </a:lnTo>
                  <a:lnTo>
                    <a:pt x="1510" y="572"/>
                  </a:lnTo>
                  <a:lnTo>
                    <a:pt x="1510" y="572"/>
                  </a:lnTo>
                  <a:lnTo>
                    <a:pt x="1510" y="574"/>
                  </a:lnTo>
                  <a:lnTo>
                    <a:pt x="1508" y="576"/>
                  </a:lnTo>
                  <a:lnTo>
                    <a:pt x="1508" y="576"/>
                  </a:lnTo>
                  <a:lnTo>
                    <a:pt x="1506" y="576"/>
                  </a:lnTo>
                  <a:lnTo>
                    <a:pt x="1506" y="578"/>
                  </a:lnTo>
                  <a:lnTo>
                    <a:pt x="1506" y="578"/>
                  </a:lnTo>
                  <a:lnTo>
                    <a:pt x="1504" y="578"/>
                  </a:lnTo>
                  <a:lnTo>
                    <a:pt x="1504" y="582"/>
                  </a:lnTo>
                  <a:lnTo>
                    <a:pt x="1504" y="582"/>
                  </a:lnTo>
                  <a:lnTo>
                    <a:pt x="1504" y="582"/>
                  </a:lnTo>
                  <a:lnTo>
                    <a:pt x="1504" y="586"/>
                  </a:lnTo>
                  <a:lnTo>
                    <a:pt x="1504" y="586"/>
                  </a:lnTo>
                  <a:lnTo>
                    <a:pt x="1504" y="586"/>
                  </a:lnTo>
                  <a:lnTo>
                    <a:pt x="1504" y="588"/>
                  </a:lnTo>
                  <a:lnTo>
                    <a:pt x="1504" y="588"/>
                  </a:lnTo>
                  <a:lnTo>
                    <a:pt x="1504" y="590"/>
                  </a:lnTo>
                  <a:lnTo>
                    <a:pt x="1504" y="592"/>
                  </a:lnTo>
                  <a:lnTo>
                    <a:pt x="1506" y="594"/>
                  </a:lnTo>
                  <a:lnTo>
                    <a:pt x="1508" y="596"/>
                  </a:lnTo>
                  <a:lnTo>
                    <a:pt x="1510" y="598"/>
                  </a:lnTo>
                  <a:lnTo>
                    <a:pt x="1510" y="600"/>
                  </a:lnTo>
                  <a:lnTo>
                    <a:pt x="1510" y="602"/>
                  </a:lnTo>
                  <a:lnTo>
                    <a:pt x="1512" y="604"/>
                  </a:lnTo>
                  <a:lnTo>
                    <a:pt x="1512" y="604"/>
                  </a:lnTo>
                  <a:lnTo>
                    <a:pt x="1510" y="606"/>
                  </a:lnTo>
                  <a:lnTo>
                    <a:pt x="1508" y="608"/>
                  </a:lnTo>
                  <a:lnTo>
                    <a:pt x="1506" y="610"/>
                  </a:lnTo>
                  <a:lnTo>
                    <a:pt x="1506" y="610"/>
                  </a:lnTo>
                  <a:lnTo>
                    <a:pt x="1504" y="610"/>
                  </a:lnTo>
                  <a:lnTo>
                    <a:pt x="1504" y="610"/>
                  </a:lnTo>
                  <a:lnTo>
                    <a:pt x="1504" y="608"/>
                  </a:lnTo>
                  <a:lnTo>
                    <a:pt x="1502" y="606"/>
                  </a:lnTo>
                  <a:lnTo>
                    <a:pt x="1502" y="606"/>
                  </a:lnTo>
                  <a:lnTo>
                    <a:pt x="1500" y="606"/>
                  </a:lnTo>
                  <a:lnTo>
                    <a:pt x="1500" y="606"/>
                  </a:lnTo>
                  <a:lnTo>
                    <a:pt x="1500" y="606"/>
                  </a:lnTo>
                  <a:lnTo>
                    <a:pt x="1498" y="606"/>
                  </a:lnTo>
                  <a:lnTo>
                    <a:pt x="1498" y="604"/>
                  </a:lnTo>
                  <a:lnTo>
                    <a:pt x="1496" y="604"/>
                  </a:lnTo>
                  <a:lnTo>
                    <a:pt x="1494" y="604"/>
                  </a:lnTo>
                  <a:lnTo>
                    <a:pt x="1492" y="606"/>
                  </a:lnTo>
                  <a:lnTo>
                    <a:pt x="1486" y="606"/>
                  </a:lnTo>
                  <a:lnTo>
                    <a:pt x="1482" y="608"/>
                  </a:lnTo>
                  <a:lnTo>
                    <a:pt x="1476" y="610"/>
                  </a:lnTo>
                  <a:lnTo>
                    <a:pt x="1472" y="610"/>
                  </a:lnTo>
                  <a:lnTo>
                    <a:pt x="1468" y="610"/>
                  </a:lnTo>
                  <a:lnTo>
                    <a:pt x="1462" y="610"/>
                  </a:lnTo>
                  <a:lnTo>
                    <a:pt x="1464" y="610"/>
                  </a:lnTo>
                  <a:lnTo>
                    <a:pt x="1462" y="610"/>
                  </a:lnTo>
                  <a:lnTo>
                    <a:pt x="1462" y="610"/>
                  </a:lnTo>
                  <a:lnTo>
                    <a:pt x="1462" y="610"/>
                  </a:lnTo>
                  <a:lnTo>
                    <a:pt x="1460" y="608"/>
                  </a:lnTo>
                  <a:lnTo>
                    <a:pt x="1460" y="606"/>
                  </a:lnTo>
                  <a:lnTo>
                    <a:pt x="1460" y="604"/>
                  </a:lnTo>
                  <a:lnTo>
                    <a:pt x="1460" y="602"/>
                  </a:lnTo>
                  <a:lnTo>
                    <a:pt x="1460" y="602"/>
                  </a:lnTo>
                  <a:lnTo>
                    <a:pt x="1460" y="602"/>
                  </a:lnTo>
                  <a:lnTo>
                    <a:pt x="1458" y="600"/>
                  </a:lnTo>
                  <a:lnTo>
                    <a:pt x="1458" y="600"/>
                  </a:lnTo>
                  <a:lnTo>
                    <a:pt x="1458" y="600"/>
                  </a:lnTo>
                  <a:lnTo>
                    <a:pt x="1458" y="600"/>
                  </a:lnTo>
                  <a:lnTo>
                    <a:pt x="1458" y="600"/>
                  </a:lnTo>
                  <a:lnTo>
                    <a:pt x="1454" y="600"/>
                  </a:lnTo>
                  <a:lnTo>
                    <a:pt x="1454" y="600"/>
                  </a:lnTo>
                  <a:lnTo>
                    <a:pt x="1454" y="600"/>
                  </a:lnTo>
                  <a:lnTo>
                    <a:pt x="1452" y="600"/>
                  </a:lnTo>
                  <a:lnTo>
                    <a:pt x="1452" y="600"/>
                  </a:lnTo>
                  <a:lnTo>
                    <a:pt x="1452" y="600"/>
                  </a:lnTo>
                  <a:lnTo>
                    <a:pt x="1452" y="600"/>
                  </a:lnTo>
                  <a:lnTo>
                    <a:pt x="1450" y="602"/>
                  </a:lnTo>
                  <a:lnTo>
                    <a:pt x="1450" y="604"/>
                  </a:lnTo>
                  <a:lnTo>
                    <a:pt x="1448" y="606"/>
                  </a:lnTo>
                  <a:lnTo>
                    <a:pt x="1448" y="606"/>
                  </a:lnTo>
                  <a:lnTo>
                    <a:pt x="1448" y="606"/>
                  </a:lnTo>
                  <a:lnTo>
                    <a:pt x="1446" y="606"/>
                  </a:lnTo>
                  <a:lnTo>
                    <a:pt x="1446" y="606"/>
                  </a:lnTo>
                  <a:lnTo>
                    <a:pt x="1444" y="604"/>
                  </a:lnTo>
                  <a:lnTo>
                    <a:pt x="1442" y="602"/>
                  </a:lnTo>
                  <a:lnTo>
                    <a:pt x="1442" y="600"/>
                  </a:lnTo>
                  <a:lnTo>
                    <a:pt x="1442" y="600"/>
                  </a:lnTo>
                  <a:lnTo>
                    <a:pt x="1442" y="598"/>
                  </a:lnTo>
                  <a:lnTo>
                    <a:pt x="1444" y="592"/>
                  </a:lnTo>
                  <a:lnTo>
                    <a:pt x="1444" y="590"/>
                  </a:lnTo>
                  <a:lnTo>
                    <a:pt x="1444" y="590"/>
                  </a:lnTo>
                  <a:lnTo>
                    <a:pt x="1446" y="590"/>
                  </a:lnTo>
                  <a:lnTo>
                    <a:pt x="1446" y="588"/>
                  </a:lnTo>
                  <a:lnTo>
                    <a:pt x="1446" y="588"/>
                  </a:lnTo>
                  <a:lnTo>
                    <a:pt x="1446" y="586"/>
                  </a:lnTo>
                  <a:lnTo>
                    <a:pt x="1446" y="584"/>
                  </a:lnTo>
                  <a:lnTo>
                    <a:pt x="1446" y="584"/>
                  </a:lnTo>
                  <a:lnTo>
                    <a:pt x="1444" y="584"/>
                  </a:lnTo>
                  <a:lnTo>
                    <a:pt x="1444" y="582"/>
                  </a:lnTo>
                  <a:lnTo>
                    <a:pt x="1444" y="582"/>
                  </a:lnTo>
                  <a:lnTo>
                    <a:pt x="1442" y="580"/>
                  </a:lnTo>
                  <a:lnTo>
                    <a:pt x="1440" y="580"/>
                  </a:lnTo>
                  <a:lnTo>
                    <a:pt x="1440" y="580"/>
                  </a:lnTo>
                  <a:lnTo>
                    <a:pt x="1440" y="580"/>
                  </a:lnTo>
                  <a:lnTo>
                    <a:pt x="1436" y="578"/>
                  </a:lnTo>
                  <a:lnTo>
                    <a:pt x="1432" y="578"/>
                  </a:lnTo>
                  <a:lnTo>
                    <a:pt x="1428" y="576"/>
                  </a:lnTo>
                  <a:lnTo>
                    <a:pt x="1420" y="576"/>
                  </a:lnTo>
                  <a:lnTo>
                    <a:pt x="1416" y="576"/>
                  </a:lnTo>
                  <a:lnTo>
                    <a:pt x="1412" y="576"/>
                  </a:lnTo>
                  <a:lnTo>
                    <a:pt x="1398" y="574"/>
                  </a:lnTo>
                  <a:lnTo>
                    <a:pt x="1386" y="576"/>
                  </a:lnTo>
                  <a:lnTo>
                    <a:pt x="1384" y="576"/>
                  </a:lnTo>
                  <a:lnTo>
                    <a:pt x="1380" y="576"/>
                  </a:lnTo>
                  <a:lnTo>
                    <a:pt x="1372" y="576"/>
                  </a:lnTo>
                  <a:lnTo>
                    <a:pt x="1370" y="576"/>
                  </a:lnTo>
                  <a:lnTo>
                    <a:pt x="1366" y="576"/>
                  </a:lnTo>
                  <a:lnTo>
                    <a:pt x="1366" y="576"/>
                  </a:lnTo>
                  <a:lnTo>
                    <a:pt x="1366" y="576"/>
                  </a:lnTo>
                  <a:lnTo>
                    <a:pt x="1364" y="578"/>
                  </a:lnTo>
                  <a:lnTo>
                    <a:pt x="1364" y="578"/>
                  </a:lnTo>
                  <a:lnTo>
                    <a:pt x="1362" y="578"/>
                  </a:lnTo>
                  <a:lnTo>
                    <a:pt x="1362" y="578"/>
                  </a:lnTo>
                  <a:lnTo>
                    <a:pt x="1362" y="574"/>
                  </a:lnTo>
                  <a:lnTo>
                    <a:pt x="1360" y="572"/>
                  </a:lnTo>
                  <a:lnTo>
                    <a:pt x="1360" y="572"/>
                  </a:lnTo>
                  <a:lnTo>
                    <a:pt x="1360" y="570"/>
                  </a:lnTo>
                  <a:lnTo>
                    <a:pt x="1358" y="568"/>
                  </a:lnTo>
                  <a:lnTo>
                    <a:pt x="1358" y="568"/>
                  </a:lnTo>
                  <a:lnTo>
                    <a:pt x="1358" y="568"/>
                  </a:lnTo>
                  <a:lnTo>
                    <a:pt x="1358" y="566"/>
                  </a:lnTo>
                  <a:lnTo>
                    <a:pt x="1358" y="566"/>
                  </a:lnTo>
                  <a:lnTo>
                    <a:pt x="1358" y="566"/>
                  </a:lnTo>
                  <a:lnTo>
                    <a:pt x="1356" y="564"/>
                  </a:lnTo>
                  <a:lnTo>
                    <a:pt x="1356" y="564"/>
                  </a:lnTo>
                  <a:lnTo>
                    <a:pt x="1356" y="564"/>
                  </a:lnTo>
                  <a:lnTo>
                    <a:pt x="1356" y="560"/>
                  </a:lnTo>
                  <a:lnTo>
                    <a:pt x="1356" y="560"/>
                  </a:lnTo>
                  <a:lnTo>
                    <a:pt x="1356" y="560"/>
                  </a:lnTo>
                  <a:lnTo>
                    <a:pt x="1356" y="560"/>
                  </a:lnTo>
                  <a:lnTo>
                    <a:pt x="1358" y="558"/>
                  </a:lnTo>
                  <a:lnTo>
                    <a:pt x="1358" y="558"/>
                  </a:lnTo>
                  <a:lnTo>
                    <a:pt x="1360" y="558"/>
                  </a:lnTo>
                  <a:lnTo>
                    <a:pt x="1360" y="558"/>
                  </a:lnTo>
                  <a:lnTo>
                    <a:pt x="1360" y="558"/>
                  </a:lnTo>
                  <a:lnTo>
                    <a:pt x="1362" y="556"/>
                  </a:lnTo>
                  <a:lnTo>
                    <a:pt x="1362" y="556"/>
                  </a:lnTo>
                  <a:lnTo>
                    <a:pt x="1362" y="556"/>
                  </a:lnTo>
                  <a:lnTo>
                    <a:pt x="1362" y="554"/>
                  </a:lnTo>
                  <a:lnTo>
                    <a:pt x="1362" y="552"/>
                  </a:lnTo>
                  <a:lnTo>
                    <a:pt x="1362" y="548"/>
                  </a:lnTo>
                  <a:lnTo>
                    <a:pt x="1360" y="546"/>
                  </a:lnTo>
                  <a:lnTo>
                    <a:pt x="1360" y="542"/>
                  </a:lnTo>
                  <a:lnTo>
                    <a:pt x="1358" y="540"/>
                  </a:lnTo>
                  <a:lnTo>
                    <a:pt x="1356" y="536"/>
                  </a:lnTo>
                  <a:lnTo>
                    <a:pt x="1356" y="534"/>
                  </a:lnTo>
                  <a:lnTo>
                    <a:pt x="1356" y="534"/>
                  </a:lnTo>
                  <a:lnTo>
                    <a:pt x="1354" y="534"/>
                  </a:lnTo>
                  <a:lnTo>
                    <a:pt x="1354" y="532"/>
                  </a:lnTo>
                  <a:lnTo>
                    <a:pt x="1354" y="532"/>
                  </a:lnTo>
                  <a:lnTo>
                    <a:pt x="1352" y="532"/>
                  </a:lnTo>
                  <a:lnTo>
                    <a:pt x="1352" y="530"/>
                  </a:lnTo>
                  <a:lnTo>
                    <a:pt x="1352" y="530"/>
                  </a:lnTo>
                  <a:lnTo>
                    <a:pt x="1350" y="530"/>
                  </a:lnTo>
                  <a:lnTo>
                    <a:pt x="1348" y="530"/>
                  </a:lnTo>
                  <a:lnTo>
                    <a:pt x="1348" y="530"/>
                  </a:lnTo>
                  <a:lnTo>
                    <a:pt x="1348" y="530"/>
                  </a:lnTo>
                  <a:lnTo>
                    <a:pt x="1344" y="530"/>
                  </a:lnTo>
                  <a:lnTo>
                    <a:pt x="1342" y="530"/>
                  </a:lnTo>
                  <a:lnTo>
                    <a:pt x="1340" y="530"/>
                  </a:lnTo>
                  <a:lnTo>
                    <a:pt x="1340" y="530"/>
                  </a:lnTo>
                  <a:lnTo>
                    <a:pt x="1340" y="530"/>
                  </a:lnTo>
                  <a:lnTo>
                    <a:pt x="1338" y="530"/>
                  </a:lnTo>
                  <a:lnTo>
                    <a:pt x="1338" y="530"/>
                  </a:lnTo>
                  <a:lnTo>
                    <a:pt x="1338" y="530"/>
                  </a:lnTo>
                  <a:lnTo>
                    <a:pt x="1336" y="532"/>
                  </a:lnTo>
                  <a:lnTo>
                    <a:pt x="1336" y="532"/>
                  </a:lnTo>
                  <a:lnTo>
                    <a:pt x="1336" y="532"/>
                  </a:lnTo>
                  <a:lnTo>
                    <a:pt x="1334" y="532"/>
                  </a:lnTo>
                  <a:lnTo>
                    <a:pt x="1334" y="532"/>
                  </a:lnTo>
                  <a:lnTo>
                    <a:pt x="1334" y="534"/>
                  </a:lnTo>
                  <a:lnTo>
                    <a:pt x="1334" y="534"/>
                  </a:lnTo>
                  <a:lnTo>
                    <a:pt x="1334" y="534"/>
                  </a:lnTo>
                  <a:lnTo>
                    <a:pt x="1334" y="536"/>
                  </a:lnTo>
                  <a:lnTo>
                    <a:pt x="1334" y="538"/>
                  </a:lnTo>
                  <a:lnTo>
                    <a:pt x="1334" y="538"/>
                  </a:lnTo>
                  <a:lnTo>
                    <a:pt x="1334" y="542"/>
                  </a:lnTo>
                  <a:lnTo>
                    <a:pt x="1334" y="544"/>
                  </a:lnTo>
                  <a:lnTo>
                    <a:pt x="1334" y="548"/>
                  </a:lnTo>
                  <a:lnTo>
                    <a:pt x="1334" y="548"/>
                  </a:lnTo>
                  <a:lnTo>
                    <a:pt x="1336" y="548"/>
                  </a:lnTo>
                  <a:lnTo>
                    <a:pt x="1336" y="550"/>
                  </a:lnTo>
                  <a:lnTo>
                    <a:pt x="1338" y="552"/>
                  </a:lnTo>
                  <a:lnTo>
                    <a:pt x="1338" y="552"/>
                  </a:lnTo>
                  <a:lnTo>
                    <a:pt x="1338" y="554"/>
                  </a:lnTo>
                  <a:lnTo>
                    <a:pt x="1340" y="554"/>
                  </a:lnTo>
                  <a:lnTo>
                    <a:pt x="1340" y="554"/>
                  </a:lnTo>
                  <a:lnTo>
                    <a:pt x="1340" y="554"/>
                  </a:lnTo>
                  <a:lnTo>
                    <a:pt x="1342" y="556"/>
                  </a:lnTo>
                  <a:lnTo>
                    <a:pt x="1346" y="558"/>
                  </a:lnTo>
                  <a:lnTo>
                    <a:pt x="1346" y="558"/>
                  </a:lnTo>
                  <a:lnTo>
                    <a:pt x="1346" y="558"/>
                  </a:lnTo>
                  <a:lnTo>
                    <a:pt x="1346" y="560"/>
                  </a:lnTo>
                  <a:lnTo>
                    <a:pt x="1346" y="562"/>
                  </a:lnTo>
                  <a:lnTo>
                    <a:pt x="1346" y="562"/>
                  </a:lnTo>
                  <a:lnTo>
                    <a:pt x="1346" y="562"/>
                  </a:lnTo>
                  <a:lnTo>
                    <a:pt x="1348" y="564"/>
                  </a:lnTo>
                  <a:lnTo>
                    <a:pt x="1348" y="564"/>
                  </a:lnTo>
                  <a:lnTo>
                    <a:pt x="1348" y="564"/>
                  </a:lnTo>
                  <a:lnTo>
                    <a:pt x="1350" y="566"/>
                  </a:lnTo>
                  <a:lnTo>
                    <a:pt x="1350" y="566"/>
                  </a:lnTo>
                  <a:lnTo>
                    <a:pt x="1350" y="568"/>
                  </a:lnTo>
                  <a:lnTo>
                    <a:pt x="1350" y="572"/>
                  </a:lnTo>
                  <a:lnTo>
                    <a:pt x="1348" y="574"/>
                  </a:lnTo>
                  <a:lnTo>
                    <a:pt x="1348" y="576"/>
                  </a:lnTo>
                  <a:lnTo>
                    <a:pt x="1348" y="576"/>
                  </a:lnTo>
                  <a:lnTo>
                    <a:pt x="1346" y="574"/>
                  </a:lnTo>
                  <a:lnTo>
                    <a:pt x="1344" y="570"/>
                  </a:lnTo>
                  <a:lnTo>
                    <a:pt x="1342" y="566"/>
                  </a:lnTo>
                  <a:lnTo>
                    <a:pt x="1340" y="562"/>
                  </a:lnTo>
                  <a:lnTo>
                    <a:pt x="1338" y="560"/>
                  </a:lnTo>
                  <a:lnTo>
                    <a:pt x="1338" y="560"/>
                  </a:lnTo>
                  <a:lnTo>
                    <a:pt x="1338" y="558"/>
                  </a:lnTo>
                  <a:lnTo>
                    <a:pt x="1336" y="558"/>
                  </a:lnTo>
                  <a:lnTo>
                    <a:pt x="1336" y="558"/>
                  </a:lnTo>
                  <a:lnTo>
                    <a:pt x="1336" y="558"/>
                  </a:lnTo>
                  <a:lnTo>
                    <a:pt x="1336" y="558"/>
                  </a:lnTo>
                  <a:lnTo>
                    <a:pt x="1336" y="558"/>
                  </a:lnTo>
                  <a:lnTo>
                    <a:pt x="1334" y="558"/>
                  </a:lnTo>
                  <a:lnTo>
                    <a:pt x="1332" y="558"/>
                  </a:lnTo>
                  <a:lnTo>
                    <a:pt x="1332" y="558"/>
                  </a:lnTo>
                  <a:lnTo>
                    <a:pt x="1332" y="558"/>
                  </a:lnTo>
                  <a:lnTo>
                    <a:pt x="1330" y="558"/>
                  </a:lnTo>
                  <a:lnTo>
                    <a:pt x="1330" y="558"/>
                  </a:lnTo>
                  <a:lnTo>
                    <a:pt x="1330" y="558"/>
                  </a:lnTo>
                  <a:lnTo>
                    <a:pt x="1328" y="560"/>
                  </a:lnTo>
                  <a:lnTo>
                    <a:pt x="1328" y="560"/>
                  </a:lnTo>
                  <a:lnTo>
                    <a:pt x="1328" y="560"/>
                  </a:lnTo>
                  <a:lnTo>
                    <a:pt x="1326" y="564"/>
                  </a:lnTo>
                  <a:lnTo>
                    <a:pt x="1324" y="566"/>
                  </a:lnTo>
                  <a:lnTo>
                    <a:pt x="1324" y="564"/>
                  </a:lnTo>
                  <a:lnTo>
                    <a:pt x="1324" y="564"/>
                  </a:lnTo>
                  <a:lnTo>
                    <a:pt x="1322" y="564"/>
                  </a:lnTo>
                  <a:lnTo>
                    <a:pt x="1320" y="562"/>
                  </a:lnTo>
                  <a:lnTo>
                    <a:pt x="1320" y="562"/>
                  </a:lnTo>
                  <a:lnTo>
                    <a:pt x="1320" y="562"/>
                  </a:lnTo>
                  <a:lnTo>
                    <a:pt x="1318" y="562"/>
                  </a:lnTo>
                  <a:lnTo>
                    <a:pt x="1314" y="562"/>
                  </a:lnTo>
                  <a:lnTo>
                    <a:pt x="1312" y="562"/>
                  </a:lnTo>
                  <a:lnTo>
                    <a:pt x="1310" y="562"/>
                  </a:lnTo>
                  <a:lnTo>
                    <a:pt x="1308" y="564"/>
                  </a:lnTo>
                  <a:lnTo>
                    <a:pt x="1308" y="564"/>
                  </a:lnTo>
                  <a:lnTo>
                    <a:pt x="1306" y="564"/>
                  </a:lnTo>
                  <a:lnTo>
                    <a:pt x="1306" y="564"/>
                  </a:lnTo>
                  <a:lnTo>
                    <a:pt x="1306" y="564"/>
                  </a:lnTo>
                  <a:lnTo>
                    <a:pt x="1304" y="568"/>
                  </a:lnTo>
                  <a:lnTo>
                    <a:pt x="1306" y="568"/>
                  </a:lnTo>
                  <a:lnTo>
                    <a:pt x="1306" y="568"/>
                  </a:lnTo>
                  <a:lnTo>
                    <a:pt x="1306" y="570"/>
                  </a:lnTo>
                  <a:lnTo>
                    <a:pt x="1306" y="570"/>
                  </a:lnTo>
                  <a:lnTo>
                    <a:pt x="1308" y="572"/>
                  </a:lnTo>
                  <a:lnTo>
                    <a:pt x="1310" y="576"/>
                  </a:lnTo>
                  <a:lnTo>
                    <a:pt x="1312" y="578"/>
                  </a:lnTo>
                  <a:lnTo>
                    <a:pt x="1312" y="578"/>
                  </a:lnTo>
                  <a:lnTo>
                    <a:pt x="1312" y="578"/>
                  </a:lnTo>
                  <a:lnTo>
                    <a:pt x="1310" y="580"/>
                  </a:lnTo>
                  <a:lnTo>
                    <a:pt x="1308" y="582"/>
                  </a:lnTo>
                  <a:lnTo>
                    <a:pt x="1308" y="582"/>
                  </a:lnTo>
                  <a:lnTo>
                    <a:pt x="1306" y="584"/>
                  </a:lnTo>
                  <a:lnTo>
                    <a:pt x="1302" y="586"/>
                  </a:lnTo>
                  <a:lnTo>
                    <a:pt x="1296" y="588"/>
                  </a:lnTo>
                  <a:lnTo>
                    <a:pt x="1294" y="590"/>
                  </a:lnTo>
                  <a:lnTo>
                    <a:pt x="1294" y="590"/>
                  </a:lnTo>
                  <a:lnTo>
                    <a:pt x="1292" y="590"/>
                  </a:lnTo>
                  <a:lnTo>
                    <a:pt x="1292" y="592"/>
                  </a:lnTo>
                  <a:lnTo>
                    <a:pt x="1292" y="592"/>
                  </a:lnTo>
                  <a:lnTo>
                    <a:pt x="1292" y="592"/>
                  </a:lnTo>
                  <a:lnTo>
                    <a:pt x="1290" y="594"/>
                  </a:lnTo>
                  <a:lnTo>
                    <a:pt x="1290" y="594"/>
                  </a:lnTo>
                  <a:lnTo>
                    <a:pt x="1290" y="594"/>
                  </a:lnTo>
                  <a:lnTo>
                    <a:pt x="1288" y="598"/>
                  </a:lnTo>
                  <a:lnTo>
                    <a:pt x="1286" y="600"/>
                  </a:lnTo>
                  <a:lnTo>
                    <a:pt x="1286" y="602"/>
                  </a:lnTo>
                  <a:lnTo>
                    <a:pt x="1286" y="602"/>
                  </a:lnTo>
                  <a:lnTo>
                    <a:pt x="1284" y="602"/>
                  </a:lnTo>
                  <a:lnTo>
                    <a:pt x="1282" y="604"/>
                  </a:lnTo>
                  <a:lnTo>
                    <a:pt x="1278" y="604"/>
                  </a:lnTo>
                  <a:lnTo>
                    <a:pt x="1274" y="604"/>
                  </a:lnTo>
                  <a:lnTo>
                    <a:pt x="1274" y="604"/>
                  </a:lnTo>
                  <a:lnTo>
                    <a:pt x="1274" y="604"/>
                  </a:lnTo>
                  <a:lnTo>
                    <a:pt x="1272" y="604"/>
                  </a:lnTo>
                  <a:lnTo>
                    <a:pt x="1270" y="606"/>
                  </a:lnTo>
                  <a:lnTo>
                    <a:pt x="1268" y="606"/>
                  </a:lnTo>
                  <a:lnTo>
                    <a:pt x="1266" y="608"/>
                  </a:lnTo>
                  <a:lnTo>
                    <a:pt x="1264" y="610"/>
                  </a:lnTo>
                  <a:lnTo>
                    <a:pt x="1260" y="610"/>
                  </a:lnTo>
                  <a:lnTo>
                    <a:pt x="1256" y="614"/>
                  </a:lnTo>
                  <a:lnTo>
                    <a:pt x="1254" y="616"/>
                  </a:lnTo>
                  <a:lnTo>
                    <a:pt x="1254" y="616"/>
                  </a:lnTo>
                  <a:lnTo>
                    <a:pt x="1256" y="610"/>
                  </a:lnTo>
                  <a:lnTo>
                    <a:pt x="1258" y="608"/>
                  </a:lnTo>
                  <a:lnTo>
                    <a:pt x="1260" y="606"/>
                  </a:lnTo>
                  <a:lnTo>
                    <a:pt x="1260" y="604"/>
                  </a:lnTo>
                  <a:lnTo>
                    <a:pt x="1262" y="602"/>
                  </a:lnTo>
                  <a:lnTo>
                    <a:pt x="1266" y="598"/>
                  </a:lnTo>
                  <a:lnTo>
                    <a:pt x="1266" y="596"/>
                  </a:lnTo>
                  <a:lnTo>
                    <a:pt x="1268" y="594"/>
                  </a:lnTo>
                  <a:lnTo>
                    <a:pt x="1268" y="592"/>
                  </a:lnTo>
                  <a:lnTo>
                    <a:pt x="1268" y="592"/>
                  </a:lnTo>
                  <a:lnTo>
                    <a:pt x="1270" y="592"/>
                  </a:lnTo>
                  <a:lnTo>
                    <a:pt x="1270" y="590"/>
                  </a:lnTo>
                  <a:lnTo>
                    <a:pt x="1270" y="590"/>
                  </a:lnTo>
                  <a:lnTo>
                    <a:pt x="1270" y="590"/>
                  </a:lnTo>
                  <a:lnTo>
                    <a:pt x="1268" y="588"/>
                  </a:lnTo>
                  <a:lnTo>
                    <a:pt x="1268" y="588"/>
                  </a:lnTo>
                  <a:lnTo>
                    <a:pt x="1268" y="586"/>
                  </a:lnTo>
                  <a:lnTo>
                    <a:pt x="1268" y="586"/>
                  </a:lnTo>
                  <a:lnTo>
                    <a:pt x="1268" y="586"/>
                  </a:lnTo>
                  <a:lnTo>
                    <a:pt x="1268" y="586"/>
                  </a:lnTo>
                  <a:lnTo>
                    <a:pt x="1270" y="586"/>
                  </a:lnTo>
                  <a:lnTo>
                    <a:pt x="1272" y="586"/>
                  </a:lnTo>
                  <a:lnTo>
                    <a:pt x="1272" y="586"/>
                  </a:lnTo>
                  <a:lnTo>
                    <a:pt x="1276" y="586"/>
                  </a:lnTo>
                  <a:lnTo>
                    <a:pt x="1276" y="586"/>
                  </a:lnTo>
                  <a:lnTo>
                    <a:pt x="1276" y="586"/>
                  </a:lnTo>
                  <a:lnTo>
                    <a:pt x="1280" y="584"/>
                  </a:lnTo>
                  <a:lnTo>
                    <a:pt x="1280" y="584"/>
                  </a:lnTo>
                  <a:lnTo>
                    <a:pt x="1280" y="584"/>
                  </a:lnTo>
                  <a:lnTo>
                    <a:pt x="1284" y="584"/>
                  </a:lnTo>
                  <a:lnTo>
                    <a:pt x="1284" y="584"/>
                  </a:lnTo>
                  <a:lnTo>
                    <a:pt x="1284" y="582"/>
                  </a:lnTo>
                  <a:lnTo>
                    <a:pt x="1288" y="580"/>
                  </a:lnTo>
                  <a:lnTo>
                    <a:pt x="1288" y="580"/>
                  </a:lnTo>
                  <a:lnTo>
                    <a:pt x="1288" y="580"/>
                  </a:lnTo>
                  <a:lnTo>
                    <a:pt x="1290" y="580"/>
                  </a:lnTo>
                  <a:lnTo>
                    <a:pt x="1290" y="580"/>
                  </a:lnTo>
                  <a:lnTo>
                    <a:pt x="1290" y="578"/>
                  </a:lnTo>
                  <a:lnTo>
                    <a:pt x="1292" y="576"/>
                  </a:lnTo>
                  <a:lnTo>
                    <a:pt x="1294" y="572"/>
                  </a:lnTo>
                  <a:lnTo>
                    <a:pt x="1296" y="568"/>
                  </a:lnTo>
                  <a:lnTo>
                    <a:pt x="1298" y="564"/>
                  </a:lnTo>
                  <a:lnTo>
                    <a:pt x="1302" y="558"/>
                  </a:lnTo>
                  <a:lnTo>
                    <a:pt x="1306" y="554"/>
                  </a:lnTo>
                  <a:lnTo>
                    <a:pt x="1308" y="550"/>
                  </a:lnTo>
                  <a:lnTo>
                    <a:pt x="1312" y="546"/>
                  </a:lnTo>
                  <a:lnTo>
                    <a:pt x="1318" y="540"/>
                  </a:lnTo>
                  <a:lnTo>
                    <a:pt x="1322" y="534"/>
                  </a:lnTo>
                  <a:lnTo>
                    <a:pt x="1324" y="532"/>
                  </a:lnTo>
                  <a:lnTo>
                    <a:pt x="1326" y="530"/>
                  </a:lnTo>
                  <a:lnTo>
                    <a:pt x="1328" y="528"/>
                  </a:lnTo>
                  <a:lnTo>
                    <a:pt x="1332" y="528"/>
                  </a:lnTo>
                  <a:lnTo>
                    <a:pt x="1336" y="526"/>
                  </a:lnTo>
                  <a:lnTo>
                    <a:pt x="1340" y="524"/>
                  </a:lnTo>
                  <a:lnTo>
                    <a:pt x="1342" y="522"/>
                  </a:lnTo>
                  <a:lnTo>
                    <a:pt x="1344" y="520"/>
                  </a:lnTo>
                  <a:lnTo>
                    <a:pt x="1348" y="518"/>
                  </a:lnTo>
                  <a:lnTo>
                    <a:pt x="1350" y="516"/>
                  </a:lnTo>
                  <a:lnTo>
                    <a:pt x="1354" y="512"/>
                  </a:lnTo>
                  <a:lnTo>
                    <a:pt x="1358" y="508"/>
                  </a:lnTo>
                  <a:lnTo>
                    <a:pt x="1360" y="504"/>
                  </a:lnTo>
                  <a:lnTo>
                    <a:pt x="1364" y="500"/>
                  </a:lnTo>
                  <a:lnTo>
                    <a:pt x="1366" y="496"/>
                  </a:lnTo>
                  <a:lnTo>
                    <a:pt x="1368" y="492"/>
                  </a:lnTo>
                  <a:lnTo>
                    <a:pt x="1370" y="490"/>
                  </a:lnTo>
                  <a:lnTo>
                    <a:pt x="1370" y="490"/>
                  </a:lnTo>
                  <a:lnTo>
                    <a:pt x="1370" y="488"/>
                  </a:lnTo>
                  <a:lnTo>
                    <a:pt x="1372" y="486"/>
                  </a:lnTo>
                  <a:lnTo>
                    <a:pt x="1372" y="486"/>
                  </a:lnTo>
                  <a:lnTo>
                    <a:pt x="1372" y="486"/>
                  </a:lnTo>
                  <a:lnTo>
                    <a:pt x="1372" y="484"/>
                  </a:lnTo>
                  <a:lnTo>
                    <a:pt x="1372" y="484"/>
                  </a:lnTo>
                  <a:lnTo>
                    <a:pt x="1372" y="482"/>
                  </a:lnTo>
                  <a:lnTo>
                    <a:pt x="1370" y="480"/>
                  </a:lnTo>
                  <a:lnTo>
                    <a:pt x="1370" y="480"/>
                  </a:lnTo>
                  <a:lnTo>
                    <a:pt x="1370" y="480"/>
                  </a:lnTo>
                  <a:lnTo>
                    <a:pt x="1370" y="478"/>
                  </a:lnTo>
                  <a:lnTo>
                    <a:pt x="1368" y="474"/>
                  </a:lnTo>
                  <a:lnTo>
                    <a:pt x="1368" y="474"/>
                  </a:lnTo>
                  <a:lnTo>
                    <a:pt x="1368" y="472"/>
                  </a:lnTo>
                  <a:lnTo>
                    <a:pt x="1368" y="472"/>
                  </a:lnTo>
                  <a:lnTo>
                    <a:pt x="1368" y="472"/>
                  </a:lnTo>
                  <a:lnTo>
                    <a:pt x="1372" y="470"/>
                  </a:lnTo>
                  <a:lnTo>
                    <a:pt x="1374" y="466"/>
                  </a:lnTo>
                  <a:lnTo>
                    <a:pt x="1374" y="466"/>
                  </a:lnTo>
                  <a:lnTo>
                    <a:pt x="1374" y="466"/>
                  </a:lnTo>
                  <a:lnTo>
                    <a:pt x="1374" y="464"/>
                  </a:lnTo>
                  <a:lnTo>
                    <a:pt x="1374" y="464"/>
                  </a:lnTo>
                  <a:lnTo>
                    <a:pt x="1374" y="464"/>
                  </a:lnTo>
                  <a:lnTo>
                    <a:pt x="1374" y="462"/>
                  </a:lnTo>
                  <a:lnTo>
                    <a:pt x="1374" y="462"/>
                  </a:lnTo>
                  <a:lnTo>
                    <a:pt x="1374" y="460"/>
                  </a:lnTo>
                  <a:lnTo>
                    <a:pt x="1374" y="460"/>
                  </a:lnTo>
                  <a:lnTo>
                    <a:pt x="1374" y="458"/>
                  </a:lnTo>
                  <a:lnTo>
                    <a:pt x="1374" y="456"/>
                  </a:lnTo>
                  <a:lnTo>
                    <a:pt x="1372" y="452"/>
                  </a:lnTo>
                  <a:lnTo>
                    <a:pt x="1370" y="446"/>
                  </a:lnTo>
                  <a:lnTo>
                    <a:pt x="1368" y="444"/>
                  </a:lnTo>
                  <a:lnTo>
                    <a:pt x="1368" y="444"/>
                  </a:lnTo>
                  <a:lnTo>
                    <a:pt x="1368" y="440"/>
                  </a:lnTo>
                  <a:lnTo>
                    <a:pt x="1368" y="438"/>
                  </a:lnTo>
                  <a:lnTo>
                    <a:pt x="1368" y="434"/>
                  </a:lnTo>
                  <a:lnTo>
                    <a:pt x="1370" y="430"/>
                  </a:lnTo>
                  <a:lnTo>
                    <a:pt x="1370" y="428"/>
                  </a:lnTo>
                  <a:lnTo>
                    <a:pt x="1370" y="426"/>
                  </a:lnTo>
                  <a:lnTo>
                    <a:pt x="1370" y="426"/>
                  </a:lnTo>
                  <a:lnTo>
                    <a:pt x="1370" y="426"/>
                  </a:lnTo>
                  <a:lnTo>
                    <a:pt x="1368" y="424"/>
                  </a:lnTo>
                  <a:lnTo>
                    <a:pt x="1368" y="424"/>
                  </a:lnTo>
                  <a:lnTo>
                    <a:pt x="1368" y="424"/>
                  </a:lnTo>
                  <a:lnTo>
                    <a:pt x="1366" y="422"/>
                  </a:lnTo>
                  <a:lnTo>
                    <a:pt x="1366" y="422"/>
                  </a:lnTo>
                  <a:lnTo>
                    <a:pt x="1364" y="422"/>
                  </a:lnTo>
                  <a:lnTo>
                    <a:pt x="1362" y="422"/>
                  </a:lnTo>
                  <a:lnTo>
                    <a:pt x="1362" y="422"/>
                  </a:lnTo>
                  <a:lnTo>
                    <a:pt x="1360" y="424"/>
                  </a:lnTo>
                  <a:lnTo>
                    <a:pt x="1358" y="424"/>
                  </a:lnTo>
                  <a:lnTo>
                    <a:pt x="1354" y="426"/>
                  </a:lnTo>
                  <a:lnTo>
                    <a:pt x="1352" y="426"/>
                  </a:lnTo>
                  <a:lnTo>
                    <a:pt x="1352" y="426"/>
                  </a:lnTo>
                  <a:lnTo>
                    <a:pt x="1352" y="426"/>
                  </a:lnTo>
                  <a:lnTo>
                    <a:pt x="1350" y="424"/>
                  </a:lnTo>
                  <a:lnTo>
                    <a:pt x="1350" y="420"/>
                  </a:lnTo>
                  <a:lnTo>
                    <a:pt x="1350" y="420"/>
                  </a:lnTo>
                  <a:lnTo>
                    <a:pt x="1350" y="420"/>
                  </a:lnTo>
                  <a:lnTo>
                    <a:pt x="1348" y="416"/>
                  </a:lnTo>
                  <a:lnTo>
                    <a:pt x="1348" y="416"/>
                  </a:lnTo>
                  <a:lnTo>
                    <a:pt x="1348" y="416"/>
                  </a:lnTo>
                  <a:lnTo>
                    <a:pt x="1346" y="414"/>
                  </a:lnTo>
                  <a:lnTo>
                    <a:pt x="1342" y="410"/>
                  </a:lnTo>
                  <a:lnTo>
                    <a:pt x="1340" y="410"/>
                  </a:lnTo>
                  <a:lnTo>
                    <a:pt x="1338" y="408"/>
                  </a:lnTo>
                  <a:lnTo>
                    <a:pt x="1334" y="408"/>
                  </a:lnTo>
                  <a:lnTo>
                    <a:pt x="1332" y="406"/>
                  </a:lnTo>
                  <a:lnTo>
                    <a:pt x="1328" y="406"/>
                  </a:lnTo>
                  <a:lnTo>
                    <a:pt x="1322" y="404"/>
                  </a:lnTo>
                  <a:lnTo>
                    <a:pt x="1316" y="404"/>
                  </a:lnTo>
                  <a:lnTo>
                    <a:pt x="1310" y="404"/>
                  </a:lnTo>
                  <a:lnTo>
                    <a:pt x="1304" y="402"/>
                  </a:lnTo>
                  <a:lnTo>
                    <a:pt x="1298" y="402"/>
                  </a:lnTo>
                  <a:lnTo>
                    <a:pt x="1292" y="402"/>
                  </a:lnTo>
                  <a:lnTo>
                    <a:pt x="1290" y="402"/>
                  </a:lnTo>
                  <a:lnTo>
                    <a:pt x="1288" y="402"/>
                  </a:lnTo>
                  <a:lnTo>
                    <a:pt x="1288" y="402"/>
                  </a:lnTo>
                  <a:lnTo>
                    <a:pt x="1288" y="402"/>
                  </a:lnTo>
                  <a:lnTo>
                    <a:pt x="1286" y="404"/>
                  </a:lnTo>
                  <a:lnTo>
                    <a:pt x="1286" y="404"/>
                  </a:lnTo>
                  <a:lnTo>
                    <a:pt x="1286" y="404"/>
                  </a:lnTo>
                  <a:lnTo>
                    <a:pt x="1284" y="404"/>
                  </a:lnTo>
                  <a:lnTo>
                    <a:pt x="1284" y="404"/>
                  </a:lnTo>
                  <a:lnTo>
                    <a:pt x="1282" y="406"/>
                  </a:lnTo>
                  <a:lnTo>
                    <a:pt x="1282" y="406"/>
                  </a:lnTo>
                  <a:lnTo>
                    <a:pt x="1282" y="406"/>
                  </a:lnTo>
                  <a:lnTo>
                    <a:pt x="1282" y="408"/>
                  </a:lnTo>
                  <a:lnTo>
                    <a:pt x="1282" y="410"/>
                  </a:lnTo>
                  <a:lnTo>
                    <a:pt x="1282" y="410"/>
                  </a:lnTo>
                  <a:lnTo>
                    <a:pt x="1282" y="410"/>
                  </a:lnTo>
                  <a:lnTo>
                    <a:pt x="1282" y="412"/>
                  </a:lnTo>
                  <a:lnTo>
                    <a:pt x="1282" y="412"/>
                  </a:lnTo>
                  <a:lnTo>
                    <a:pt x="1280" y="412"/>
                  </a:lnTo>
                  <a:lnTo>
                    <a:pt x="1276" y="414"/>
                  </a:lnTo>
                  <a:lnTo>
                    <a:pt x="1272" y="414"/>
                  </a:lnTo>
                  <a:lnTo>
                    <a:pt x="1270" y="416"/>
                  </a:lnTo>
                  <a:lnTo>
                    <a:pt x="1268" y="416"/>
                  </a:lnTo>
                  <a:lnTo>
                    <a:pt x="1268" y="414"/>
                  </a:lnTo>
                  <a:lnTo>
                    <a:pt x="1268" y="414"/>
                  </a:lnTo>
                  <a:lnTo>
                    <a:pt x="1268" y="414"/>
                  </a:lnTo>
                  <a:lnTo>
                    <a:pt x="1270" y="412"/>
                  </a:lnTo>
                  <a:lnTo>
                    <a:pt x="1270" y="412"/>
                  </a:lnTo>
                  <a:lnTo>
                    <a:pt x="1270" y="412"/>
                  </a:lnTo>
                  <a:lnTo>
                    <a:pt x="1272" y="410"/>
                  </a:lnTo>
                  <a:lnTo>
                    <a:pt x="1272" y="408"/>
                  </a:lnTo>
                  <a:lnTo>
                    <a:pt x="1274" y="404"/>
                  </a:lnTo>
                  <a:lnTo>
                    <a:pt x="1274" y="402"/>
                  </a:lnTo>
                  <a:lnTo>
                    <a:pt x="1276" y="398"/>
                  </a:lnTo>
                  <a:lnTo>
                    <a:pt x="1276" y="394"/>
                  </a:lnTo>
                  <a:lnTo>
                    <a:pt x="1278" y="390"/>
                  </a:lnTo>
                  <a:lnTo>
                    <a:pt x="1278" y="388"/>
                  </a:lnTo>
                  <a:lnTo>
                    <a:pt x="1278" y="388"/>
                  </a:lnTo>
                  <a:lnTo>
                    <a:pt x="1278" y="386"/>
                  </a:lnTo>
                  <a:lnTo>
                    <a:pt x="1278" y="384"/>
                  </a:lnTo>
                  <a:lnTo>
                    <a:pt x="1278" y="384"/>
                  </a:lnTo>
                  <a:lnTo>
                    <a:pt x="1276" y="384"/>
                  </a:lnTo>
                  <a:lnTo>
                    <a:pt x="1276" y="382"/>
                  </a:lnTo>
                  <a:lnTo>
                    <a:pt x="1276" y="382"/>
                  </a:lnTo>
                  <a:lnTo>
                    <a:pt x="1274" y="380"/>
                  </a:lnTo>
                  <a:lnTo>
                    <a:pt x="1272" y="380"/>
                  </a:lnTo>
                  <a:lnTo>
                    <a:pt x="1272" y="380"/>
                  </a:lnTo>
                  <a:lnTo>
                    <a:pt x="1272" y="380"/>
                  </a:lnTo>
                  <a:lnTo>
                    <a:pt x="1268" y="378"/>
                  </a:lnTo>
                  <a:lnTo>
                    <a:pt x="1266" y="378"/>
                  </a:lnTo>
                  <a:lnTo>
                    <a:pt x="1262" y="376"/>
                  </a:lnTo>
                  <a:lnTo>
                    <a:pt x="1260" y="376"/>
                  </a:lnTo>
                  <a:lnTo>
                    <a:pt x="1256" y="376"/>
                  </a:lnTo>
                  <a:lnTo>
                    <a:pt x="1258" y="376"/>
                  </a:lnTo>
                  <a:lnTo>
                    <a:pt x="1256" y="374"/>
                  </a:lnTo>
                  <a:lnTo>
                    <a:pt x="1254" y="374"/>
                  </a:lnTo>
                  <a:lnTo>
                    <a:pt x="1254" y="372"/>
                  </a:lnTo>
                  <a:lnTo>
                    <a:pt x="1252" y="370"/>
                  </a:lnTo>
                  <a:lnTo>
                    <a:pt x="1252" y="368"/>
                  </a:lnTo>
                  <a:lnTo>
                    <a:pt x="1252" y="368"/>
                  </a:lnTo>
                  <a:lnTo>
                    <a:pt x="1252" y="366"/>
                  </a:lnTo>
                  <a:lnTo>
                    <a:pt x="1252" y="366"/>
                  </a:lnTo>
                  <a:lnTo>
                    <a:pt x="1254" y="366"/>
                  </a:lnTo>
                  <a:lnTo>
                    <a:pt x="1256" y="366"/>
                  </a:lnTo>
                  <a:lnTo>
                    <a:pt x="1258" y="366"/>
                  </a:lnTo>
                  <a:lnTo>
                    <a:pt x="1262" y="366"/>
                  </a:lnTo>
                  <a:lnTo>
                    <a:pt x="1264" y="366"/>
                  </a:lnTo>
                  <a:lnTo>
                    <a:pt x="1268" y="366"/>
                  </a:lnTo>
                  <a:lnTo>
                    <a:pt x="1270" y="364"/>
                  </a:lnTo>
                  <a:lnTo>
                    <a:pt x="1270" y="364"/>
                  </a:lnTo>
                  <a:lnTo>
                    <a:pt x="1270" y="364"/>
                  </a:lnTo>
                  <a:lnTo>
                    <a:pt x="1270" y="364"/>
                  </a:lnTo>
                  <a:lnTo>
                    <a:pt x="1270" y="364"/>
                  </a:lnTo>
                  <a:lnTo>
                    <a:pt x="1272" y="364"/>
                  </a:lnTo>
                  <a:lnTo>
                    <a:pt x="1272" y="364"/>
                  </a:lnTo>
                  <a:lnTo>
                    <a:pt x="1272" y="364"/>
                  </a:lnTo>
                  <a:lnTo>
                    <a:pt x="1272" y="360"/>
                  </a:lnTo>
                  <a:lnTo>
                    <a:pt x="1272" y="360"/>
                  </a:lnTo>
                  <a:lnTo>
                    <a:pt x="1272" y="360"/>
                  </a:lnTo>
                  <a:lnTo>
                    <a:pt x="1270" y="358"/>
                  </a:lnTo>
                  <a:lnTo>
                    <a:pt x="1270" y="358"/>
                  </a:lnTo>
                  <a:lnTo>
                    <a:pt x="1268" y="356"/>
                  </a:lnTo>
                  <a:lnTo>
                    <a:pt x="1266" y="356"/>
                  </a:lnTo>
                  <a:lnTo>
                    <a:pt x="1260" y="354"/>
                  </a:lnTo>
                  <a:lnTo>
                    <a:pt x="1258" y="352"/>
                  </a:lnTo>
                  <a:lnTo>
                    <a:pt x="1256" y="352"/>
                  </a:lnTo>
                  <a:lnTo>
                    <a:pt x="1250" y="348"/>
                  </a:lnTo>
                  <a:lnTo>
                    <a:pt x="1246" y="346"/>
                  </a:lnTo>
                  <a:lnTo>
                    <a:pt x="1240" y="342"/>
                  </a:lnTo>
                  <a:lnTo>
                    <a:pt x="1236" y="342"/>
                  </a:lnTo>
                  <a:lnTo>
                    <a:pt x="1234" y="342"/>
                  </a:lnTo>
                  <a:lnTo>
                    <a:pt x="1234" y="342"/>
                  </a:lnTo>
                  <a:lnTo>
                    <a:pt x="1234" y="342"/>
                  </a:lnTo>
                  <a:lnTo>
                    <a:pt x="1228" y="340"/>
                  </a:lnTo>
                  <a:lnTo>
                    <a:pt x="1228" y="340"/>
                  </a:lnTo>
                  <a:lnTo>
                    <a:pt x="1222" y="342"/>
                  </a:lnTo>
                  <a:lnTo>
                    <a:pt x="1222" y="342"/>
                  </a:lnTo>
                  <a:lnTo>
                    <a:pt x="1222" y="342"/>
                  </a:lnTo>
                  <a:lnTo>
                    <a:pt x="1216" y="342"/>
                  </a:lnTo>
                  <a:lnTo>
                    <a:pt x="1216" y="342"/>
                  </a:lnTo>
                  <a:lnTo>
                    <a:pt x="1216" y="342"/>
                  </a:lnTo>
                  <a:lnTo>
                    <a:pt x="1210" y="346"/>
                  </a:lnTo>
                  <a:lnTo>
                    <a:pt x="1210" y="346"/>
                  </a:lnTo>
                  <a:lnTo>
                    <a:pt x="1210" y="346"/>
                  </a:lnTo>
                  <a:lnTo>
                    <a:pt x="1206" y="348"/>
                  </a:lnTo>
                  <a:lnTo>
                    <a:pt x="1204" y="350"/>
                  </a:lnTo>
                  <a:lnTo>
                    <a:pt x="1200" y="354"/>
                  </a:lnTo>
                  <a:lnTo>
                    <a:pt x="1196" y="360"/>
                  </a:lnTo>
                  <a:lnTo>
                    <a:pt x="1192" y="366"/>
                  </a:lnTo>
                  <a:lnTo>
                    <a:pt x="1188" y="372"/>
                  </a:lnTo>
                  <a:lnTo>
                    <a:pt x="1184" y="378"/>
                  </a:lnTo>
                  <a:lnTo>
                    <a:pt x="1182" y="384"/>
                  </a:lnTo>
                  <a:lnTo>
                    <a:pt x="1182" y="388"/>
                  </a:lnTo>
                  <a:lnTo>
                    <a:pt x="1182" y="388"/>
                  </a:lnTo>
                  <a:lnTo>
                    <a:pt x="1180" y="388"/>
                  </a:lnTo>
                  <a:lnTo>
                    <a:pt x="1180" y="390"/>
                  </a:lnTo>
                  <a:lnTo>
                    <a:pt x="1180" y="392"/>
                  </a:lnTo>
                  <a:lnTo>
                    <a:pt x="1182" y="394"/>
                  </a:lnTo>
                  <a:lnTo>
                    <a:pt x="1182" y="394"/>
                  </a:lnTo>
                  <a:lnTo>
                    <a:pt x="1182" y="398"/>
                  </a:lnTo>
                  <a:lnTo>
                    <a:pt x="1184" y="402"/>
                  </a:lnTo>
                  <a:lnTo>
                    <a:pt x="1184" y="402"/>
                  </a:lnTo>
                  <a:lnTo>
                    <a:pt x="1184" y="404"/>
                  </a:lnTo>
                  <a:lnTo>
                    <a:pt x="1184" y="404"/>
                  </a:lnTo>
                  <a:lnTo>
                    <a:pt x="1184" y="408"/>
                  </a:lnTo>
                  <a:lnTo>
                    <a:pt x="1182" y="412"/>
                  </a:lnTo>
                  <a:lnTo>
                    <a:pt x="1182" y="412"/>
                  </a:lnTo>
                  <a:lnTo>
                    <a:pt x="1180" y="416"/>
                  </a:lnTo>
                  <a:lnTo>
                    <a:pt x="1178" y="416"/>
                  </a:lnTo>
                  <a:lnTo>
                    <a:pt x="1178" y="418"/>
                  </a:lnTo>
                  <a:lnTo>
                    <a:pt x="1176" y="418"/>
                  </a:lnTo>
                  <a:lnTo>
                    <a:pt x="1174" y="418"/>
                  </a:lnTo>
                  <a:lnTo>
                    <a:pt x="1174" y="418"/>
                  </a:lnTo>
                  <a:lnTo>
                    <a:pt x="1166" y="418"/>
                  </a:lnTo>
                  <a:lnTo>
                    <a:pt x="1164" y="418"/>
                  </a:lnTo>
                  <a:lnTo>
                    <a:pt x="1164" y="418"/>
                  </a:lnTo>
                  <a:lnTo>
                    <a:pt x="1164" y="418"/>
                  </a:lnTo>
                  <a:lnTo>
                    <a:pt x="1162" y="418"/>
                  </a:lnTo>
                  <a:lnTo>
                    <a:pt x="1162" y="418"/>
                  </a:lnTo>
                  <a:lnTo>
                    <a:pt x="1160" y="420"/>
                  </a:lnTo>
                  <a:lnTo>
                    <a:pt x="1158" y="420"/>
                  </a:lnTo>
                  <a:lnTo>
                    <a:pt x="1158" y="420"/>
                  </a:lnTo>
                  <a:lnTo>
                    <a:pt x="1158" y="422"/>
                  </a:lnTo>
                  <a:lnTo>
                    <a:pt x="1158" y="424"/>
                  </a:lnTo>
                  <a:lnTo>
                    <a:pt x="1158" y="424"/>
                  </a:lnTo>
                  <a:lnTo>
                    <a:pt x="1156" y="424"/>
                  </a:lnTo>
                  <a:lnTo>
                    <a:pt x="1156" y="428"/>
                  </a:lnTo>
                  <a:lnTo>
                    <a:pt x="1156" y="428"/>
                  </a:lnTo>
                  <a:lnTo>
                    <a:pt x="1158" y="428"/>
                  </a:lnTo>
                  <a:lnTo>
                    <a:pt x="1158" y="430"/>
                  </a:lnTo>
                  <a:lnTo>
                    <a:pt x="1158" y="434"/>
                  </a:lnTo>
                  <a:lnTo>
                    <a:pt x="1160" y="436"/>
                  </a:lnTo>
                  <a:lnTo>
                    <a:pt x="1160" y="436"/>
                  </a:lnTo>
                  <a:lnTo>
                    <a:pt x="1160" y="436"/>
                  </a:lnTo>
                  <a:lnTo>
                    <a:pt x="1156" y="434"/>
                  </a:lnTo>
                  <a:lnTo>
                    <a:pt x="1156" y="434"/>
                  </a:lnTo>
                  <a:lnTo>
                    <a:pt x="1156" y="434"/>
                  </a:lnTo>
                  <a:lnTo>
                    <a:pt x="1154" y="434"/>
                  </a:lnTo>
                  <a:lnTo>
                    <a:pt x="1154" y="434"/>
                  </a:lnTo>
                  <a:lnTo>
                    <a:pt x="1152" y="432"/>
                  </a:lnTo>
                  <a:lnTo>
                    <a:pt x="1150" y="432"/>
                  </a:lnTo>
                  <a:lnTo>
                    <a:pt x="1150" y="432"/>
                  </a:lnTo>
                  <a:lnTo>
                    <a:pt x="1150" y="432"/>
                  </a:lnTo>
                  <a:lnTo>
                    <a:pt x="1146" y="432"/>
                  </a:lnTo>
                  <a:lnTo>
                    <a:pt x="1144" y="434"/>
                  </a:lnTo>
                  <a:lnTo>
                    <a:pt x="1144" y="434"/>
                  </a:lnTo>
                  <a:lnTo>
                    <a:pt x="1144" y="434"/>
                  </a:lnTo>
                  <a:lnTo>
                    <a:pt x="1138" y="436"/>
                  </a:lnTo>
                  <a:lnTo>
                    <a:pt x="1134" y="438"/>
                  </a:lnTo>
                  <a:lnTo>
                    <a:pt x="1128" y="440"/>
                  </a:lnTo>
                  <a:lnTo>
                    <a:pt x="1124" y="442"/>
                  </a:lnTo>
                  <a:lnTo>
                    <a:pt x="1122" y="446"/>
                  </a:lnTo>
                  <a:lnTo>
                    <a:pt x="1118" y="450"/>
                  </a:lnTo>
                  <a:lnTo>
                    <a:pt x="1116" y="452"/>
                  </a:lnTo>
                  <a:lnTo>
                    <a:pt x="1114" y="454"/>
                  </a:lnTo>
                  <a:lnTo>
                    <a:pt x="1112" y="454"/>
                  </a:lnTo>
                  <a:lnTo>
                    <a:pt x="1112" y="454"/>
                  </a:lnTo>
                  <a:lnTo>
                    <a:pt x="1112" y="454"/>
                  </a:lnTo>
                  <a:lnTo>
                    <a:pt x="1110" y="454"/>
                  </a:lnTo>
                  <a:lnTo>
                    <a:pt x="1112" y="454"/>
                  </a:lnTo>
                  <a:lnTo>
                    <a:pt x="1108" y="452"/>
                  </a:lnTo>
                  <a:lnTo>
                    <a:pt x="1106" y="450"/>
                  </a:lnTo>
                  <a:lnTo>
                    <a:pt x="1104" y="446"/>
                  </a:lnTo>
                  <a:lnTo>
                    <a:pt x="1100" y="442"/>
                  </a:lnTo>
                  <a:lnTo>
                    <a:pt x="1098" y="438"/>
                  </a:lnTo>
                  <a:lnTo>
                    <a:pt x="1096" y="434"/>
                  </a:lnTo>
                  <a:lnTo>
                    <a:pt x="1094" y="434"/>
                  </a:lnTo>
                  <a:lnTo>
                    <a:pt x="1094" y="434"/>
                  </a:lnTo>
                  <a:lnTo>
                    <a:pt x="1094" y="434"/>
                  </a:lnTo>
                  <a:lnTo>
                    <a:pt x="1092" y="432"/>
                  </a:lnTo>
                  <a:lnTo>
                    <a:pt x="1092" y="432"/>
                  </a:lnTo>
                  <a:lnTo>
                    <a:pt x="1092" y="432"/>
                  </a:lnTo>
                  <a:lnTo>
                    <a:pt x="1090" y="432"/>
                  </a:lnTo>
                  <a:lnTo>
                    <a:pt x="1090" y="432"/>
                  </a:lnTo>
                  <a:lnTo>
                    <a:pt x="1088" y="432"/>
                  </a:lnTo>
                  <a:lnTo>
                    <a:pt x="1088" y="432"/>
                  </a:lnTo>
                  <a:lnTo>
                    <a:pt x="1088" y="432"/>
                  </a:lnTo>
                  <a:lnTo>
                    <a:pt x="1086" y="432"/>
                  </a:lnTo>
                  <a:lnTo>
                    <a:pt x="1086" y="434"/>
                  </a:lnTo>
                  <a:lnTo>
                    <a:pt x="1086" y="434"/>
                  </a:lnTo>
                  <a:lnTo>
                    <a:pt x="1084" y="434"/>
                  </a:lnTo>
                  <a:lnTo>
                    <a:pt x="1082" y="436"/>
                  </a:lnTo>
                  <a:lnTo>
                    <a:pt x="1080" y="438"/>
                  </a:lnTo>
                  <a:lnTo>
                    <a:pt x="1078" y="442"/>
                  </a:lnTo>
                  <a:lnTo>
                    <a:pt x="1074" y="446"/>
                  </a:lnTo>
                  <a:lnTo>
                    <a:pt x="1072" y="450"/>
                  </a:lnTo>
                  <a:lnTo>
                    <a:pt x="1070" y="454"/>
                  </a:lnTo>
                  <a:lnTo>
                    <a:pt x="1068" y="458"/>
                  </a:lnTo>
                  <a:lnTo>
                    <a:pt x="1068" y="458"/>
                  </a:lnTo>
                  <a:lnTo>
                    <a:pt x="1068" y="458"/>
                  </a:lnTo>
                  <a:lnTo>
                    <a:pt x="1066" y="460"/>
                  </a:lnTo>
                  <a:lnTo>
                    <a:pt x="1066" y="460"/>
                  </a:lnTo>
                  <a:lnTo>
                    <a:pt x="1066" y="460"/>
                  </a:lnTo>
                  <a:lnTo>
                    <a:pt x="1066" y="462"/>
                  </a:lnTo>
                  <a:lnTo>
                    <a:pt x="1066" y="462"/>
                  </a:lnTo>
                  <a:lnTo>
                    <a:pt x="1066" y="462"/>
                  </a:lnTo>
                  <a:lnTo>
                    <a:pt x="1066" y="466"/>
                  </a:lnTo>
                  <a:lnTo>
                    <a:pt x="1066" y="466"/>
                  </a:lnTo>
                  <a:lnTo>
                    <a:pt x="1066" y="468"/>
                  </a:lnTo>
                  <a:lnTo>
                    <a:pt x="1066" y="468"/>
                  </a:lnTo>
                  <a:lnTo>
                    <a:pt x="1066" y="468"/>
                  </a:lnTo>
                  <a:lnTo>
                    <a:pt x="1066" y="468"/>
                  </a:lnTo>
                  <a:lnTo>
                    <a:pt x="1064" y="468"/>
                  </a:lnTo>
                  <a:lnTo>
                    <a:pt x="1060" y="470"/>
                  </a:lnTo>
                  <a:lnTo>
                    <a:pt x="1058" y="470"/>
                  </a:lnTo>
                  <a:lnTo>
                    <a:pt x="1052" y="470"/>
                  </a:lnTo>
                  <a:lnTo>
                    <a:pt x="1048" y="470"/>
                  </a:lnTo>
                  <a:lnTo>
                    <a:pt x="1046" y="470"/>
                  </a:lnTo>
                  <a:lnTo>
                    <a:pt x="1042" y="470"/>
                  </a:lnTo>
                  <a:lnTo>
                    <a:pt x="1040" y="470"/>
                  </a:lnTo>
                  <a:lnTo>
                    <a:pt x="1036" y="470"/>
                  </a:lnTo>
                  <a:lnTo>
                    <a:pt x="1032" y="470"/>
                  </a:lnTo>
                  <a:lnTo>
                    <a:pt x="1028" y="470"/>
                  </a:lnTo>
                  <a:lnTo>
                    <a:pt x="1026" y="470"/>
                  </a:lnTo>
                  <a:lnTo>
                    <a:pt x="1020" y="472"/>
                  </a:lnTo>
                  <a:lnTo>
                    <a:pt x="1014" y="474"/>
                  </a:lnTo>
                  <a:lnTo>
                    <a:pt x="1010" y="474"/>
                  </a:lnTo>
                  <a:lnTo>
                    <a:pt x="1008" y="476"/>
                  </a:lnTo>
                  <a:lnTo>
                    <a:pt x="1008" y="476"/>
                  </a:lnTo>
                  <a:lnTo>
                    <a:pt x="1008" y="476"/>
                  </a:lnTo>
                  <a:lnTo>
                    <a:pt x="1006" y="478"/>
                  </a:lnTo>
                  <a:lnTo>
                    <a:pt x="1006" y="478"/>
                  </a:lnTo>
                  <a:lnTo>
                    <a:pt x="1006" y="478"/>
                  </a:lnTo>
                  <a:lnTo>
                    <a:pt x="1004" y="480"/>
                  </a:lnTo>
                  <a:lnTo>
                    <a:pt x="1004" y="480"/>
                  </a:lnTo>
                  <a:lnTo>
                    <a:pt x="1004" y="480"/>
                  </a:lnTo>
                  <a:lnTo>
                    <a:pt x="1000" y="486"/>
                  </a:lnTo>
                  <a:lnTo>
                    <a:pt x="998" y="490"/>
                  </a:lnTo>
                  <a:lnTo>
                    <a:pt x="996" y="492"/>
                  </a:lnTo>
                  <a:lnTo>
                    <a:pt x="996" y="494"/>
                  </a:lnTo>
                  <a:lnTo>
                    <a:pt x="994" y="494"/>
                  </a:lnTo>
                  <a:lnTo>
                    <a:pt x="994" y="494"/>
                  </a:lnTo>
                  <a:lnTo>
                    <a:pt x="994" y="496"/>
                  </a:lnTo>
                  <a:lnTo>
                    <a:pt x="990" y="496"/>
                  </a:lnTo>
                  <a:lnTo>
                    <a:pt x="986" y="498"/>
                  </a:lnTo>
                  <a:lnTo>
                    <a:pt x="986" y="498"/>
                  </a:lnTo>
                  <a:lnTo>
                    <a:pt x="986" y="498"/>
                  </a:lnTo>
                  <a:lnTo>
                    <a:pt x="984" y="498"/>
                  </a:lnTo>
                  <a:lnTo>
                    <a:pt x="984" y="498"/>
                  </a:lnTo>
                  <a:lnTo>
                    <a:pt x="984" y="500"/>
                  </a:lnTo>
                  <a:lnTo>
                    <a:pt x="982" y="500"/>
                  </a:lnTo>
                  <a:lnTo>
                    <a:pt x="982" y="500"/>
                  </a:lnTo>
                  <a:lnTo>
                    <a:pt x="982" y="502"/>
                  </a:lnTo>
                  <a:lnTo>
                    <a:pt x="982" y="504"/>
                  </a:lnTo>
                  <a:lnTo>
                    <a:pt x="982" y="504"/>
                  </a:lnTo>
                  <a:lnTo>
                    <a:pt x="982" y="504"/>
                  </a:lnTo>
                  <a:lnTo>
                    <a:pt x="982" y="506"/>
                  </a:lnTo>
                  <a:lnTo>
                    <a:pt x="982" y="510"/>
                  </a:lnTo>
                  <a:lnTo>
                    <a:pt x="982" y="512"/>
                  </a:lnTo>
                  <a:lnTo>
                    <a:pt x="982" y="514"/>
                  </a:lnTo>
                  <a:lnTo>
                    <a:pt x="982" y="514"/>
                  </a:lnTo>
                  <a:lnTo>
                    <a:pt x="982" y="514"/>
                  </a:lnTo>
                  <a:lnTo>
                    <a:pt x="982" y="514"/>
                  </a:lnTo>
                  <a:lnTo>
                    <a:pt x="980" y="514"/>
                  </a:lnTo>
                  <a:lnTo>
                    <a:pt x="978" y="514"/>
                  </a:lnTo>
                  <a:lnTo>
                    <a:pt x="974" y="514"/>
                  </a:lnTo>
                  <a:lnTo>
                    <a:pt x="972" y="514"/>
                  </a:lnTo>
                  <a:lnTo>
                    <a:pt x="968" y="514"/>
                  </a:lnTo>
                  <a:lnTo>
                    <a:pt x="966" y="514"/>
                  </a:lnTo>
                  <a:lnTo>
                    <a:pt x="966" y="514"/>
                  </a:lnTo>
                  <a:lnTo>
                    <a:pt x="966" y="514"/>
                  </a:lnTo>
                  <a:lnTo>
                    <a:pt x="964" y="514"/>
                  </a:lnTo>
                  <a:lnTo>
                    <a:pt x="964" y="514"/>
                  </a:lnTo>
                  <a:lnTo>
                    <a:pt x="962" y="516"/>
                  </a:lnTo>
                  <a:lnTo>
                    <a:pt x="962" y="518"/>
                  </a:lnTo>
                  <a:lnTo>
                    <a:pt x="962" y="518"/>
                  </a:lnTo>
                  <a:lnTo>
                    <a:pt x="962" y="518"/>
                  </a:lnTo>
                  <a:lnTo>
                    <a:pt x="962" y="520"/>
                  </a:lnTo>
                  <a:lnTo>
                    <a:pt x="962" y="520"/>
                  </a:lnTo>
                  <a:lnTo>
                    <a:pt x="962" y="520"/>
                  </a:lnTo>
                  <a:lnTo>
                    <a:pt x="964" y="522"/>
                  </a:lnTo>
                  <a:lnTo>
                    <a:pt x="964" y="524"/>
                  </a:lnTo>
                  <a:lnTo>
                    <a:pt x="966" y="528"/>
                  </a:lnTo>
                  <a:lnTo>
                    <a:pt x="968" y="532"/>
                  </a:lnTo>
                  <a:lnTo>
                    <a:pt x="970" y="536"/>
                  </a:lnTo>
                  <a:lnTo>
                    <a:pt x="972" y="540"/>
                  </a:lnTo>
                  <a:lnTo>
                    <a:pt x="974" y="546"/>
                  </a:lnTo>
                  <a:lnTo>
                    <a:pt x="976" y="550"/>
                  </a:lnTo>
                  <a:lnTo>
                    <a:pt x="978" y="554"/>
                  </a:lnTo>
                  <a:lnTo>
                    <a:pt x="980" y="556"/>
                  </a:lnTo>
                  <a:lnTo>
                    <a:pt x="980" y="558"/>
                  </a:lnTo>
                  <a:lnTo>
                    <a:pt x="980" y="558"/>
                  </a:lnTo>
                  <a:lnTo>
                    <a:pt x="980" y="560"/>
                  </a:lnTo>
                  <a:lnTo>
                    <a:pt x="980" y="560"/>
                  </a:lnTo>
                  <a:lnTo>
                    <a:pt x="980" y="560"/>
                  </a:lnTo>
                  <a:lnTo>
                    <a:pt x="978" y="562"/>
                  </a:lnTo>
                  <a:lnTo>
                    <a:pt x="978" y="564"/>
                  </a:lnTo>
                  <a:lnTo>
                    <a:pt x="976" y="564"/>
                  </a:lnTo>
                  <a:lnTo>
                    <a:pt x="972" y="566"/>
                  </a:lnTo>
                  <a:lnTo>
                    <a:pt x="966" y="568"/>
                  </a:lnTo>
                  <a:lnTo>
                    <a:pt x="960" y="568"/>
                  </a:lnTo>
                  <a:lnTo>
                    <a:pt x="956" y="570"/>
                  </a:lnTo>
                  <a:lnTo>
                    <a:pt x="950" y="572"/>
                  </a:lnTo>
                  <a:lnTo>
                    <a:pt x="944" y="574"/>
                  </a:lnTo>
                  <a:lnTo>
                    <a:pt x="938" y="574"/>
                  </a:lnTo>
                  <a:lnTo>
                    <a:pt x="934" y="576"/>
                  </a:lnTo>
                  <a:lnTo>
                    <a:pt x="930" y="578"/>
                  </a:lnTo>
                  <a:lnTo>
                    <a:pt x="926" y="580"/>
                  </a:lnTo>
                  <a:lnTo>
                    <a:pt x="924" y="580"/>
                  </a:lnTo>
                  <a:lnTo>
                    <a:pt x="920" y="582"/>
                  </a:lnTo>
                  <a:lnTo>
                    <a:pt x="918" y="582"/>
                  </a:lnTo>
                  <a:lnTo>
                    <a:pt x="914" y="582"/>
                  </a:lnTo>
                  <a:lnTo>
                    <a:pt x="906" y="580"/>
                  </a:lnTo>
                  <a:lnTo>
                    <a:pt x="902" y="580"/>
                  </a:lnTo>
                  <a:lnTo>
                    <a:pt x="898" y="580"/>
                  </a:lnTo>
                  <a:lnTo>
                    <a:pt x="894" y="580"/>
                  </a:lnTo>
                  <a:lnTo>
                    <a:pt x="894" y="580"/>
                  </a:lnTo>
                  <a:lnTo>
                    <a:pt x="894" y="580"/>
                  </a:lnTo>
                  <a:lnTo>
                    <a:pt x="892" y="582"/>
                  </a:lnTo>
                  <a:lnTo>
                    <a:pt x="892" y="582"/>
                  </a:lnTo>
                  <a:lnTo>
                    <a:pt x="890" y="582"/>
                  </a:lnTo>
                  <a:lnTo>
                    <a:pt x="888" y="582"/>
                  </a:lnTo>
                  <a:lnTo>
                    <a:pt x="888" y="582"/>
                  </a:lnTo>
                  <a:lnTo>
                    <a:pt x="888" y="582"/>
                  </a:lnTo>
                  <a:lnTo>
                    <a:pt x="886" y="584"/>
                  </a:lnTo>
                  <a:lnTo>
                    <a:pt x="886" y="584"/>
                  </a:lnTo>
                  <a:lnTo>
                    <a:pt x="886" y="584"/>
                  </a:lnTo>
                  <a:lnTo>
                    <a:pt x="884" y="588"/>
                  </a:lnTo>
                  <a:lnTo>
                    <a:pt x="884" y="588"/>
                  </a:lnTo>
                  <a:lnTo>
                    <a:pt x="882" y="588"/>
                  </a:lnTo>
                  <a:lnTo>
                    <a:pt x="882" y="592"/>
                  </a:lnTo>
                  <a:lnTo>
                    <a:pt x="882" y="592"/>
                  </a:lnTo>
                  <a:lnTo>
                    <a:pt x="882" y="592"/>
                  </a:lnTo>
                  <a:lnTo>
                    <a:pt x="880" y="596"/>
                  </a:lnTo>
                  <a:lnTo>
                    <a:pt x="880" y="596"/>
                  </a:lnTo>
                  <a:lnTo>
                    <a:pt x="880" y="596"/>
                  </a:lnTo>
                  <a:lnTo>
                    <a:pt x="882" y="598"/>
                  </a:lnTo>
                  <a:lnTo>
                    <a:pt x="882" y="598"/>
                  </a:lnTo>
                  <a:lnTo>
                    <a:pt x="882" y="598"/>
                  </a:lnTo>
                  <a:lnTo>
                    <a:pt x="882" y="600"/>
                  </a:lnTo>
                  <a:lnTo>
                    <a:pt x="882" y="600"/>
                  </a:lnTo>
                  <a:lnTo>
                    <a:pt x="882" y="600"/>
                  </a:lnTo>
                  <a:lnTo>
                    <a:pt x="886" y="604"/>
                  </a:lnTo>
                  <a:lnTo>
                    <a:pt x="888" y="606"/>
                  </a:lnTo>
                  <a:lnTo>
                    <a:pt x="888" y="606"/>
                  </a:lnTo>
                  <a:lnTo>
                    <a:pt x="888" y="606"/>
                  </a:lnTo>
                  <a:lnTo>
                    <a:pt x="888" y="606"/>
                  </a:lnTo>
                  <a:lnTo>
                    <a:pt x="888" y="608"/>
                  </a:lnTo>
                  <a:lnTo>
                    <a:pt x="888" y="608"/>
                  </a:lnTo>
                  <a:lnTo>
                    <a:pt x="888" y="610"/>
                  </a:lnTo>
                  <a:lnTo>
                    <a:pt x="888" y="612"/>
                  </a:lnTo>
                  <a:lnTo>
                    <a:pt x="888" y="614"/>
                  </a:lnTo>
                  <a:lnTo>
                    <a:pt x="888" y="616"/>
                  </a:lnTo>
                  <a:lnTo>
                    <a:pt x="886" y="620"/>
                  </a:lnTo>
                  <a:lnTo>
                    <a:pt x="886" y="624"/>
                  </a:lnTo>
                  <a:lnTo>
                    <a:pt x="886" y="628"/>
                  </a:lnTo>
                  <a:lnTo>
                    <a:pt x="886" y="630"/>
                  </a:lnTo>
                  <a:lnTo>
                    <a:pt x="886" y="632"/>
                  </a:lnTo>
                  <a:lnTo>
                    <a:pt x="886" y="632"/>
                  </a:lnTo>
                  <a:lnTo>
                    <a:pt x="886" y="634"/>
                  </a:lnTo>
                  <a:lnTo>
                    <a:pt x="888" y="636"/>
                  </a:lnTo>
                  <a:lnTo>
                    <a:pt x="888" y="636"/>
                  </a:lnTo>
                  <a:lnTo>
                    <a:pt x="888" y="636"/>
                  </a:lnTo>
                  <a:lnTo>
                    <a:pt x="890" y="638"/>
                  </a:lnTo>
                  <a:lnTo>
                    <a:pt x="890" y="638"/>
                  </a:lnTo>
                  <a:lnTo>
                    <a:pt x="890" y="638"/>
                  </a:lnTo>
                  <a:lnTo>
                    <a:pt x="892" y="640"/>
                  </a:lnTo>
                  <a:lnTo>
                    <a:pt x="892" y="640"/>
                  </a:lnTo>
                  <a:lnTo>
                    <a:pt x="892" y="640"/>
                  </a:lnTo>
                  <a:lnTo>
                    <a:pt x="894" y="642"/>
                  </a:lnTo>
                  <a:lnTo>
                    <a:pt x="900" y="644"/>
                  </a:lnTo>
                  <a:lnTo>
                    <a:pt x="902" y="644"/>
                  </a:lnTo>
                  <a:lnTo>
                    <a:pt x="906" y="646"/>
                  </a:lnTo>
                  <a:lnTo>
                    <a:pt x="908" y="646"/>
                  </a:lnTo>
                  <a:lnTo>
                    <a:pt x="908" y="646"/>
                  </a:lnTo>
                  <a:lnTo>
                    <a:pt x="908" y="648"/>
                  </a:lnTo>
                  <a:lnTo>
                    <a:pt x="908" y="648"/>
                  </a:lnTo>
                  <a:lnTo>
                    <a:pt x="908" y="648"/>
                  </a:lnTo>
                  <a:lnTo>
                    <a:pt x="908" y="650"/>
                  </a:lnTo>
                  <a:lnTo>
                    <a:pt x="908" y="652"/>
                  </a:lnTo>
                  <a:lnTo>
                    <a:pt x="908" y="652"/>
                  </a:lnTo>
                  <a:lnTo>
                    <a:pt x="908" y="652"/>
                  </a:lnTo>
                  <a:lnTo>
                    <a:pt x="910" y="654"/>
                  </a:lnTo>
                  <a:lnTo>
                    <a:pt x="910" y="654"/>
                  </a:lnTo>
                  <a:lnTo>
                    <a:pt x="910" y="656"/>
                  </a:lnTo>
                  <a:lnTo>
                    <a:pt x="910" y="658"/>
                  </a:lnTo>
                  <a:lnTo>
                    <a:pt x="912" y="660"/>
                  </a:lnTo>
                  <a:lnTo>
                    <a:pt x="914" y="664"/>
                  </a:lnTo>
                  <a:lnTo>
                    <a:pt x="914" y="664"/>
                  </a:lnTo>
                  <a:lnTo>
                    <a:pt x="914" y="664"/>
                  </a:lnTo>
                  <a:lnTo>
                    <a:pt x="916" y="666"/>
                  </a:lnTo>
                  <a:lnTo>
                    <a:pt x="916" y="666"/>
                  </a:lnTo>
                  <a:lnTo>
                    <a:pt x="918" y="666"/>
                  </a:lnTo>
                  <a:lnTo>
                    <a:pt x="920" y="666"/>
                  </a:lnTo>
                  <a:lnTo>
                    <a:pt x="920" y="666"/>
                  </a:lnTo>
                  <a:lnTo>
                    <a:pt x="920" y="666"/>
                  </a:lnTo>
                  <a:lnTo>
                    <a:pt x="920" y="666"/>
                  </a:lnTo>
                  <a:lnTo>
                    <a:pt x="916" y="668"/>
                  </a:lnTo>
                  <a:lnTo>
                    <a:pt x="914" y="668"/>
                  </a:lnTo>
                  <a:lnTo>
                    <a:pt x="910" y="670"/>
                  </a:lnTo>
                  <a:lnTo>
                    <a:pt x="908" y="672"/>
                  </a:lnTo>
                  <a:lnTo>
                    <a:pt x="908" y="672"/>
                  </a:lnTo>
                  <a:lnTo>
                    <a:pt x="906" y="672"/>
                  </a:lnTo>
                  <a:lnTo>
                    <a:pt x="906" y="672"/>
                  </a:lnTo>
                  <a:lnTo>
                    <a:pt x="904" y="672"/>
                  </a:lnTo>
                  <a:lnTo>
                    <a:pt x="904" y="670"/>
                  </a:lnTo>
                  <a:lnTo>
                    <a:pt x="904" y="670"/>
                  </a:lnTo>
                  <a:lnTo>
                    <a:pt x="902" y="668"/>
                  </a:lnTo>
                  <a:lnTo>
                    <a:pt x="900" y="666"/>
                  </a:lnTo>
                  <a:lnTo>
                    <a:pt x="898" y="664"/>
                  </a:lnTo>
                  <a:lnTo>
                    <a:pt x="894" y="662"/>
                  </a:lnTo>
                  <a:lnTo>
                    <a:pt x="892" y="658"/>
                  </a:lnTo>
                  <a:lnTo>
                    <a:pt x="888" y="656"/>
                  </a:lnTo>
                  <a:lnTo>
                    <a:pt x="884" y="652"/>
                  </a:lnTo>
                  <a:lnTo>
                    <a:pt x="880" y="648"/>
                  </a:lnTo>
                  <a:lnTo>
                    <a:pt x="878" y="646"/>
                  </a:lnTo>
                  <a:lnTo>
                    <a:pt x="874" y="642"/>
                  </a:lnTo>
                  <a:lnTo>
                    <a:pt x="870" y="640"/>
                  </a:lnTo>
                  <a:lnTo>
                    <a:pt x="868" y="638"/>
                  </a:lnTo>
                  <a:lnTo>
                    <a:pt x="866" y="638"/>
                  </a:lnTo>
                  <a:lnTo>
                    <a:pt x="864" y="636"/>
                  </a:lnTo>
                  <a:lnTo>
                    <a:pt x="862" y="636"/>
                  </a:lnTo>
                  <a:lnTo>
                    <a:pt x="860" y="636"/>
                  </a:lnTo>
                  <a:lnTo>
                    <a:pt x="856" y="636"/>
                  </a:lnTo>
                  <a:lnTo>
                    <a:pt x="856" y="636"/>
                  </a:lnTo>
                  <a:lnTo>
                    <a:pt x="856" y="636"/>
                  </a:lnTo>
                  <a:lnTo>
                    <a:pt x="856" y="636"/>
                  </a:lnTo>
                  <a:lnTo>
                    <a:pt x="856" y="636"/>
                  </a:lnTo>
                  <a:lnTo>
                    <a:pt x="856" y="636"/>
                  </a:lnTo>
                  <a:lnTo>
                    <a:pt x="854" y="634"/>
                  </a:lnTo>
                  <a:lnTo>
                    <a:pt x="852" y="632"/>
                  </a:lnTo>
                  <a:lnTo>
                    <a:pt x="850" y="630"/>
                  </a:lnTo>
                  <a:lnTo>
                    <a:pt x="850" y="628"/>
                  </a:lnTo>
                  <a:lnTo>
                    <a:pt x="848" y="628"/>
                  </a:lnTo>
                  <a:lnTo>
                    <a:pt x="848" y="628"/>
                  </a:lnTo>
                  <a:lnTo>
                    <a:pt x="846" y="628"/>
                  </a:lnTo>
                  <a:lnTo>
                    <a:pt x="846" y="628"/>
                  </a:lnTo>
                  <a:lnTo>
                    <a:pt x="846" y="628"/>
                  </a:lnTo>
                  <a:lnTo>
                    <a:pt x="844" y="628"/>
                  </a:lnTo>
                  <a:lnTo>
                    <a:pt x="842" y="628"/>
                  </a:lnTo>
                  <a:lnTo>
                    <a:pt x="842" y="628"/>
                  </a:lnTo>
                  <a:lnTo>
                    <a:pt x="842" y="628"/>
                  </a:lnTo>
                  <a:lnTo>
                    <a:pt x="840" y="628"/>
                  </a:lnTo>
                  <a:lnTo>
                    <a:pt x="838" y="630"/>
                  </a:lnTo>
                  <a:lnTo>
                    <a:pt x="836" y="632"/>
                  </a:lnTo>
                  <a:lnTo>
                    <a:pt x="834" y="634"/>
                  </a:lnTo>
                  <a:lnTo>
                    <a:pt x="834" y="634"/>
                  </a:lnTo>
                  <a:lnTo>
                    <a:pt x="834" y="636"/>
                  </a:lnTo>
                  <a:lnTo>
                    <a:pt x="832" y="638"/>
                  </a:lnTo>
                  <a:lnTo>
                    <a:pt x="832" y="638"/>
                  </a:lnTo>
                  <a:lnTo>
                    <a:pt x="832" y="638"/>
                  </a:lnTo>
                  <a:lnTo>
                    <a:pt x="832" y="640"/>
                  </a:lnTo>
                  <a:lnTo>
                    <a:pt x="832" y="640"/>
                  </a:lnTo>
                  <a:lnTo>
                    <a:pt x="832" y="640"/>
                  </a:lnTo>
                  <a:lnTo>
                    <a:pt x="832" y="642"/>
                  </a:lnTo>
                  <a:lnTo>
                    <a:pt x="832" y="644"/>
                  </a:lnTo>
                  <a:lnTo>
                    <a:pt x="832" y="644"/>
                  </a:lnTo>
                  <a:lnTo>
                    <a:pt x="832" y="644"/>
                  </a:lnTo>
                  <a:lnTo>
                    <a:pt x="834" y="644"/>
                  </a:lnTo>
                  <a:lnTo>
                    <a:pt x="834" y="644"/>
                  </a:lnTo>
                  <a:lnTo>
                    <a:pt x="834" y="644"/>
                  </a:lnTo>
                  <a:lnTo>
                    <a:pt x="836" y="646"/>
                  </a:lnTo>
                  <a:lnTo>
                    <a:pt x="838" y="646"/>
                  </a:lnTo>
                  <a:lnTo>
                    <a:pt x="840" y="648"/>
                  </a:lnTo>
                  <a:lnTo>
                    <a:pt x="840" y="648"/>
                  </a:lnTo>
                  <a:lnTo>
                    <a:pt x="842" y="650"/>
                  </a:lnTo>
                  <a:lnTo>
                    <a:pt x="844" y="652"/>
                  </a:lnTo>
                  <a:lnTo>
                    <a:pt x="846" y="654"/>
                  </a:lnTo>
                  <a:lnTo>
                    <a:pt x="844" y="654"/>
                  </a:lnTo>
                  <a:lnTo>
                    <a:pt x="846" y="656"/>
                  </a:lnTo>
                  <a:lnTo>
                    <a:pt x="846" y="656"/>
                  </a:lnTo>
                  <a:lnTo>
                    <a:pt x="846" y="658"/>
                  </a:lnTo>
                  <a:lnTo>
                    <a:pt x="846" y="660"/>
                  </a:lnTo>
                  <a:lnTo>
                    <a:pt x="846" y="660"/>
                  </a:lnTo>
                  <a:lnTo>
                    <a:pt x="846" y="662"/>
                  </a:lnTo>
                  <a:lnTo>
                    <a:pt x="846" y="662"/>
                  </a:lnTo>
                  <a:lnTo>
                    <a:pt x="844" y="662"/>
                  </a:lnTo>
                  <a:lnTo>
                    <a:pt x="844" y="662"/>
                  </a:lnTo>
                  <a:lnTo>
                    <a:pt x="842" y="660"/>
                  </a:lnTo>
                  <a:lnTo>
                    <a:pt x="838" y="656"/>
                  </a:lnTo>
                  <a:lnTo>
                    <a:pt x="836" y="652"/>
                  </a:lnTo>
                  <a:lnTo>
                    <a:pt x="834" y="650"/>
                  </a:lnTo>
                  <a:lnTo>
                    <a:pt x="832" y="646"/>
                  </a:lnTo>
                  <a:lnTo>
                    <a:pt x="828" y="642"/>
                  </a:lnTo>
                  <a:lnTo>
                    <a:pt x="826" y="638"/>
                  </a:lnTo>
                  <a:lnTo>
                    <a:pt x="824" y="636"/>
                  </a:lnTo>
                  <a:lnTo>
                    <a:pt x="822" y="632"/>
                  </a:lnTo>
                  <a:lnTo>
                    <a:pt x="820" y="628"/>
                  </a:lnTo>
                  <a:lnTo>
                    <a:pt x="818" y="626"/>
                  </a:lnTo>
                  <a:lnTo>
                    <a:pt x="818" y="626"/>
                  </a:lnTo>
                  <a:lnTo>
                    <a:pt x="818" y="626"/>
                  </a:lnTo>
                  <a:lnTo>
                    <a:pt x="818" y="624"/>
                  </a:lnTo>
                  <a:lnTo>
                    <a:pt x="816" y="624"/>
                  </a:lnTo>
                  <a:lnTo>
                    <a:pt x="816" y="624"/>
                  </a:lnTo>
                  <a:lnTo>
                    <a:pt x="814" y="624"/>
                  </a:lnTo>
                  <a:lnTo>
                    <a:pt x="814" y="624"/>
                  </a:lnTo>
                  <a:lnTo>
                    <a:pt x="814" y="624"/>
                  </a:lnTo>
                  <a:lnTo>
                    <a:pt x="812" y="626"/>
                  </a:lnTo>
                  <a:lnTo>
                    <a:pt x="812" y="626"/>
                  </a:lnTo>
                  <a:lnTo>
                    <a:pt x="812" y="626"/>
                  </a:lnTo>
                  <a:lnTo>
                    <a:pt x="812" y="626"/>
                  </a:lnTo>
                  <a:lnTo>
                    <a:pt x="812" y="628"/>
                  </a:lnTo>
                  <a:lnTo>
                    <a:pt x="810" y="628"/>
                  </a:lnTo>
                  <a:lnTo>
                    <a:pt x="810" y="632"/>
                  </a:lnTo>
                  <a:lnTo>
                    <a:pt x="810" y="632"/>
                  </a:lnTo>
                  <a:lnTo>
                    <a:pt x="808" y="634"/>
                  </a:lnTo>
                  <a:lnTo>
                    <a:pt x="806" y="636"/>
                  </a:lnTo>
                  <a:lnTo>
                    <a:pt x="804" y="638"/>
                  </a:lnTo>
                  <a:lnTo>
                    <a:pt x="804" y="638"/>
                  </a:lnTo>
                  <a:lnTo>
                    <a:pt x="802" y="638"/>
                  </a:lnTo>
                  <a:lnTo>
                    <a:pt x="800" y="640"/>
                  </a:lnTo>
                  <a:lnTo>
                    <a:pt x="800" y="640"/>
                  </a:lnTo>
                  <a:lnTo>
                    <a:pt x="800" y="642"/>
                  </a:lnTo>
                  <a:lnTo>
                    <a:pt x="800" y="646"/>
                  </a:lnTo>
                  <a:lnTo>
                    <a:pt x="800" y="646"/>
                  </a:lnTo>
                  <a:lnTo>
                    <a:pt x="798" y="646"/>
                  </a:lnTo>
                  <a:lnTo>
                    <a:pt x="798" y="650"/>
                  </a:lnTo>
                  <a:lnTo>
                    <a:pt x="798" y="652"/>
                  </a:lnTo>
                  <a:lnTo>
                    <a:pt x="798" y="654"/>
                  </a:lnTo>
                  <a:lnTo>
                    <a:pt x="800" y="658"/>
                  </a:lnTo>
                  <a:lnTo>
                    <a:pt x="800" y="662"/>
                  </a:lnTo>
                  <a:lnTo>
                    <a:pt x="802" y="666"/>
                  </a:lnTo>
                  <a:lnTo>
                    <a:pt x="804" y="672"/>
                  </a:lnTo>
                  <a:lnTo>
                    <a:pt x="804" y="678"/>
                  </a:lnTo>
                  <a:lnTo>
                    <a:pt x="808" y="684"/>
                  </a:lnTo>
                  <a:lnTo>
                    <a:pt x="810" y="690"/>
                  </a:lnTo>
                  <a:lnTo>
                    <a:pt x="814" y="702"/>
                  </a:lnTo>
                  <a:lnTo>
                    <a:pt x="820" y="716"/>
                  </a:lnTo>
                  <a:lnTo>
                    <a:pt x="822" y="722"/>
                  </a:lnTo>
                  <a:lnTo>
                    <a:pt x="824" y="728"/>
                  </a:lnTo>
                  <a:lnTo>
                    <a:pt x="828" y="732"/>
                  </a:lnTo>
                  <a:lnTo>
                    <a:pt x="830" y="738"/>
                  </a:lnTo>
                  <a:lnTo>
                    <a:pt x="832" y="742"/>
                  </a:lnTo>
                  <a:lnTo>
                    <a:pt x="834" y="746"/>
                  </a:lnTo>
                  <a:lnTo>
                    <a:pt x="836" y="750"/>
                  </a:lnTo>
                  <a:lnTo>
                    <a:pt x="838" y="752"/>
                  </a:lnTo>
                  <a:lnTo>
                    <a:pt x="840" y="754"/>
                  </a:lnTo>
                  <a:lnTo>
                    <a:pt x="842" y="756"/>
                  </a:lnTo>
                  <a:lnTo>
                    <a:pt x="844" y="760"/>
                  </a:lnTo>
                  <a:lnTo>
                    <a:pt x="844" y="760"/>
                  </a:lnTo>
                  <a:lnTo>
                    <a:pt x="846" y="760"/>
                  </a:lnTo>
                  <a:lnTo>
                    <a:pt x="842" y="760"/>
                  </a:lnTo>
                  <a:lnTo>
                    <a:pt x="836" y="758"/>
                  </a:lnTo>
                  <a:lnTo>
                    <a:pt x="832" y="758"/>
                  </a:lnTo>
                  <a:lnTo>
                    <a:pt x="832" y="758"/>
                  </a:lnTo>
                  <a:lnTo>
                    <a:pt x="832" y="758"/>
                  </a:lnTo>
                  <a:lnTo>
                    <a:pt x="830" y="760"/>
                  </a:lnTo>
                  <a:lnTo>
                    <a:pt x="830" y="760"/>
                  </a:lnTo>
                  <a:lnTo>
                    <a:pt x="828" y="760"/>
                  </a:lnTo>
                  <a:lnTo>
                    <a:pt x="826" y="760"/>
                  </a:lnTo>
                  <a:lnTo>
                    <a:pt x="826" y="760"/>
                  </a:lnTo>
                  <a:lnTo>
                    <a:pt x="826" y="760"/>
                  </a:lnTo>
                  <a:lnTo>
                    <a:pt x="824" y="762"/>
                  </a:lnTo>
                  <a:lnTo>
                    <a:pt x="824" y="762"/>
                  </a:lnTo>
                  <a:lnTo>
                    <a:pt x="824" y="762"/>
                  </a:lnTo>
                  <a:lnTo>
                    <a:pt x="822" y="766"/>
                  </a:lnTo>
                  <a:lnTo>
                    <a:pt x="820" y="768"/>
                  </a:lnTo>
                  <a:lnTo>
                    <a:pt x="818" y="772"/>
                  </a:lnTo>
                  <a:lnTo>
                    <a:pt x="816" y="774"/>
                  </a:lnTo>
                  <a:lnTo>
                    <a:pt x="816" y="776"/>
                  </a:lnTo>
                  <a:lnTo>
                    <a:pt x="816" y="776"/>
                  </a:lnTo>
                  <a:lnTo>
                    <a:pt x="816" y="776"/>
                  </a:lnTo>
                  <a:lnTo>
                    <a:pt x="816" y="778"/>
                  </a:lnTo>
                  <a:lnTo>
                    <a:pt x="816" y="778"/>
                  </a:lnTo>
                  <a:lnTo>
                    <a:pt x="816" y="778"/>
                  </a:lnTo>
                  <a:lnTo>
                    <a:pt x="816" y="780"/>
                  </a:lnTo>
                  <a:lnTo>
                    <a:pt x="816" y="780"/>
                  </a:lnTo>
                  <a:lnTo>
                    <a:pt x="816" y="780"/>
                  </a:lnTo>
                  <a:lnTo>
                    <a:pt x="814" y="782"/>
                  </a:lnTo>
                  <a:lnTo>
                    <a:pt x="810" y="786"/>
                  </a:lnTo>
                  <a:lnTo>
                    <a:pt x="806" y="790"/>
                  </a:lnTo>
                  <a:lnTo>
                    <a:pt x="806" y="792"/>
                  </a:lnTo>
                  <a:lnTo>
                    <a:pt x="804" y="788"/>
                  </a:lnTo>
                  <a:lnTo>
                    <a:pt x="804" y="782"/>
                  </a:lnTo>
                  <a:lnTo>
                    <a:pt x="804" y="778"/>
                  </a:lnTo>
                  <a:lnTo>
                    <a:pt x="802" y="774"/>
                  </a:lnTo>
                  <a:lnTo>
                    <a:pt x="802" y="770"/>
                  </a:lnTo>
                  <a:lnTo>
                    <a:pt x="802" y="766"/>
                  </a:lnTo>
                  <a:lnTo>
                    <a:pt x="800" y="756"/>
                  </a:lnTo>
                  <a:lnTo>
                    <a:pt x="798" y="746"/>
                  </a:lnTo>
                  <a:lnTo>
                    <a:pt x="796" y="734"/>
                  </a:lnTo>
                  <a:lnTo>
                    <a:pt x="794" y="722"/>
                  </a:lnTo>
                  <a:lnTo>
                    <a:pt x="790" y="696"/>
                  </a:lnTo>
                  <a:lnTo>
                    <a:pt x="788" y="684"/>
                  </a:lnTo>
                  <a:lnTo>
                    <a:pt x="786" y="672"/>
                  </a:lnTo>
                  <a:lnTo>
                    <a:pt x="784" y="660"/>
                  </a:lnTo>
                  <a:lnTo>
                    <a:pt x="782" y="650"/>
                  </a:lnTo>
                  <a:lnTo>
                    <a:pt x="780" y="640"/>
                  </a:lnTo>
                  <a:lnTo>
                    <a:pt x="780" y="634"/>
                  </a:lnTo>
                  <a:lnTo>
                    <a:pt x="778" y="630"/>
                  </a:lnTo>
                  <a:lnTo>
                    <a:pt x="778" y="626"/>
                  </a:lnTo>
                  <a:lnTo>
                    <a:pt x="776" y="624"/>
                  </a:lnTo>
                  <a:lnTo>
                    <a:pt x="776" y="620"/>
                  </a:lnTo>
                  <a:lnTo>
                    <a:pt x="774" y="618"/>
                  </a:lnTo>
                  <a:lnTo>
                    <a:pt x="772" y="614"/>
                  </a:lnTo>
                  <a:lnTo>
                    <a:pt x="772" y="614"/>
                  </a:lnTo>
                  <a:lnTo>
                    <a:pt x="772" y="614"/>
                  </a:lnTo>
                  <a:lnTo>
                    <a:pt x="770" y="612"/>
                  </a:lnTo>
                  <a:lnTo>
                    <a:pt x="770" y="612"/>
                  </a:lnTo>
                  <a:lnTo>
                    <a:pt x="770" y="610"/>
                  </a:lnTo>
                  <a:lnTo>
                    <a:pt x="768" y="610"/>
                  </a:lnTo>
                  <a:lnTo>
                    <a:pt x="768" y="610"/>
                  </a:lnTo>
                  <a:lnTo>
                    <a:pt x="766" y="608"/>
                  </a:lnTo>
                  <a:lnTo>
                    <a:pt x="764" y="608"/>
                  </a:lnTo>
                  <a:lnTo>
                    <a:pt x="764" y="608"/>
                  </a:lnTo>
                  <a:lnTo>
                    <a:pt x="762" y="608"/>
                  </a:lnTo>
                  <a:lnTo>
                    <a:pt x="760" y="610"/>
                  </a:lnTo>
                  <a:lnTo>
                    <a:pt x="760" y="610"/>
                  </a:lnTo>
                  <a:lnTo>
                    <a:pt x="760" y="610"/>
                  </a:lnTo>
                  <a:lnTo>
                    <a:pt x="758" y="610"/>
                  </a:lnTo>
                  <a:lnTo>
                    <a:pt x="758" y="610"/>
                  </a:lnTo>
                  <a:lnTo>
                    <a:pt x="756" y="612"/>
                  </a:lnTo>
                  <a:lnTo>
                    <a:pt x="754" y="614"/>
                  </a:lnTo>
                  <a:lnTo>
                    <a:pt x="752" y="616"/>
                  </a:lnTo>
                  <a:lnTo>
                    <a:pt x="750" y="620"/>
                  </a:lnTo>
                  <a:lnTo>
                    <a:pt x="748" y="622"/>
                  </a:lnTo>
                  <a:lnTo>
                    <a:pt x="744" y="630"/>
                  </a:lnTo>
                  <a:lnTo>
                    <a:pt x="740" y="636"/>
                  </a:lnTo>
                  <a:lnTo>
                    <a:pt x="738" y="638"/>
                  </a:lnTo>
                  <a:lnTo>
                    <a:pt x="736" y="642"/>
                  </a:lnTo>
                  <a:lnTo>
                    <a:pt x="736" y="646"/>
                  </a:lnTo>
                  <a:lnTo>
                    <a:pt x="736" y="646"/>
                  </a:lnTo>
                  <a:lnTo>
                    <a:pt x="734" y="646"/>
                  </a:lnTo>
                  <a:lnTo>
                    <a:pt x="734" y="652"/>
                  </a:lnTo>
                  <a:lnTo>
                    <a:pt x="734" y="658"/>
                  </a:lnTo>
                  <a:lnTo>
                    <a:pt x="734" y="664"/>
                  </a:lnTo>
                  <a:lnTo>
                    <a:pt x="734" y="672"/>
                  </a:lnTo>
                  <a:lnTo>
                    <a:pt x="736" y="678"/>
                  </a:lnTo>
                  <a:lnTo>
                    <a:pt x="736" y="684"/>
                  </a:lnTo>
                  <a:lnTo>
                    <a:pt x="736" y="690"/>
                  </a:lnTo>
                  <a:lnTo>
                    <a:pt x="738" y="696"/>
                  </a:lnTo>
                  <a:lnTo>
                    <a:pt x="738" y="696"/>
                  </a:lnTo>
                  <a:lnTo>
                    <a:pt x="738" y="696"/>
                  </a:lnTo>
                  <a:lnTo>
                    <a:pt x="740" y="700"/>
                  </a:lnTo>
                  <a:lnTo>
                    <a:pt x="744" y="706"/>
                  </a:lnTo>
                  <a:lnTo>
                    <a:pt x="746" y="710"/>
                  </a:lnTo>
                  <a:lnTo>
                    <a:pt x="748" y="714"/>
                  </a:lnTo>
                  <a:lnTo>
                    <a:pt x="750" y="720"/>
                  </a:lnTo>
                  <a:lnTo>
                    <a:pt x="752" y="726"/>
                  </a:lnTo>
                  <a:lnTo>
                    <a:pt x="752" y="728"/>
                  </a:lnTo>
                  <a:lnTo>
                    <a:pt x="752" y="732"/>
                  </a:lnTo>
                  <a:lnTo>
                    <a:pt x="750" y="736"/>
                  </a:lnTo>
                  <a:lnTo>
                    <a:pt x="750" y="742"/>
                  </a:lnTo>
                  <a:lnTo>
                    <a:pt x="750" y="746"/>
                  </a:lnTo>
                  <a:lnTo>
                    <a:pt x="748" y="752"/>
                  </a:lnTo>
                  <a:lnTo>
                    <a:pt x="744" y="764"/>
                  </a:lnTo>
                  <a:lnTo>
                    <a:pt x="740" y="776"/>
                  </a:lnTo>
                  <a:lnTo>
                    <a:pt x="738" y="788"/>
                  </a:lnTo>
                  <a:lnTo>
                    <a:pt x="736" y="794"/>
                  </a:lnTo>
                  <a:lnTo>
                    <a:pt x="734" y="800"/>
                  </a:lnTo>
                  <a:lnTo>
                    <a:pt x="732" y="806"/>
                  </a:lnTo>
                  <a:lnTo>
                    <a:pt x="730" y="810"/>
                  </a:lnTo>
                  <a:lnTo>
                    <a:pt x="728" y="814"/>
                  </a:lnTo>
                  <a:lnTo>
                    <a:pt x="726" y="818"/>
                  </a:lnTo>
                  <a:lnTo>
                    <a:pt x="724" y="820"/>
                  </a:lnTo>
                  <a:lnTo>
                    <a:pt x="724" y="822"/>
                  </a:lnTo>
                  <a:lnTo>
                    <a:pt x="720" y="826"/>
                  </a:lnTo>
                  <a:lnTo>
                    <a:pt x="720" y="826"/>
                  </a:lnTo>
                  <a:lnTo>
                    <a:pt x="718" y="830"/>
                  </a:lnTo>
                  <a:lnTo>
                    <a:pt x="718" y="828"/>
                  </a:lnTo>
                  <a:lnTo>
                    <a:pt x="716" y="830"/>
                  </a:lnTo>
                  <a:lnTo>
                    <a:pt x="714" y="832"/>
                  </a:lnTo>
                  <a:lnTo>
                    <a:pt x="712" y="832"/>
                  </a:lnTo>
                  <a:lnTo>
                    <a:pt x="710" y="832"/>
                  </a:lnTo>
                  <a:lnTo>
                    <a:pt x="710" y="832"/>
                  </a:lnTo>
                  <a:lnTo>
                    <a:pt x="708" y="830"/>
                  </a:lnTo>
                  <a:lnTo>
                    <a:pt x="708" y="830"/>
                  </a:lnTo>
                  <a:lnTo>
                    <a:pt x="708" y="826"/>
                  </a:lnTo>
                  <a:lnTo>
                    <a:pt x="708" y="822"/>
                  </a:lnTo>
                  <a:lnTo>
                    <a:pt x="708" y="818"/>
                  </a:lnTo>
                  <a:lnTo>
                    <a:pt x="708" y="812"/>
                  </a:lnTo>
                  <a:lnTo>
                    <a:pt x="708" y="808"/>
                  </a:lnTo>
                  <a:lnTo>
                    <a:pt x="706" y="808"/>
                  </a:lnTo>
                  <a:lnTo>
                    <a:pt x="706" y="808"/>
                  </a:lnTo>
                  <a:lnTo>
                    <a:pt x="706" y="806"/>
                  </a:lnTo>
                  <a:lnTo>
                    <a:pt x="706" y="806"/>
                  </a:lnTo>
                  <a:lnTo>
                    <a:pt x="706" y="806"/>
                  </a:lnTo>
                  <a:lnTo>
                    <a:pt x="706" y="806"/>
                  </a:lnTo>
                  <a:lnTo>
                    <a:pt x="704" y="804"/>
                  </a:lnTo>
                  <a:lnTo>
                    <a:pt x="704" y="804"/>
                  </a:lnTo>
                  <a:lnTo>
                    <a:pt x="704" y="802"/>
                  </a:lnTo>
                  <a:lnTo>
                    <a:pt x="702" y="802"/>
                  </a:lnTo>
                  <a:lnTo>
                    <a:pt x="702" y="802"/>
                  </a:lnTo>
                  <a:lnTo>
                    <a:pt x="702" y="802"/>
                  </a:lnTo>
                  <a:lnTo>
                    <a:pt x="700" y="800"/>
                  </a:lnTo>
                  <a:lnTo>
                    <a:pt x="698" y="800"/>
                  </a:lnTo>
                  <a:lnTo>
                    <a:pt x="696" y="800"/>
                  </a:lnTo>
                  <a:lnTo>
                    <a:pt x="694" y="800"/>
                  </a:lnTo>
                  <a:lnTo>
                    <a:pt x="694" y="800"/>
                  </a:lnTo>
                  <a:lnTo>
                    <a:pt x="692" y="800"/>
                  </a:lnTo>
                  <a:lnTo>
                    <a:pt x="690" y="800"/>
                  </a:lnTo>
                  <a:lnTo>
                    <a:pt x="688" y="800"/>
                  </a:lnTo>
                  <a:lnTo>
                    <a:pt x="688" y="800"/>
                  </a:lnTo>
                  <a:lnTo>
                    <a:pt x="688" y="798"/>
                  </a:lnTo>
                  <a:lnTo>
                    <a:pt x="688" y="798"/>
                  </a:lnTo>
                  <a:lnTo>
                    <a:pt x="688" y="796"/>
                  </a:lnTo>
                  <a:lnTo>
                    <a:pt x="686" y="794"/>
                  </a:lnTo>
                  <a:lnTo>
                    <a:pt x="682" y="794"/>
                  </a:lnTo>
                  <a:lnTo>
                    <a:pt x="680" y="794"/>
                  </a:lnTo>
                  <a:lnTo>
                    <a:pt x="680" y="794"/>
                  </a:lnTo>
                  <a:lnTo>
                    <a:pt x="674" y="790"/>
                  </a:lnTo>
                  <a:lnTo>
                    <a:pt x="670" y="788"/>
                  </a:lnTo>
                  <a:lnTo>
                    <a:pt x="666" y="784"/>
                  </a:lnTo>
                  <a:lnTo>
                    <a:pt x="662" y="780"/>
                  </a:lnTo>
                  <a:lnTo>
                    <a:pt x="658" y="774"/>
                  </a:lnTo>
                  <a:lnTo>
                    <a:pt x="652" y="770"/>
                  </a:lnTo>
                  <a:lnTo>
                    <a:pt x="648" y="766"/>
                  </a:lnTo>
                  <a:lnTo>
                    <a:pt x="648" y="766"/>
                  </a:lnTo>
                  <a:lnTo>
                    <a:pt x="646" y="766"/>
                  </a:lnTo>
                  <a:lnTo>
                    <a:pt x="642" y="764"/>
                  </a:lnTo>
                  <a:lnTo>
                    <a:pt x="640" y="764"/>
                  </a:lnTo>
                  <a:lnTo>
                    <a:pt x="636" y="762"/>
                  </a:lnTo>
                  <a:lnTo>
                    <a:pt x="630" y="760"/>
                  </a:lnTo>
                  <a:lnTo>
                    <a:pt x="628" y="758"/>
                  </a:lnTo>
                  <a:lnTo>
                    <a:pt x="626" y="756"/>
                  </a:lnTo>
                  <a:lnTo>
                    <a:pt x="626" y="756"/>
                  </a:lnTo>
                  <a:lnTo>
                    <a:pt x="624" y="756"/>
                  </a:lnTo>
                  <a:lnTo>
                    <a:pt x="612" y="756"/>
                  </a:lnTo>
                  <a:lnTo>
                    <a:pt x="602" y="756"/>
                  </a:lnTo>
                  <a:lnTo>
                    <a:pt x="598" y="754"/>
                  </a:lnTo>
                  <a:lnTo>
                    <a:pt x="596" y="754"/>
                  </a:lnTo>
                  <a:lnTo>
                    <a:pt x="592" y="752"/>
                  </a:lnTo>
                  <a:lnTo>
                    <a:pt x="590" y="748"/>
                  </a:lnTo>
                  <a:lnTo>
                    <a:pt x="586" y="742"/>
                  </a:lnTo>
                  <a:lnTo>
                    <a:pt x="584" y="740"/>
                  </a:lnTo>
                  <a:lnTo>
                    <a:pt x="584" y="740"/>
                  </a:lnTo>
                  <a:lnTo>
                    <a:pt x="582" y="738"/>
                  </a:lnTo>
                  <a:lnTo>
                    <a:pt x="580" y="736"/>
                  </a:lnTo>
                  <a:lnTo>
                    <a:pt x="580" y="736"/>
                  </a:lnTo>
                  <a:lnTo>
                    <a:pt x="580" y="736"/>
                  </a:lnTo>
                  <a:lnTo>
                    <a:pt x="578" y="736"/>
                  </a:lnTo>
                  <a:lnTo>
                    <a:pt x="578" y="736"/>
                  </a:lnTo>
                  <a:lnTo>
                    <a:pt x="578" y="736"/>
                  </a:lnTo>
                  <a:lnTo>
                    <a:pt x="576" y="734"/>
                  </a:lnTo>
                  <a:lnTo>
                    <a:pt x="576" y="734"/>
                  </a:lnTo>
                  <a:lnTo>
                    <a:pt x="574" y="734"/>
                  </a:lnTo>
                  <a:lnTo>
                    <a:pt x="574" y="734"/>
                  </a:lnTo>
                  <a:lnTo>
                    <a:pt x="574" y="734"/>
                  </a:lnTo>
                  <a:lnTo>
                    <a:pt x="572" y="734"/>
                  </a:lnTo>
                  <a:lnTo>
                    <a:pt x="572" y="734"/>
                  </a:lnTo>
                  <a:lnTo>
                    <a:pt x="572" y="734"/>
                  </a:lnTo>
                  <a:lnTo>
                    <a:pt x="570" y="736"/>
                  </a:lnTo>
                  <a:lnTo>
                    <a:pt x="570" y="736"/>
                  </a:lnTo>
                  <a:lnTo>
                    <a:pt x="570" y="736"/>
                  </a:lnTo>
                  <a:lnTo>
                    <a:pt x="570" y="736"/>
                  </a:lnTo>
                  <a:lnTo>
                    <a:pt x="568" y="738"/>
                  </a:lnTo>
                  <a:lnTo>
                    <a:pt x="566" y="740"/>
                  </a:lnTo>
                  <a:lnTo>
                    <a:pt x="566" y="740"/>
                  </a:lnTo>
                  <a:lnTo>
                    <a:pt x="566" y="744"/>
                  </a:lnTo>
                  <a:lnTo>
                    <a:pt x="568" y="746"/>
                  </a:lnTo>
                  <a:lnTo>
                    <a:pt x="570" y="750"/>
                  </a:lnTo>
                  <a:lnTo>
                    <a:pt x="572" y="752"/>
                  </a:lnTo>
                  <a:lnTo>
                    <a:pt x="572" y="756"/>
                  </a:lnTo>
                  <a:lnTo>
                    <a:pt x="572" y="756"/>
                  </a:lnTo>
                  <a:lnTo>
                    <a:pt x="574" y="758"/>
                  </a:lnTo>
                  <a:lnTo>
                    <a:pt x="576" y="760"/>
                  </a:lnTo>
                  <a:lnTo>
                    <a:pt x="580" y="762"/>
                  </a:lnTo>
                  <a:lnTo>
                    <a:pt x="582" y="766"/>
                  </a:lnTo>
                  <a:lnTo>
                    <a:pt x="586" y="768"/>
                  </a:lnTo>
                  <a:lnTo>
                    <a:pt x="590" y="772"/>
                  </a:lnTo>
                  <a:lnTo>
                    <a:pt x="592" y="776"/>
                  </a:lnTo>
                  <a:lnTo>
                    <a:pt x="594" y="778"/>
                  </a:lnTo>
                  <a:lnTo>
                    <a:pt x="596" y="780"/>
                  </a:lnTo>
                  <a:lnTo>
                    <a:pt x="596" y="784"/>
                  </a:lnTo>
                  <a:lnTo>
                    <a:pt x="596" y="788"/>
                  </a:lnTo>
                  <a:lnTo>
                    <a:pt x="596" y="788"/>
                  </a:lnTo>
                  <a:lnTo>
                    <a:pt x="596" y="790"/>
                  </a:lnTo>
                  <a:lnTo>
                    <a:pt x="596" y="790"/>
                  </a:lnTo>
                  <a:lnTo>
                    <a:pt x="596" y="790"/>
                  </a:lnTo>
                  <a:lnTo>
                    <a:pt x="596" y="790"/>
                  </a:lnTo>
                  <a:lnTo>
                    <a:pt x="594" y="792"/>
                  </a:lnTo>
                  <a:lnTo>
                    <a:pt x="592" y="792"/>
                  </a:lnTo>
                  <a:lnTo>
                    <a:pt x="586" y="792"/>
                  </a:lnTo>
                  <a:lnTo>
                    <a:pt x="584" y="792"/>
                  </a:lnTo>
                  <a:lnTo>
                    <a:pt x="582" y="790"/>
                  </a:lnTo>
                  <a:lnTo>
                    <a:pt x="582" y="790"/>
                  </a:lnTo>
                  <a:lnTo>
                    <a:pt x="582" y="790"/>
                  </a:lnTo>
                  <a:lnTo>
                    <a:pt x="582" y="788"/>
                  </a:lnTo>
                  <a:lnTo>
                    <a:pt x="582" y="788"/>
                  </a:lnTo>
                  <a:lnTo>
                    <a:pt x="580" y="788"/>
                  </a:lnTo>
                  <a:lnTo>
                    <a:pt x="578" y="784"/>
                  </a:lnTo>
                  <a:lnTo>
                    <a:pt x="576" y="780"/>
                  </a:lnTo>
                  <a:lnTo>
                    <a:pt x="574" y="778"/>
                  </a:lnTo>
                  <a:lnTo>
                    <a:pt x="574" y="778"/>
                  </a:lnTo>
                  <a:lnTo>
                    <a:pt x="574" y="778"/>
                  </a:lnTo>
                  <a:lnTo>
                    <a:pt x="572" y="778"/>
                  </a:lnTo>
                  <a:lnTo>
                    <a:pt x="572" y="776"/>
                  </a:lnTo>
                  <a:lnTo>
                    <a:pt x="572" y="776"/>
                  </a:lnTo>
                  <a:lnTo>
                    <a:pt x="570" y="776"/>
                  </a:lnTo>
                  <a:lnTo>
                    <a:pt x="570" y="776"/>
                  </a:lnTo>
                  <a:lnTo>
                    <a:pt x="570" y="776"/>
                  </a:lnTo>
                  <a:lnTo>
                    <a:pt x="568" y="778"/>
                  </a:lnTo>
                  <a:lnTo>
                    <a:pt x="568" y="778"/>
                  </a:lnTo>
                  <a:lnTo>
                    <a:pt x="568" y="778"/>
                  </a:lnTo>
                  <a:lnTo>
                    <a:pt x="566" y="780"/>
                  </a:lnTo>
                  <a:lnTo>
                    <a:pt x="566" y="780"/>
                  </a:lnTo>
                  <a:lnTo>
                    <a:pt x="566" y="782"/>
                  </a:lnTo>
                  <a:lnTo>
                    <a:pt x="566" y="784"/>
                  </a:lnTo>
                  <a:lnTo>
                    <a:pt x="566" y="788"/>
                  </a:lnTo>
                  <a:lnTo>
                    <a:pt x="566" y="792"/>
                  </a:lnTo>
                  <a:lnTo>
                    <a:pt x="566" y="796"/>
                  </a:lnTo>
                  <a:lnTo>
                    <a:pt x="562" y="798"/>
                  </a:lnTo>
                  <a:lnTo>
                    <a:pt x="558" y="800"/>
                  </a:lnTo>
                  <a:lnTo>
                    <a:pt x="554" y="802"/>
                  </a:lnTo>
                  <a:lnTo>
                    <a:pt x="550" y="806"/>
                  </a:lnTo>
                  <a:lnTo>
                    <a:pt x="546" y="806"/>
                  </a:lnTo>
                  <a:lnTo>
                    <a:pt x="540" y="804"/>
                  </a:lnTo>
                  <a:lnTo>
                    <a:pt x="534" y="804"/>
                  </a:lnTo>
                  <a:lnTo>
                    <a:pt x="528" y="804"/>
                  </a:lnTo>
                  <a:lnTo>
                    <a:pt x="524" y="804"/>
                  </a:lnTo>
                  <a:lnTo>
                    <a:pt x="524" y="804"/>
                  </a:lnTo>
                  <a:lnTo>
                    <a:pt x="524" y="804"/>
                  </a:lnTo>
                  <a:lnTo>
                    <a:pt x="518" y="806"/>
                  </a:lnTo>
                  <a:lnTo>
                    <a:pt x="518" y="806"/>
                  </a:lnTo>
                  <a:lnTo>
                    <a:pt x="518" y="806"/>
                  </a:lnTo>
                  <a:lnTo>
                    <a:pt x="514" y="808"/>
                  </a:lnTo>
                  <a:lnTo>
                    <a:pt x="514" y="808"/>
                  </a:lnTo>
                  <a:lnTo>
                    <a:pt x="512" y="810"/>
                  </a:lnTo>
                  <a:lnTo>
                    <a:pt x="510" y="812"/>
                  </a:lnTo>
                  <a:lnTo>
                    <a:pt x="510" y="812"/>
                  </a:lnTo>
                  <a:lnTo>
                    <a:pt x="508" y="812"/>
                  </a:lnTo>
                  <a:lnTo>
                    <a:pt x="504" y="814"/>
                  </a:lnTo>
                  <a:lnTo>
                    <a:pt x="502" y="814"/>
                  </a:lnTo>
                  <a:lnTo>
                    <a:pt x="502" y="814"/>
                  </a:lnTo>
                  <a:lnTo>
                    <a:pt x="500" y="814"/>
                  </a:lnTo>
                  <a:lnTo>
                    <a:pt x="500" y="814"/>
                  </a:lnTo>
                  <a:lnTo>
                    <a:pt x="500" y="814"/>
                  </a:lnTo>
                  <a:lnTo>
                    <a:pt x="500" y="812"/>
                  </a:lnTo>
                  <a:lnTo>
                    <a:pt x="500" y="808"/>
                  </a:lnTo>
                  <a:lnTo>
                    <a:pt x="500" y="808"/>
                  </a:lnTo>
                  <a:lnTo>
                    <a:pt x="500" y="806"/>
                  </a:lnTo>
                  <a:lnTo>
                    <a:pt x="502" y="804"/>
                  </a:lnTo>
                  <a:lnTo>
                    <a:pt x="504" y="802"/>
                  </a:lnTo>
                  <a:lnTo>
                    <a:pt x="504" y="802"/>
                  </a:lnTo>
                  <a:lnTo>
                    <a:pt x="504" y="800"/>
                  </a:lnTo>
                  <a:lnTo>
                    <a:pt x="504" y="800"/>
                  </a:lnTo>
                  <a:lnTo>
                    <a:pt x="504" y="800"/>
                  </a:lnTo>
                  <a:lnTo>
                    <a:pt x="504" y="798"/>
                  </a:lnTo>
                  <a:lnTo>
                    <a:pt x="502" y="798"/>
                  </a:lnTo>
                  <a:lnTo>
                    <a:pt x="502" y="798"/>
                  </a:lnTo>
                  <a:lnTo>
                    <a:pt x="502" y="796"/>
                  </a:lnTo>
                  <a:lnTo>
                    <a:pt x="500" y="796"/>
                  </a:lnTo>
                  <a:lnTo>
                    <a:pt x="500" y="796"/>
                  </a:lnTo>
                  <a:lnTo>
                    <a:pt x="498" y="796"/>
                  </a:lnTo>
                  <a:lnTo>
                    <a:pt x="496" y="796"/>
                  </a:lnTo>
                  <a:lnTo>
                    <a:pt x="494" y="796"/>
                  </a:lnTo>
                  <a:lnTo>
                    <a:pt x="490" y="796"/>
                  </a:lnTo>
                  <a:lnTo>
                    <a:pt x="488" y="794"/>
                  </a:lnTo>
                  <a:lnTo>
                    <a:pt x="488" y="794"/>
                  </a:lnTo>
                  <a:lnTo>
                    <a:pt x="486" y="794"/>
                  </a:lnTo>
                  <a:lnTo>
                    <a:pt x="478" y="800"/>
                  </a:lnTo>
                  <a:lnTo>
                    <a:pt x="476" y="802"/>
                  </a:lnTo>
                  <a:lnTo>
                    <a:pt x="472" y="804"/>
                  </a:lnTo>
                  <a:lnTo>
                    <a:pt x="470" y="804"/>
                  </a:lnTo>
                  <a:lnTo>
                    <a:pt x="468" y="804"/>
                  </a:lnTo>
                  <a:lnTo>
                    <a:pt x="464" y="804"/>
                  </a:lnTo>
                  <a:lnTo>
                    <a:pt x="458" y="806"/>
                  </a:lnTo>
                  <a:lnTo>
                    <a:pt x="456" y="808"/>
                  </a:lnTo>
                  <a:lnTo>
                    <a:pt x="456" y="808"/>
                  </a:lnTo>
                  <a:lnTo>
                    <a:pt x="456" y="808"/>
                  </a:lnTo>
                  <a:lnTo>
                    <a:pt x="454" y="808"/>
                  </a:lnTo>
                  <a:lnTo>
                    <a:pt x="454" y="808"/>
                  </a:lnTo>
                  <a:lnTo>
                    <a:pt x="452" y="810"/>
                  </a:lnTo>
                  <a:lnTo>
                    <a:pt x="450" y="812"/>
                  </a:lnTo>
                  <a:lnTo>
                    <a:pt x="450" y="812"/>
                  </a:lnTo>
                  <a:lnTo>
                    <a:pt x="450" y="812"/>
                  </a:lnTo>
                  <a:lnTo>
                    <a:pt x="448" y="814"/>
                  </a:lnTo>
                  <a:lnTo>
                    <a:pt x="444" y="820"/>
                  </a:lnTo>
                  <a:lnTo>
                    <a:pt x="442" y="826"/>
                  </a:lnTo>
                  <a:lnTo>
                    <a:pt x="440" y="828"/>
                  </a:lnTo>
                  <a:lnTo>
                    <a:pt x="438" y="828"/>
                  </a:lnTo>
                  <a:lnTo>
                    <a:pt x="434" y="830"/>
                  </a:lnTo>
                  <a:lnTo>
                    <a:pt x="434" y="830"/>
                  </a:lnTo>
                  <a:lnTo>
                    <a:pt x="434" y="830"/>
                  </a:lnTo>
                  <a:lnTo>
                    <a:pt x="430" y="832"/>
                  </a:lnTo>
                  <a:lnTo>
                    <a:pt x="430" y="832"/>
                  </a:lnTo>
                  <a:lnTo>
                    <a:pt x="430" y="832"/>
                  </a:lnTo>
                  <a:lnTo>
                    <a:pt x="424" y="834"/>
                  </a:lnTo>
                  <a:lnTo>
                    <a:pt x="420" y="838"/>
                  </a:lnTo>
                  <a:lnTo>
                    <a:pt x="418" y="842"/>
                  </a:lnTo>
                  <a:lnTo>
                    <a:pt x="414" y="846"/>
                  </a:lnTo>
                  <a:lnTo>
                    <a:pt x="408" y="852"/>
                  </a:lnTo>
                  <a:lnTo>
                    <a:pt x="406" y="854"/>
                  </a:lnTo>
                  <a:lnTo>
                    <a:pt x="404" y="856"/>
                  </a:lnTo>
                  <a:lnTo>
                    <a:pt x="404" y="856"/>
                  </a:lnTo>
                  <a:lnTo>
                    <a:pt x="404" y="856"/>
                  </a:lnTo>
                  <a:lnTo>
                    <a:pt x="402" y="858"/>
                  </a:lnTo>
                  <a:lnTo>
                    <a:pt x="402" y="858"/>
                  </a:lnTo>
                  <a:lnTo>
                    <a:pt x="402" y="858"/>
                  </a:lnTo>
                  <a:lnTo>
                    <a:pt x="400" y="860"/>
                  </a:lnTo>
                  <a:lnTo>
                    <a:pt x="400" y="860"/>
                  </a:lnTo>
                  <a:lnTo>
                    <a:pt x="400" y="860"/>
                  </a:lnTo>
                  <a:lnTo>
                    <a:pt x="400" y="862"/>
                  </a:lnTo>
                  <a:lnTo>
                    <a:pt x="400" y="862"/>
                  </a:lnTo>
                  <a:lnTo>
                    <a:pt x="400" y="862"/>
                  </a:lnTo>
                  <a:lnTo>
                    <a:pt x="400" y="864"/>
                  </a:lnTo>
                  <a:lnTo>
                    <a:pt x="400" y="866"/>
                  </a:lnTo>
                  <a:lnTo>
                    <a:pt x="400" y="866"/>
                  </a:lnTo>
                  <a:lnTo>
                    <a:pt x="400" y="866"/>
                  </a:lnTo>
                  <a:lnTo>
                    <a:pt x="398" y="866"/>
                  </a:lnTo>
                  <a:lnTo>
                    <a:pt x="398" y="866"/>
                  </a:lnTo>
                  <a:lnTo>
                    <a:pt x="396" y="868"/>
                  </a:lnTo>
                  <a:lnTo>
                    <a:pt x="394" y="868"/>
                  </a:lnTo>
                  <a:lnTo>
                    <a:pt x="390" y="868"/>
                  </a:lnTo>
                  <a:lnTo>
                    <a:pt x="384" y="870"/>
                  </a:lnTo>
                  <a:lnTo>
                    <a:pt x="384" y="868"/>
                  </a:lnTo>
                  <a:lnTo>
                    <a:pt x="382" y="868"/>
                  </a:lnTo>
                  <a:lnTo>
                    <a:pt x="378" y="866"/>
                  </a:lnTo>
                  <a:lnTo>
                    <a:pt x="376" y="864"/>
                  </a:lnTo>
                  <a:lnTo>
                    <a:pt x="374" y="862"/>
                  </a:lnTo>
                  <a:lnTo>
                    <a:pt x="374" y="860"/>
                  </a:lnTo>
                  <a:lnTo>
                    <a:pt x="374" y="858"/>
                  </a:lnTo>
                  <a:lnTo>
                    <a:pt x="374" y="856"/>
                  </a:lnTo>
                  <a:lnTo>
                    <a:pt x="372" y="854"/>
                  </a:lnTo>
                  <a:lnTo>
                    <a:pt x="372" y="850"/>
                  </a:lnTo>
                  <a:lnTo>
                    <a:pt x="372" y="848"/>
                  </a:lnTo>
                  <a:lnTo>
                    <a:pt x="374" y="846"/>
                  </a:lnTo>
                  <a:lnTo>
                    <a:pt x="376" y="844"/>
                  </a:lnTo>
                  <a:lnTo>
                    <a:pt x="382" y="842"/>
                  </a:lnTo>
                  <a:lnTo>
                    <a:pt x="384" y="840"/>
                  </a:lnTo>
                  <a:lnTo>
                    <a:pt x="386" y="836"/>
                  </a:lnTo>
                  <a:lnTo>
                    <a:pt x="386" y="836"/>
                  </a:lnTo>
                  <a:lnTo>
                    <a:pt x="386" y="836"/>
                  </a:lnTo>
                  <a:lnTo>
                    <a:pt x="388" y="834"/>
                  </a:lnTo>
                  <a:lnTo>
                    <a:pt x="388" y="834"/>
                  </a:lnTo>
                  <a:lnTo>
                    <a:pt x="388" y="834"/>
                  </a:lnTo>
                  <a:lnTo>
                    <a:pt x="390" y="830"/>
                  </a:lnTo>
                  <a:lnTo>
                    <a:pt x="390" y="830"/>
                  </a:lnTo>
                  <a:lnTo>
                    <a:pt x="390" y="828"/>
                  </a:lnTo>
                  <a:lnTo>
                    <a:pt x="390" y="828"/>
                  </a:lnTo>
                  <a:lnTo>
                    <a:pt x="388" y="826"/>
                  </a:lnTo>
                  <a:lnTo>
                    <a:pt x="388" y="826"/>
                  </a:lnTo>
                  <a:lnTo>
                    <a:pt x="386" y="824"/>
                  </a:lnTo>
                  <a:lnTo>
                    <a:pt x="386" y="824"/>
                  </a:lnTo>
                  <a:lnTo>
                    <a:pt x="386" y="822"/>
                  </a:lnTo>
                  <a:lnTo>
                    <a:pt x="384" y="820"/>
                  </a:lnTo>
                  <a:lnTo>
                    <a:pt x="384" y="818"/>
                  </a:lnTo>
                  <a:lnTo>
                    <a:pt x="384" y="818"/>
                  </a:lnTo>
                  <a:lnTo>
                    <a:pt x="384" y="818"/>
                  </a:lnTo>
                  <a:lnTo>
                    <a:pt x="382" y="816"/>
                  </a:lnTo>
                  <a:lnTo>
                    <a:pt x="382" y="816"/>
                  </a:lnTo>
                  <a:lnTo>
                    <a:pt x="380" y="814"/>
                  </a:lnTo>
                  <a:lnTo>
                    <a:pt x="378" y="814"/>
                  </a:lnTo>
                  <a:lnTo>
                    <a:pt x="378" y="814"/>
                  </a:lnTo>
                  <a:lnTo>
                    <a:pt x="378" y="812"/>
                  </a:lnTo>
                  <a:lnTo>
                    <a:pt x="376" y="812"/>
                  </a:lnTo>
                  <a:lnTo>
                    <a:pt x="376" y="812"/>
                  </a:lnTo>
                  <a:lnTo>
                    <a:pt x="374" y="812"/>
                  </a:lnTo>
                  <a:lnTo>
                    <a:pt x="370" y="812"/>
                  </a:lnTo>
                  <a:lnTo>
                    <a:pt x="364" y="810"/>
                  </a:lnTo>
                  <a:lnTo>
                    <a:pt x="362" y="810"/>
                  </a:lnTo>
                  <a:lnTo>
                    <a:pt x="358" y="810"/>
                  </a:lnTo>
                  <a:lnTo>
                    <a:pt x="356" y="808"/>
                  </a:lnTo>
                  <a:lnTo>
                    <a:pt x="354" y="808"/>
                  </a:lnTo>
                  <a:lnTo>
                    <a:pt x="354" y="806"/>
                  </a:lnTo>
                  <a:lnTo>
                    <a:pt x="352" y="804"/>
                  </a:lnTo>
                  <a:lnTo>
                    <a:pt x="352" y="804"/>
                  </a:lnTo>
                  <a:lnTo>
                    <a:pt x="352" y="804"/>
                  </a:lnTo>
                  <a:lnTo>
                    <a:pt x="348" y="804"/>
                  </a:lnTo>
                  <a:lnTo>
                    <a:pt x="348" y="804"/>
                  </a:lnTo>
                  <a:lnTo>
                    <a:pt x="348" y="804"/>
                  </a:lnTo>
                  <a:lnTo>
                    <a:pt x="346" y="806"/>
                  </a:lnTo>
                  <a:lnTo>
                    <a:pt x="346" y="806"/>
                  </a:lnTo>
                  <a:lnTo>
                    <a:pt x="346" y="806"/>
                  </a:lnTo>
                  <a:lnTo>
                    <a:pt x="346" y="806"/>
                  </a:lnTo>
                  <a:lnTo>
                    <a:pt x="346" y="808"/>
                  </a:lnTo>
                  <a:lnTo>
                    <a:pt x="344" y="808"/>
                  </a:lnTo>
                  <a:lnTo>
                    <a:pt x="344" y="810"/>
                  </a:lnTo>
                  <a:lnTo>
                    <a:pt x="344" y="810"/>
                  </a:lnTo>
                  <a:lnTo>
                    <a:pt x="344" y="812"/>
                  </a:lnTo>
                  <a:lnTo>
                    <a:pt x="344" y="812"/>
                  </a:lnTo>
                  <a:lnTo>
                    <a:pt x="344" y="812"/>
                  </a:lnTo>
                  <a:lnTo>
                    <a:pt x="346" y="812"/>
                  </a:lnTo>
                  <a:lnTo>
                    <a:pt x="346" y="812"/>
                  </a:lnTo>
                  <a:lnTo>
                    <a:pt x="346" y="814"/>
                  </a:lnTo>
                  <a:lnTo>
                    <a:pt x="348" y="818"/>
                  </a:lnTo>
                  <a:lnTo>
                    <a:pt x="348" y="820"/>
                  </a:lnTo>
                  <a:lnTo>
                    <a:pt x="350" y="824"/>
                  </a:lnTo>
                  <a:lnTo>
                    <a:pt x="352" y="828"/>
                  </a:lnTo>
                  <a:lnTo>
                    <a:pt x="352" y="830"/>
                  </a:lnTo>
                  <a:lnTo>
                    <a:pt x="354" y="832"/>
                  </a:lnTo>
                  <a:lnTo>
                    <a:pt x="354" y="836"/>
                  </a:lnTo>
                  <a:lnTo>
                    <a:pt x="354" y="838"/>
                  </a:lnTo>
                  <a:lnTo>
                    <a:pt x="352" y="840"/>
                  </a:lnTo>
                  <a:lnTo>
                    <a:pt x="352" y="842"/>
                  </a:lnTo>
                  <a:lnTo>
                    <a:pt x="350" y="844"/>
                  </a:lnTo>
                  <a:lnTo>
                    <a:pt x="348" y="848"/>
                  </a:lnTo>
                  <a:lnTo>
                    <a:pt x="348" y="850"/>
                  </a:lnTo>
                  <a:lnTo>
                    <a:pt x="348" y="850"/>
                  </a:lnTo>
                  <a:lnTo>
                    <a:pt x="348" y="852"/>
                  </a:lnTo>
                  <a:lnTo>
                    <a:pt x="346" y="856"/>
                  </a:lnTo>
                  <a:lnTo>
                    <a:pt x="346" y="856"/>
                  </a:lnTo>
                  <a:lnTo>
                    <a:pt x="346" y="858"/>
                  </a:lnTo>
                  <a:lnTo>
                    <a:pt x="350" y="860"/>
                  </a:lnTo>
                  <a:lnTo>
                    <a:pt x="352" y="864"/>
                  </a:lnTo>
                  <a:lnTo>
                    <a:pt x="352" y="866"/>
                  </a:lnTo>
                  <a:lnTo>
                    <a:pt x="354" y="868"/>
                  </a:lnTo>
                  <a:lnTo>
                    <a:pt x="354" y="872"/>
                  </a:lnTo>
                  <a:lnTo>
                    <a:pt x="356" y="874"/>
                  </a:lnTo>
                  <a:lnTo>
                    <a:pt x="356" y="878"/>
                  </a:lnTo>
                  <a:lnTo>
                    <a:pt x="356" y="882"/>
                  </a:lnTo>
                  <a:lnTo>
                    <a:pt x="356" y="884"/>
                  </a:lnTo>
                  <a:lnTo>
                    <a:pt x="354" y="888"/>
                  </a:lnTo>
                  <a:lnTo>
                    <a:pt x="354" y="892"/>
                  </a:lnTo>
                  <a:lnTo>
                    <a:pt x="352" y="894"/>
                  </a:lnTo>
                  <a:lnTo>
                    <a:pt x="350" y="894"/>
                  </a:lnTo>
                  <a:lnTo>
                    <a:pt x="348" y="894"/>
                  </a:lnTo>
                  <a:lnTo>
                    <a:pt x="344" y="894"/>
                  </a:lnTo>
                  <a:lnTo>
                    <a:pt x="342" y="894"/>
                  </a:lnTo>
                  <a:lnTo>
                    <a:pt x="338" y="894"/>
                  </a:lnTo>
                  <a:lnTo>
                    <a:pt x="334" y="894"/>
                  </a:lnTo>
                  <a:lnTo>
                    <a:pt x="330" y="894"/>
                  </a:lnTo>
                  <a:lnTo>
                    <a:pt x="326" y="892"/>
                  </a:lnTo>
                  <a:lnTo>
                    <a:pt x="326" y="892"/>
                  </a:lnTo>
                  <a:lnTo>
                    <a:pt x="326" y="892"/>
                  </a:lnTo>
                  <a:lnTo>
                    <a:pt x="320" y="894"/>
                  </a:lnTo>
                  <a:lnTo>
                    <a:pt x="320" y="894"/>
                  </a:lnTo>
                  <a:lnTo>
                    <a:pt x="320" y="894"/>
                  </a:lnTo>
                  <a:lnTo>
                    <a:pt x="316" y="896"/>
                  </a:lnTo>
                  <a:lnTo>
                    <a:pt x="312" y="900"/>
                  </a:lnTo>
                  <a:lnTo>
                    <a:pt x="308" y="902"/>
                  </a:lnTo>
                  <a:lnTo>
                    <a:pt x="306" y="902"/>
                  </a:lnTo>
                  <a:lnTo>
                    <a:pt x="304" y="902"/>
                  </a:lnTo>
                  <a:lnTo>
                    <a:pt x="304" y="902"/>
                  </a:lnTo>
                  <a:lnTo>
                    <a:pt x="302" y="902"/>
                  </a:lnTo>
                  <a:lnTo>
                    <a:pt x="300" y="904"/>
                  </a:lnTo>
                  <a:lnTo>
                    <a:pt x="300" y="904"/>
                  </a:lnTo>
                  <a:lnTo>
                    <a:pt x="300" y="906"/>
                  </a:lnTo>
                  <a:lnTo>
                    <a:pt x="296" y="908"/>
                  </a:lnTo>
                  <a:lnTo>
                    <a:pt x="296" y="910"/>
                  </a:lnTo>
                  <a:lnTo>
                    <a:pt x="294" y="910"/>
                  </a:lnTo>
                  <a:lnTo>
                    <a:pt x="292" y="912"/>
                  </a:lnTo>
                  <a:lnTo>
                    <a:pt x="292" y="912"/>
                  </a:lnTo>
                  <a:lnTo>
                    <a:pt x="290" y="912"/>
                  </a:lnTo>
                  <a:lnTo>
                    <a:pt x="288" y="912"/>
                  </a:lnTo>
                  <a:lnTo>
                    <a:pt x="288" y="912"/>
                  </a:lnTo>
                  <a:lnTo>
                    <a:pt x="288" y="912"/>
                  </a:lnTo>
                  <a:lnTo>
                    <a:pt x="286" y="914"/>
                  </a:lnTo>
                  <a:lnTo>
                    <a:pt x="286" y="914"/>
                  </a:lnTo>
                  <a:lnTo>
                    <a:pt x="286" y="914"/>
                  </a:lnTo>
                  <a:lnTo>
                    <a:pt x="286" y="916"/>
                  </a:lnTo>
                  <a:lnTo>
                    <a:pt x="286" y="916"/>
                  </a:lnTo>
                  <a:lnTo>
                    <a:pt x="284" y="916"/>
                  </a:lnTo>
                  <a:lnTo>
                    <a:pt x="284" y="918"/>
                  </a:lnTo>
                  <a:lnTo>
                    <a:pt x="284" y="918"/>
                  </a:lnTo>
                  <a:lnTo>
                    <a:pt x="284" y="920"/>
                  </a:lnTo>
                  <a:lnTo>
                    <a:pt x="284" y="922"/>
                  </a:lnTo>
                  <a:lnTo>
                    <a:pt x="284" y="922"/>
                  </a:lnTo>
                  <a:lnTo>
                    <a:pt x="286" y="922"/>
                  </a:lnTo>
                  <a:lnTo>
                    <a:pt x="286" y="924"/>
                  </a:lnTo>
                  <a:lnTo>
                    <a:pt x="286" y="924"/>
                  </a:lnTo>
                  <a:lnTo>
                    <a:pt x="288" y="926"/>
                  </a:lnTo>
                  <a:lnTo>
                    <a:pt x="290" y="928"/>
                  </a:lnTo>
                  <a:lnTo>
                    <a:pt x="292" y="930"/>
                  </a:lnTo>
                  <a:lnTo>
                    <a:pt x="294" y="930"/>
                  </a:lnTo>
                  <a:lnTo>
                    <a:pt x="294" y="932"/>
                  </a:lnTo>
                  <a:lnTo>
                    <a:pt x="294" y="932"/>
                  </a:lnTo>
                  <a:lnTo>
                    <a:pt x="296" y="934"/>
                  </a:lnTo>
                  <a:lnTo>
                    <a:pt x="296" y="938"/>
                  </a:lnTo>
                  <a:lnTo>
                    <a:pt x="296" y="942"/>
                  </a:lnTo>
                  <a:lnTo>
                    <a:pt x="296" y="942"/>
                  </a:lnTo>
                  <a:lnTo>
                    <a:pt x="292" y="942"/>
                  </a:lnTo>
                  <a:lnTo>
                    <a:pt x="286" y="944"/>
                  </a:lnTo>
                  <a:lnTo>
                    <a:pt x="286" y="944"/>
                  </a:lnTo>
                  <a:lnTo>
                    <a:pt x="280" y="942"/>
                  </a:lnTo>
                  <a:lnTo>
                    <a:pt x="278" y="942"/>
                  </a:lnTo>
                  <a:lnTo>
                    <a:pt x="274" y="940"/>
                  </a:lnTo>
                  <a:lnTo>
                    <a:pt x="270" y="940"/>
                  </a:lnTo>
                  <a:lnTo>
                    <a:pt x="266" y="938"/>
                  </a:lnTo>
                  <a:lnTo>
                    <a:pt x="262" y="936"/>
                  </a:lnTo>
                  <a:lnTo>
                    <a:pt x="258" y="932"/>
                  </a:lnTo>
                  <a:lnTo>
                    <a:pt x="258" y="932"/>
                  </a:lnTo>
                  <a:lnTo>
                    <a:pt x="256" y="932"/>
                  </a:lnTo>
                  <a:lnTo>
                    <a:pt x="256" y="932"/>
                  </a:lnTo>
                  <a:lnTo>
                    <a:pt x="254" y="932"/>
                  </a:lnTo>
                  <a:lnTo>
                    <a:pt x="252" y="930"/>
                  </a:lnTo>
                  <a:lnTo>
                    <a:pt x="248" y="930"/>
                  </a:lnTo>
                  <a:lnTo>
                    <a:pt x="244" y="930"/>
                  </a:lnTo>
                  <a:lnTo>
                    <a:pt x="240" y="930"/>
                  </a:lnTo>
                  <a:lnTo>
                    <a:pt x="238" y="930"/>
                  </a:lnTo>
                  <a:lnTo>
                    <a:pt x="238" y="930"/>
                  </a:lnTo>
                  <a:lnTo>
                    <a:pt x="238" y="930"/>
                  </a:lnTo>
                  <a:lnTo>
                    <a:pt x="234" y="930"/>
                  </a:lnTo>
                  <a:lnTo>
                    <a:pt x="234" y="932"/>
                  </a:lnTo>
                  <a:lnTo>
                    <a:pt x="232" y="932"/>
                  </a:lnTo>
                  <a:lnTo>
                    <a:pt x="230" y="932"/>
                  </a:lnTo>
                  <a:lnTo>
                    <a:pt x="230" y="932"/>
                  </a:lnTo>
                  <a:lnTo>
                    <a:pt x="228" y="932"/>
                  </a:lnTo>
                  <a:lnTo>
                    <a:pt x="228" y="934"/>
                  </a:lnTo>
                  <a:lnTo>
                    <a:pt x="228" y="934"/>
                  </a:lnTo>
                  <a:lnTo>
                    <a:pt x="228" y="934"/>
                  </a:lnTo>
                  <a:lnTo>
                    <a:pt x="228" y="936"/>
                  </a:lnTo>
                  <a:lnTo>
                    <a:pt x="228" y="938"/>
                  </a:lnTo>
                  <a:lnTo>
                    <a:pt x="228" y="938"/>
                  </a:lnTo>
                  <a:lnTo>
                    <a:pt x="230" y="938"/>
                  </a:lnTo>
                  <a:lnTo>
                    <a:pt x="230" y="938"/>
                  </a:lnTo>
                  <a:lnTo>
                    <a:pt x="232" y="940"/>
                  </a:lnTo>
                  <a:lnTo>
                    <a:pt x="232" y="940"/>
                  </a:lnTo>
                  <a:lnTo>
                    <a:pt x="234" y="942"/>
                  </a:lnTo>
                  <a:lnTo>
                    <a:pt x="234" y="942"/>
                  </a:lnTo>
                  <a:lnTo>
                    <a:pt x="234" y="942"/>
                  </a:lnTo>
                  <a:lnTo>
                    <a:pt x="238" y="944"/>
                  </a:lnTo>
                  <a:lnTo>
                    <a:pt x="240" y="946"/>
                  </a:lnTo>
                  <a:lnTo>
                    <a:pt x="244" y="948"/>
                  </a:lnTo>
                  <a:lnTo>
                    <a:pt x="244" y="950"/>
                  </a:lnTo>
                  <a:lnTo>
                    <a:pt x="246" y="952"/>
                  </a:lnTo>
                  <a:lnTo>
                    <a:pt x="246" y="952"/>
                  </a:lnTo>
                  <a:lnTo>
                    <a:pt x="246" y="952"/>
                  </a:lnTo>
                  <a:lnTo>
                    <a:pt x="252" y="956"/>
                  </a:lnTo>
                  <a:lnTo>
                    <a:pt x="258" y="958"/>
                  </a:lnTo>
                  <a:lnTo>
                    <a:pt x="262" y="962"/>
                  </a:lnTo>
                  <a:lnTo>
                    <a:pt x="262" y="962"/>
                  </a:lnTo>
                  <a:lnTo>
                    <a:pt x="264" y="964"/>
                  </a:lnTo>
                  <a:lnTo>
                    <a:pt x="266" y="968"/>
                  </a:lnTo>
                  <a:lnTo>
                    <a:pt x="266" y="968"/>
                  </a:lnTo>
                  <a:lnTo>
                    <a:pt x="266" y="968"/>
                  </a:lnTo>
                  <a:lnTo>
                    <a:pt x="268" y="970"/>
                  </a:lnTo>
                  <a:lnTo>
                    <a:pt x="268" y="972"/>
                  </a:lnTo>
                  <a:lnTo>
                    <a:pt x="268" y="972"/>
                  </a:lnTo>
                  <a:lnTo>
                    <a:pt x="268" y="972"/>
                  </a:lnTo>
                  <a:lnTo>
                    <a:pt x="262" y="972"/>
                  </a:lnTo>
                  <a:lnTo>
                    <a:pt x="264" y="972"/>
                  </a:lnTo>
                  <a:lnTo>
                    <a:pt x="258" y="972"/>
                  </a:lnTo>
                  <a:lnTo>
                    <a:pt x="252" y="972"/>
                  </a:lnTo>
                  <a:lnTo>
                    <a:pt x="248" y="972"/>
                  </a:lnTo>
                  <a:lnTo>
                    <a:pt x="244" y="972"/>
                  </a:lnTo>
                  <a:lnTo>
                    <a:pt x="242" y="972"/>
                  </a:lnTo>
                  <a:lnTo>
                    <a:pt x="242" y="972"/>
                  </a:lnTo>
                  <a:lnTo>
                    <a:pt x="240" y="972"/>
                  </a:lnTo>
                  <a:lnTo>
                    <a:pt x="240" y="970"/>
                  </a:lnTo>
                  <a:lnTo>
                    <a:pt x="238" y="968"/>
                  </a:lnTo>
                  <a:lnTo>
                    <a:pt x="236" y="964"/>
                  </a:lnTo>
                  <a:lnTo>
                    <a:pt x="236" y="962"/>
                  </a:lnTo>
                  <a:lnTo>
                    <a:pt x="234" y="960"/>
                  </a:lnTo>
                  <a:lnTo>
                    <a:pt x="234" y="956"/>
                  </a:lnTo>
                  <a:lnTo>
                    <a:pt x="232" y="954"/>
                  </a:lnTo>
                  <a:lnTo>
                    <a:pt x="230" y="946"/>
                  </a:lnTo>
                  <a:lnTo>
                    <a:pt x="228" y="938"/>
                  </a:lnTo>
                  <a:lnTo>
                    <a:pt x="224" y="930"/>
                  </a:lnTo>
                  <a:lnTo>
                    <a:pt x="222" y="922"/>
                  </a:lnTo>
                  <a:lnTo>
                    <a:pt x="220" y="914"/>
                  </a:lnTo>
                  <a:lnTo>
                    <a:pt x="220" y="912"/>
                  </a:lnTo>
                  <a:lnTo>
                    <a:pt x="218" y="910"/>
                  </a:lnTo>
                  <a:lnTo>
                    <a:pt x="218" y="910"/>
                  </a:lnTo>
                  <a:lnTo>
                    <a:pt x="218" y="908"/>
                  </a:lnTo>
                  <a:lnTo>
                    <a:pt x="216" y="906"/>
                  </a:lnTo>
                  <a:lnTo>
                    <a:pt x="214" y="904"/>
                  </a:lnTo>
                  <a:lnTo>
                    <a:pt x="214" y="904"/>
                  </a:lnTo>
                  <a:lnTo>
                    <a:pt x="212" y="902"/>
                  </a:lnTo>
                  <a:lnTo>
                    <a:pt x="212" y="900"/>
                  </a:lnTo>
                  <a:lnTo>
                    <a:pt x="210" y="894"/>
                  </a:lnTo>
                  <a:lnTo>
                    <a:pt x="208" y="888"/>
                  </a:lnTo>
                  <a:lnTo>
                    <a:pt x="208" y="888"/>
                  </a:lnTo>
                  <a:lnTo>
                    <a:pt x="206" y="886"/>
                  </a:lnTo>
                  <a:lnTo>
                    <a:pt x="204" y="884"/>
                  </a:lnTo>
                  <a:lnTo>
                    <a:pt x="198" y="882"/>
                  </a:lnTo>
                  <a:lnTo>
                    <a:pt x="194" y="880"/>
                  </a:lnTo>
                  <a:lnTo>
                    <a:pt x="188" y="876"/>
                  </a:lnTo>
                  <a:lnTo>
                    <a:pt x="190" y="876"/>
                  </a:lnTo>
                  <a:lnTo>
                    <a:pt x="186" y="872"/>
                  </a:lnTo>
                  <a:lnTo>
                    <a:pt x="184" y="872"/>
                  </a:lnTo>
                  <a:lnTo>
                    <a:pt x="182" y="870"/>
                  </a:lnTo>
                  <a:lnTo>
                    <a:pt x="182" y="868"/>
                  </a:lnTo>
                  <a:lnTo>
                    <a:pt x="182" y="866"/>
                  </a:lnTo>
                  <a:lnTo>
                    <a:pt x="182" y="864"/>
                  </a:lnTo>
                  <a:lnTo>
                    <a:pt x="182" y="862"/>
                  </a:lnTo>
                  <a:lnTo>
                    <a:pt x="182" y="862"/>
                  </a:lnTo>
                  <a:lnTo>
                    <a:pt x="184" y="862"/>
                  </a:lnTo>
                  <a:lnTo>
                    <a:pt x="186" y="862"/>
                  </a:lnTo>
                  <a:lnTo>
                    <a:pt x="186" y="862"/>
                  </a:lnTo>
                  <a:lnTo>
                    <a:pt x="186" y="862"/>
                  </a:lnTo>
                  <a:lnTo>
                    <a:pt x="186" y="864"/>
                  </a:lnTo>
                  <a:lnTo>
                    <a:pt x="188" y="868"/>
                  </a:lnTo>
                  <a:lnTo>
                    <a:pt x="192" y="874"/>
                  </a:lnTo>
                  <a:lnTo>
                    <a:pt x="192" y="874"/>
                  </a:lnTo>
                  <a:lnTo>
                    <a:pt x="194" y="876"/>
                  </a:lnTo>
                  <a:lnTo>
                    <a:pt x="200" y="876"/>
                  </a:lnTo>
                  <a:lnTo>
                    <a:pt x="206" y="878"/>
                  </a:lnTo>
                  <a:lnTo>
                    <a:pt x="210" y="878"/>
                  </a:lnTo>
                  <a:lnTo>
                    <a:pt x="214" y="880"/>
                  </a:lnTo>
                  <a:lnTo>
                    <a:pt x="214" y="880"/>
                  </a:lnTo>
                  <a:lnTo>
                    <a:pt x="216" y="880"/>
                  </a:lnTo>
                  <a:lnTo>
                    <a:pt x="218" y="882"/>
                  </a:lnTo>
                  <a:lnTo>
                    <a:pt x="218" y="882"/>
                  </a:lnTo>
                  <a:lnTo>
                    <a:pt x="220" y="882"/>
                  </a:lnTo>
                  <a:lnTo>
                    <a:pt x="220" y="884"/>
                  </a:lnTo>
                  <a:lnTo>
                    <a:pt x="222" y="886"/>
                  </a:lnTo>
                  <a:lnTo>
                    <a:pt x="224" y="888"/>
                  </a:lnTo>
                  <a:lnTo>
                    <a:pt x="226" y="888"/>
                  </a:lnTo>
                  <a:lnTo>
                    <a:pt x="226" y="888"/>
                  </a:lnTo>
                  <a:lnTo>
                    <a:pt x="226" y="890"/>
                  </a:lnTo>
                  <a:lnTo>
                    <a:pt x="236" y="892"/>
                  </a:lnTo>
                  <a:lnTo>
                    <a:pt x="240" y="894"/>
                  </a:lnTo>
                  <a:lnTo>
                    <a:pt x="244" y="896"/>
                  </a:lnTo>
                  <a:lnTo>
                    <a:pt x="244" y="896"/>
                  </a:lnTo>
                  <a:lnTo>
                    <a:pt x="244" y="896"/>
                  </a:lnTo>
                  <a:lnTo>
                    <a:pt x="250" y="896"/>
                  </a:lnTo>
                  <a:lnTo>
                    <a:pt x="254" y="898"/>
                  </a:lnTo>
                  <a:lnTo>
                    <a:pt x="262" y="900"/>
                  </a:lnTo>
                  <a:lnTo>
                    <a:pt x="266" y="900"/>
                  </a:lnTo>
                  <a:lnTo>
                    <a:pt x="270" y="900"/>
                  </a:lnTo>
                  <a:lnTo>
                    <a:pt x="276" y="900"/>
                  </a:lnTo>
                  <a:lnTo>
                    <a:pt x="282" y="902"/>
                  </a:lnTo>
                  <a:lnTo>
                    <a:pt x="282" y="902"/>
                  </a:lnTo>
                  <a:lnTo>
                    <a:pt x="284" y="900"/>
                  </a:lnTo>
                  <a:lnTo>
                    <a:pt x="288" y="898"/>
                  </a:lnTo>
                  <a:lnTo>
                    <a:pt x="290" y="896"/>
                  </a:lnTo>
                  <a:lnTo>
                    <a:pt x="296" y="892"/>
                  </a:lnTo>
                  <a:lnTo>
                    <a:pt x="300" y="890"/>
                  </a:lnTo>
                  <a:lnTo>
                    <a:pt x="304" y="886"/>
                  </a:lnTo>
                  <a:lnTo>
                    <a:pt x="304" y="886"/>
                  </a:lnTo>
                  <a:lnTo>
                    <a:pt x="304" y="886"/>
                  </a:lnTo>
                  <a:lnTo>
                    <a:pt x="308" y="882"/>
                  </a:lnTo>
                  <a:lnTo>
                    <a:pt x="308" y="882"/>
                  </a:lnTo>
                  <a:lnTo>
                    <a:pt x="308" y="882"/>
                  </a:lnTo>
                  <a:lnTo>
                    <a:pt x="308" y="880"/>
                  </a:lnTo>
                  <a:lnTo>
                    <a:pt x="310" y="878"/>
                  </a:lnTo>
                  <a:lnTo>
                    <a:pt x="310" y="874"/>
                  </a:lnTo>
                  <a:lnTo>
                    <a:pt x="312" y="870"/>
                  </a:lnTo>
                  <a:lnTo>
                    <a:pt x="312" y="866"/>
                  </a:lnTo>
                  <a:lnTo>
                    <a:pt x="312" y="860"/>
                  </a:lnTo>
                  <a:lnTo>
                    <a:pt x="312" y="860"/>
                  </a:lnTo>
                  <a:lnTo>
                    <a:pt x="312" y="860"/>
                  </a:lnTo>
                  <a:lnTo>
                    <a:pt x="312" y="858"/>
                  </a:lnTo>
                  <a:lnTo>
                    <a:pt x="312" y="856"/>
                  </a:lnTo>
                  <a:lnTo>
                    <a:pt x="312" y="856"/>
                  </a:lnTo>
                  <a:lnTo>
                    <a:pt x="312" y="856"/>
                  </a:lnTo>
                  <a:lnTo>
                    <a:pt x="310" y="852"/>
                  </a:lnTo>
                  <a:lnTo>
                    <a:pt x="310" y="852"/>
                  </a:lnTo>
                  <a:lnTo>
                    <a:pt x="310" y="852"/>
                  </a:lnTo>
                  <a:lnTo>
                    <a:pt x="308" y="848"/>
                  </a:lnTo>
                  <a:lnTo>
                    <a:pt x="304" y="844"/>
                  </a:lnTo>
                  <a:lnTo>
                    <a:pt x="304" y="844"/>
                  </a:lnTo>
                  <a:lnTo>
                    <a:pt x="304" y="844"/>
                  </a:lnTo>
                  <a:lnTo>
                    <a:pt x="300" y="842"/>
                  </a:lnTo>
                  <a:lnTo>
                    <a:pt x="298" y="840"/>
                  </a:lnTo>
                  <a:lnTo>
                    <a:pt x="296" y="836"/>
                  </a:lnTo>
                  <a:lnTo>
                    <a:pt x="294" y="834"/>
                  </a:lnTo>
                  <a:lnTo>
                    <a:pt x="290" y="826"/>
                  </a:lnTo>
                  <a:lnTo>
                    <a:pt x="288" y="822"/>
                  </a:lnTo>
                  <a:lnTo>
                    <a:pt x="286" y="820"/>
                  </a:lnTo>
                  <a:lnTo>
                    <a:pt x="282" y="814"/>
                  </a:lnTo>
                  <a:lnTo>
                    <a:pt x="276" y="808"/>
                  </a:lnTo>
                  <a:lnTo>
                    <a:pt x="272" y="804"/>
                  </a:lnTo>
                  <a:lnTo>
                    <a:pt x="266" y="800"/>
                  </a:lnTo>
                  <a:lnTo>
                    <a:pt x="266" y="800"/>
                  </a:lnTo>
                  <a:lnTo>
                    <a:pt x="266" y="800"/>
                  </a:lnTo>
                  <a:lnTo>
                    <a:pt x="262" y="800"/>
                  </a:lnTo>
                  <a:lnTo>
                    <a:pt x="256" y="798"/>
                  </a:lnTo>
                  <a:lnTo>
                    <a:pt x="252" y="796"/>
                  </a:lnTo>
                  <a:lnTo>
                    <a:pt x="248" y="794"/>
                  </a:lnTo>
                  <a:lnTo>
                    <a:pt x="240" y="790"/>
                  </a:lnTo>
                  <a:lnTo>
                    <a:pt x="236" y="788"/>
                  </a:lnTo>
                  <a:lnTo>
                    <a:pt x="232" y="786"/>
                  </a:lnTo>
                  <a:lnTo>
                    <a:pt x="232" y="786"/>
                  </a:lnTo>
                  <a:lnTo>
                    <a:pt x="230" y="784"/>
                  </a:lnTo>
                  <a:lnTo>
                    <a:pt x="226" y="784"/>
                  </a:lnTo>
                  <a:lnTo>
                    <a:pt x="222" y="784"/>
                  </a:lnTo>
                  <a:lnTo>
                    <a:pt x="216" y="784"/>
                  </a:lnTo>
                  <a:lnTo>
                    <a:pt x="210" y="784"/>
                  </a:lnTo>
                  <a:lnTo>
                    <a:pt x="206" y="784"/>
                  </a:lnTo>
                  <a:lnTo>
                    <a:pt x="202" y="784"/>
                  </a:lnTo>
                  <a:lnTo>
                    <a:pt x="200" y="784"/>
                  </a:lnTo>
                  <a:lnTo>
                    <a:pt x="198" y="784"/>
                  </a:lnTo>
                  <a:lnTo>
                    <a:pt x="198" y="784"/>
                  </a:lnTo>
                  <a:lnTo>
                    <a:pt x="198" y="784"/>
                  </a:lnTo>
                  <a:lnTo>
                    <a:pt x="198" y="782"/>
                  </a:lnTo>
                  <a:lnTo>
                    <a:pt x="198" y="780"/>
                  </a:lnTo>
                  <a:lnTo>
                    <a:pt x="198" y="778"/>
                  </a:lnTo>
                  <a:lnTo>
                    <a:pt x="196" y="774"/>
                  </a:lnTo>
                  <a:lnTo>
                    <a:pt x="196" y="770"/>
                  </a:lnTo>
                  <a:lnTo>
                    <a:pt x="196" y="770"/>
                  </a:lnTo>
                  <a:lnTo>
                    <a:pt x="194" y="768"/>
                  </a:lnTo>
                  <a:lnTo>
                    <a:pt x="190" y="766"/>
                  </a:lnTo>
                  <a:lnTo>
                    <a:pt x="188" y="766"/>
                  </a:lnTo>
                  <a:lnTo>
                    <a:pt x="180" y="764"/>
                  </a:lnTo>
                  <a:lnTo>
                    <a:pt x="174" y="764"/>
                  </a:lnTo>
                  <a:lnTo>
                    <a:pt x="168" y="762"/>
                  </a:lnTo>
                  <a:lnTo>
                    <a:pt x="168" y="762"/>
                  </a:lnTo>
                  <a:lnTo>
                    <a:pt x="166" y="762"/>
                  </a:lnTo>
                  <a:lnTo>
                    <a:pt x="158" y="768"/>
                  </a:lnTo>
                  <a:lnTo>
                    <a:pt x="150" y="772"/>
                  </a:lnTo>
                  <a:lnTo>
                    <a:pt x="146" y="776"/>
                  </a:lnTo>
                  <a:lnTo>
                    <a:pt x="142" y="780"/>
                  </a:lnTo>
                  <a:lnTo>
                    <a:pt x="140" y="784"/>
                  </a:lnTo>
                  <a:lnTo>
                    <a:pt x="138" y="786"/>
                  </a:lnTo>
                  <a:lnTo>
                    <a:pt x="136" y="788"/>
                  </a:lnTo>
                  <a:lnTo>
                    <a:pt x="134" y="790"/>
                  </a:lnTo>
                  <a:lnTo>
                    <a:pt x="130" y="792"/>
                  </a:lnTo>
                  <a:lnTo>
                    <a:pt x="128" y="794"/>
                  </a:lnTo>
                  <a:lnTo>
                    <a:pt x="126" y="796"/>
                  </a:lnTo>
                  <a:lnTo>
                    <a:pt x="126" y="796"/>
                  </a:lnTo>
                  <a:lnTo>
                    <a:pt x="126" y="796"/>
                  </a:lnTo>
                  <a:lnTo>
                    <a:pt x="124" y="798"/>
                  </a:lnTo>
                  <a:lnTo>
                    <a:pt x="124" y="798"/>
                  </a:lnTo>
                  <a:lnTo>
                    <a:pt x="124" y="798"/>
                  </a:lnTo>
                  <a:lnTo>
                    <a:pt x="124" y="800"/>
                  </a:lnTo>
                  <a:lnTo>
                    <a:pt x="124" y="800"/>
                  </a:lnTo>
                  <a:lnTo>
                    <a:pt x="124" y="800"/>
                  </a:lnTo>
                  <a:lnTo>
                    <a:pt x="124" y="802"/>
                  </a:lnTo>
                  <a:lnTo>
                    <a:pt x="124" y="802"/>
                  </a:lnTo>
                  <a:lnTo>
                    <a:pt x="126" y="804"/>
                  </a:lnTo>
                  <a:lnTo>
                    <a:pt x="126" y="806"/>
                  </a:lnTo>
                  <a:lnTo>
                    <a:pt x="128" y="808"/>
                  </a:lnTo>
                  <a:lnTo>
                    <a:pt x="130" y="810"/>
                  </a:lnTo>
                  <a:lnTo>
                    <a:pt x="132" y="814"/>
                  </a:lnTo>
                  <a:lnTo>
                    <a:pt x="134" y="816"/>
                  </a:lnTo>
                  <a:lnTo>
                    <a:pt x="136" y="816"/>
                  </a:lnTo>
                  <a:lnTo>
                    <a:pt x="136" y="818"/>
                  </a:lnTo>
                  <a:lnTo>
                    <a:pt x="136" y="818"/>
                  </a:lnTo>
                  <a:lnTo>
                    <a:pt x="136" y="818"/>
                  </a:lnTo>
                  <a:lnTo>
                    <a:pt x="136" y="820"/>
                  </a:lnTo>
                  <a:lnTo>
                    <a:pt x="136" y="820"/>
                  </a:lnTo>
                  <a:lnTo>
                    <a:pt x="136" y="820"/>
                  </a:lnTo>
                  <a:lnTo>
                    <a:pt x="136" y="822"/>
                  </a:lnTo>
                  <a:lnTo>
                    <a:pt x="136" y="822"/>
                  </a:lnTo>
                  <a:lnTo>
                    <a:pt x="136" y="824"/>
                  </a:lnTo>
                  <a:lnTo>
                    <a:pt x="136" y="824"/>
                  </a:lnTo>
                  <a:lnTo>
                    <a:pt x="136" y="826"/>
                  </a:lnTo>
                  <a:lnTo>
                    <a:pt x="136" y="826"/>
                  </a:lnTo>
                  <a:lnTo>
                    <a:pt x="138" y="826"/>
                  </a:lnTo>
                  <a:lnTo>
                    <a:pt x="138" y="828"/>
                  </a:lnTo>
                  <a:lnTo>
                    <a:pt x="138" y="832"/>
                  </a:lnTo>
                  <a:lnTo>
                    <a:pt x="142" y="838"/>
                  </a:lnTo>
                  <a:lnTo>
                    <a:pt x="144" y="840"/>
                  </a:lnTo>
                  <a:lnTo>
                    <a:pt x="144" y="844"/>
                  </a:lnTo>
                  <a:lnTo>
                    <a:pt x="144" y="846"/>
                  </a:lnTo>
                  <a:lnTo>
                    <a:pt x="144" y="848"/>
                  </a:lnTo>
                  <a:lnTo>
                    <a:pt x="142" y="850"/>
                  </a:lnTo>
                  <a:lnTo>
                    <a:pt x="142" y="854"/>
                  </a:lnTo>
                  <a:lnTo>
                    <a:pt x="140" y="856"/>
                  </a:lnTo>
                  <a:lnTo>
                    <a:pt x="140" y="860"/>
                  </a:lnTo>
                  <a:lnTo>
                    <a:pt x="140" y="860"/>
                  </a:lnTo>
                  <a:lnTo>
                    <a:pt x="140" y="860"/>
                  </a:lnTo>
                  <a:lnTo>
                    <a:pt x="138" y="862"/>
                  </a:lnTo>
                  <a:lnTo>
                    <a:pt x="138" y="866"/>
                  </a:lnTo>
                  <a:lnTo>
                    <a:pt x="140" y="870"/>
                  </a:lnTo>
                  <a:lnTo>
                    <a:pt x="140" y="872"/>
                  </a:lnTo>
                  <a:lnTo>
                    <a:pt x="140" y="872"/>
                  </a:lnTo>
                  <a:lnTo>
                    <a:pt x="140" y="874"/>
                  </a:lnTo>
                  <a:lnTo>
                    <a:pt x="142" y="878"/>
                  </a:lnTo>
                  <a:lnTo>
                    <a:pt x="144" y="880"/>
                  </a:lnTo>
                  <a:lnTo>
                    <a:pt x="144" y="884"/>
                  </a:lnTo>
                  <a:lnTo>
                    <a:pt x="146" y="888"/>
                  </a:lnTo>
                  <a:lnTo>
                    <a:pt x="148" y="896"/>
                  </a:lnTo>
                  <a:lnTo>
                    <a:pt x="148" y="906"/>
                  </a:lnTo>
                  <a:lnTo>
                    <a:pt x="150" y="908"/>
                  </a:lnTo>
                  <a:lnTo>
                    <a:pt x="150" y="910"/>
                  </a:lnTo>
                  <a:lnTo>
                    <a:pt x="152" y="914"/>
                  </a:lnTo>
                  <a:lnTo>
                    <a:pt x="152" y="914"/>
                  </a:lnTo>
                  <a:lnTo>
                    <a:pt x="152" y="916"/>
                  </a:lnTo>
                  <a:lnTo>
                    <a:pt x="154" y="920"/>
                  </a:lnTo>
                  <a:lnTo>
                    <a:pt x="154" y="922"/>
                  </a:lnTo>
                  <a:lnTo>
                    <a:pt x="154" y="928"/>
                  </a:lnTo>
                  <a:lnTo>
                    <a:pt x="152" y="932"/>
                  </a:lnTo>
                  <a:lnTo>
                    <a:pt x="152" y="940"/>
                  </a:lnTo>
                  <a:lnTo>
                    <a:pt x="150" y="946"/>
                  </a:lnTo>
                  <a:lnTo>
                    <a:pt x="150" y="954"/>
                  </a:lnTo>
                  <a:lnTo>
                    <a:pt x="148" y="960"/>
                  </a:lnTo>
                  <a:lnTo>
                    <a:pt x="148" y="968"/>
                  </a:lnTo>
                  <a:lnTo>
                    <a:pt x="148" y="972"/>
                  </a:lnTo>
                  <a:lnTo>
                    <a:pt x="148" y="972"/>
                  </a:lnTo>
                  <a:lnTo>
                    <a:pt x="148" y="974"/>
                  </a:lnTo>
                  <a:lnTo>
                    <a:pt x="152" y="978"/>
                  </a:lnTo>
                  <a:lnTo>
                    <a:pt x="154" y="982"/>
                  </a:lnTo>
                  <a:lnTo>
                    <a:pt x="158" y="990"/>
                  </a:lnTo>
                  <a:lnTo>
                    <a:pt x="160" y="994"/>
                  </a:lnTo>
                  <a:lnTo>
                    <a:pt x="162" y="996"/>
                  </a:lnTo>
                  <a:lnTo>
                    <a:pt x="164" y="1000"/>
                  </a:lnTo>
                  <a:lnTo>
                    <a:pt x="166" y="1004"/>
                  </a:lnTo>
                  <a:lnTo>
                    <a:pt x="164" y="1010"/>
                  </a:lnTo>
                  <a:lnTo>
                    <a:pt x="164" y="1010"/>
                  </a:lnTo>
                  <a:lnTo>
                    <a:pt x="164" y="1010"/>
                  </a:lnTo>
                  <a:lnTo>
                    <a:pt x="164" y="1016"/>
                  </a:lnTo>
                  <a:lnTo>
                    <a:pt x="162" y="1022"/>
                  </a:lnTo>
                  <a:lnTo>
                    <a:pt x="162" y="1026"/>
                  </a:lnTo>
                  <a:lnTo>
                    <a:pt x="162" y="1028"/>
                  </a:lnTo>
                  <a:lnTo>
                    <a:pt x="160" y="1028"/>
                  </a:lnTo>
                  <a:lnTo>
                    <a:pt x="160" y="1028"/>
                  </a:lnTo>
                  <a:lnTo>
                    <a:pt x="158" y="1028"/>
                  </a:lnTo>
                  <a:lnTo>
                    <a:pt x="156" y="1030"/>
                  </a:lnTo>
                  <a:lnTo>
                    <a:pt x="156" y="1030"/>
                  </a:lnTo>
                  <a:lnTo>
                    <a:pt x="156" y="1030"/>
                  </a:lnTo>
                  <a:lnTo>
                    <a:pt x="154" y="1030"/>
                  </a:lnTo>
                  <a:lnTo>
                    <a:pt x="154" y="1030"/>
                  </a:lnTo>
                  <a:lnTo>
                    <a:pt x="154" y="1030"/>
                  </a:lnTo>
                  <a:lnTo>
                    <a:pt x="152" y="1032"/>
                  </a:lnTo>
                  <a:lnTo>
                    <a:pt x="152" y="1032"/>
                  </a:lnTo>
                  <a:lnTo>
                    <a:pt x="152" y="1032"/>
                  </a:lnTo>
                  <a:lnTo>
                    <a:pt x="150" y="1036"/>
                  </a:lnTo>
                  <a:lnTo>
                    <a:pt x="150" y="1036"/>
                  </a:lnTo>
                  <a:lnTo>
                    <a:pt x="150" y="1036"/>
                  </a:lnTo>
                  <a:lnTo>
                    <a:pt x="150" y="1040"/>
                  </a:lnTo>
                  <a:lnTo>
                    <a:pt x="150" y="1044"/>
                  </a:lnTo>
                  <a:lnTo>
                    <a:pt x="150" y="1044"/>
                  </a:lnTo>
                  <a:lnTo>
                    <a:pt x="150" y="1046"/>
                  </a:lnTo>
                  <a:lnTo>
                    <a:pt x="146" y="1048"/>
                  </a:lnTo>
                  <a:lnTo>
                    <a:pt x="142" y="1052"/>
                  </a:lnTo>
                  <a:lnTo>
                    <a:pt x="142" y="1052"/>
                  </a:lnTo>
                  <a:lnTo>
                    <a:pt x="142" y="1052"/>
                  </a:lnTo>
                  <a:lnTo>
                    <a:pt x="140" y="1056"/>
                  </a:lnTo>
                  <a:lnTo>
                    <a:pt x="140" y="1056"/>
                  </a:lnTo>
                  <a:lnTo>
                    <a:pt x="140" y="1056"/>
                  </a:lnTo>
                  <a:lnTo>
                    <a:pt x="138" y="1060"/>
                  </a:lnTo>
                  <a:lnTo>
                    <a:pt x="136" y="1062"/>
                  </a:lnTo>
                  <a:lnTo>
                    <a:pt x="134" y="1064"/>
                  </a:lnTo>
                  <a:lnTo>
                    <a:pt x="132" y="1066"/>
                  </a:lnTo>
                  <a:lnTo>
                    <a:pt x="130" y="1066"/>
                  </a:lnTo>
                  <a:lnTo>
                    <a:pt x="130" y="1066"/>
                  </a:lnTo>
                  <a:lnTo>
                    <a:pt x="130" y="1068"/>
                  </a:lnTo>
                  <a:lnTo>
                    <a:pt x="130" y="1070"/>
                  </a:lnTo>
                  <a:lnTo>
                    <a:pt x="130" y="1070"/>
                  </a:lnTo>
                  <a:lnTo>
                    <a:pt x="128" y="1072"/>
                  </a:lnTo>
                  <a:lnTo>
                    <a:pt x="128" y="1074"/>
                  </a:lnTo>
                  <a:lnTo>
                    <a:pt x="128" y="1074"/>
                  </a:lnTo>
                  <a:lnTo>
                    <a:pt x="128" y="1074"/>
                  </a:lnTo>
                  <a:lnTo>
                    <a:pt x="130" y="1078"/>
                  </a:lnTo>
                  <a:lnTo>
                    <a:pt x="130" y="1078"/>
                  </a:lnTo>
                  <a:lnTo>
                    <a:pt x="130" y="1078"/>
                  </a:lnTo>
                  <a:lnTo>
                    <a:pt x="132" y="1080"/>
                  </a:lnTo>
                  <a:lnTo>
                    <a:pt x="134" y="1084"/>
                  </a:lnTo>
                  <a:lnTo>
                    <a:pt x="136" y="1086"/>
                  </a:lnTo>
                  <a:lnTo>
                    <a:pt x="136" y="1086"/>
                  </a:lnTo>
                  <a:lnTo>
                    <a:pt x="136" y="1088"/>
                  </a:lnTo>
                  <a:lnTo>
                    <a:pt x="140" y="1090"/>
                  </a:lnTo>
                  <a:lnTo>
                    <a:pt x="142" y="1092"/>
                  </a:lnTo>
                  <a:lnTo>
                    <a:pt x="144" y="1096"/>
                  </a:lnTo>
                  <a:lnTo>
                    <a:pt x="146" y="1098"/>
                  </a:lnTo>
                  <a:lnTo>
                    <a:pt x="142" y="1096"/>
                  </a:lnTo>
                  <a:lnTo>
                    <a:pt x="138" y="1098"/>
                  </a:lnTo>
                  <a:lnTo>
                    <a:pt x="136" y="1098"/>
                  </a:lnTo>
                  <a:lnTo>
                    <a:pt x="136" y="1098"/>
                  </a:lnTo>
                  <a:lnTo>
                    <a:pt x="136" y="1098"/>
                  </a:lnTo>
                  <a:lnTo>
                    <a:pt x="134" y="1098"/>
                  </a:lnTo>
                  <a:lnTo>
                    <a:pt x="134" y="1098"/>
                  </a:lnTo>
                  <a:lnTo>
                    <a:pt x="132" y="1098"/>
                  </a:lnTo>
                  <a:lnTo>
                    <a:pt x="130" y="1100"/>
                  </a:lnTo>
                  <a:lnTo>
                    <a:pt x="130" y="1100"/>
                  </a:lnTo>
                  <a:lnTo>
                    <a:pt x="130" y="1100"/>
                  </a:lnTo>
                  <a:lnTo>
                    <a:pt x="128" y="1102"/>
                  </a:lnTo>
                  <a:lnTo>
                    <a:pt x="128" y="1102"/>
                  </a:lnTo>
                  <a:lnTo>
                    <a:pt x="128" y="1104"/>
                  </a:lnTo>
                  <a:lnTo>
                    <a:pt x="128" y="1106"/>
                  </a:lnTo>
                  <a:lnTo>
                    <a:pt x="126" y="1106"/>
                  </a:lnTo>
                  <a:lnTo>
                    <a:pt x="126" y="1106"/>
                  </a:lnTo>
                  <a:lnTo>
                    <a:pt x="126" y="1108"/>
                  </a:lnTo>
                  <a:lnTo>
                    <a:pt x="126" y="1108"/>
                  </a:lnTo>
                  <a:lnTo>
                    <a:pt x="126" y="1108"/>
                  </a:lnTo>
                  <a:lnTo>
                    <a:pt x="126" y="1110"/>
                  </a:lnTo>
                  <a:lnTo>
                    <a:pt x="124" y="1114"/>
                  </a:lnTo>
                  <a:lnTo>
                    <a:pt x="124" y="1118"/>
                  </a:lnTo>
                  <a:lnTo>
                    <a:pt x="124" y="1120"/>
                  </a:lnTo>
                  <a:lnTo>
                    <a:pt x="124" y="1122"/>
                  </a:lnTo>
                  <a:lnTo>
                    <a:pt x="122" y="1126"/>
                  </a:lnTo>
                  <a:lnTo>
                    <a:pt x="122" y="1130"/>
                  </a:lnTo>
                  <a:lnTo>
                    <a:pt x="122" y="1130"/>
                  </a:lnTo>
                  <a:lnTo>
                    <a:pt x="120" y="1132"/>
                  </a:lnTo>
                  <a:lnTo>
                    <a:pt x="120" y="1134"/>
                  </a:lnTo>
                  <a:lnTo>
                    <a:pt x="120" y="1136"/>
                  </a:lnTo>
                  <a:lnTo>
                    <a:pt x="120" y="1138"/>
                  </a:lnTo>
                  <a:lnTo>
                    <a:pt x="120" y="1138"/>
                  </a:lnTo>
                  <a:lnTo>
                    <a:pt x="120" y="1142"/>
                  </a:lnTo>
                  <a:lnTo>
                    <a:pt x="120" y="1144"/>
                  </a:lnTo>
                  <a:lnTo>
                    <a:pt x="118" y="1148"/>
                  </a:lnTo>
                  <a:lnTo>
                    <a:pt x="118" y="1148"/>
                  </a:lnTo>
                  <a:lnTo>
                    <a:pt x="120" y="1148"/>
                  </a:lnTo>
                  <a:lnTo>
                    <a:pt x="120" y="1150"/>
                  </a:lnTo>
                  <a:lnTo>
                    <a:pt x="120" y="1150"/>
                  </a:lnTo>
                  <a:lnTo>
                    <a:pt x="120" y="1152"/>
                  </a:lnTo>
                  <a:lnTo>
                    <a:pt x="120" y="1152"/>
                  </a:lnTo>
                  <a:lnTo>
                    <a:pt x="120" y="1152"/>
                  </a:lnTo>
                  <a:lnTo>
                    <a:pt x="122" y="1152"/>
                  </a:lnTo>
                  <a:lnTo>
                    <a:pt x="122" y="1152"/>
                  </a:lnTo>
                  <a:lnTo>
                    <a:pt x="122" y="1152"/>
                  </a:lnTo>
                  <a:lnTo>
                    <a:pt x="124" y="1154"/>
                  </a:lnTo>
                  <a:lnTo>
                    <a:pt x="124" y="1154"/>
                  </a:lnTo>
                  <a:lnTo>
                    <a:pt x="124" y="1154"/>
                  </a:lnTo>
                  <a:lnTo>
                    <a:pt x="124" y="1154"/>
                  </a:lnTo>
                  <a:lnTo>
                    <a:pt x="124" y="1154"/>
                  </a:lnTo>
                  <a:lnTo>
                    <a:pt x="126" y="1156"/>
                  </a:lnTo>
                  <a:lnTo>
                    <a:pt x="126" y="1156"/>
                  </a:lnTo>
                  <a:lnTo>
                    <a:pt x="126" y="1156"/>
                  </a:lnTo>
                  <a:lnTo>
                    <a:pt x="128" y="1158"/>
                  </a:lnTo>
                  <a:lnTo>
                    <a:pt x="128" y="1158"/>
                  </a:lnTo>
                  <a:lnTo>
                    <a:pt x="128" y="1158"/>
                  </a:lnTo>
                  <a:lnTo>
                    <a:pt x="130" y="1160"/>
                  </a:lnTo>
                  <a:lnTo>
                    <a:pt x="130" y="1160"/>
                  </a:lnTo>
                  <a:lnTo>
                    <a:pt x="130" y="1160"/>
                  </a:lnTo>
                  <a:lnTo>
                    <a:pt x="128" y="1162"/>
                  </a:lnTo>
                  <a:lnTo>
                    <a:pt x="128" y="1164"/>
                  </a:lnTo>
                  <a:lnTo>
                    <a:pt x="128" y="1168"/>
                  </a:lnTo>
                  <a:lnTo>
                    <a:pt x="126" y="1170"/>
                  </a:lnTo>
                  <a:lnTo>
                    <a:pt x="126" y="1174"/>
                  </a:lnTo>
                  <a:lnTo>
                    <a:pt x="124" y="1178"/>
                  </a:lnTo>
                  <a:lnTo>
                    <a:pt x="124" y="1182"/>
                  </a:lnTo>
                  <a:lnTo>
                    <a:pt x="124" y="1184"/>
                  </a:lnTo>
                  <a:lnTo>
                    <a:pt x="124" y="1184"/>
                  </a:lnTo>
                  <a:lnTo>
                    <a:pt x="124" y="1186"/>
                  </a:lnTo>
                  <a:lnTo>
                    <a:pt x="124" y="1188"/>
                  </a:lnTo>
                  <a:lnTo>
                    <a:pt x="124" y="1188"/>
                  </a:lnTo>
                  <a:lnTo>
                    <a:pt x="124" y="1188"/>
                  </a:lnTo>
                  <a:lnTo>
                    <a:pt x="126" y="1190"/>
                  </a:lnTo>
                  <a:lnTo>
                    <a:pt x="126" y="1190"/>
                  </a:lnTo>
                  <a:lnTo>
                    <a:pt x="126" y="1192"/>
                  </a:lnTo>
                  <a:lnTo>
                    <a:pt x="128" y="1194"/>
                  </a:lnTo>
                  <a:lnTo>
                    <a:pt x="128" y="1194"/>
                  </a:lnTo>
                  <a:lnTo>
                    <a:pt x="128" y="1194"/>
                  </a:lnTo>
                  <a:lnTo>
                    <a:pt x="132" y="1196"/>
                  </a:lnTo>
                  <a:lnTo>
                    <a:pt x="136" y="1198"/>
                  </a:lnTo>
                  <a:lnTo>
                    <a:pt x="140" y="1202"/>
                  </a:lnTo>
                  <a:lnTo>
                    <a:pt x="144" y="1204"/>
                  </a:lnTo>
                  <a:lnTo>
                    <a:pt x="146" y="1208"/>
                  </a:lnTo>
                  <a:lnTo>
                    <a:pt x="150" y="1210"/>
                  </a:lnTo>
                  <a:lnTo>
                    <a:pt x="152" y="1214"/>
                  </a:lnTo>
                  <a:lnTo>
                    <a:pt x="152" y="1214"/>
                  </a:lnTo>
                  <a:lnTo>
                    <a:pt x="152" y="1214"/>
                  </a:lnTo>
                  <a:lnTo>
                    <a:pt x="154" y="1216"/>
                  </a:lnTo>
                  <a:lnTo>
                    <a:pt x="156" y="1216"/>
                  </a:lnTo>
                  <a:lnTo>
                    <a:pt x="156" y="1218"/>
                  </a:lnTo>
                  <a:lnTo>
                    <a:pt x="158" y="1218"/>
                  </a:lnTo>
                  <a:lnTo>
                    <a:pt x="158" y="1218"/>
                  </a:lnTo>
                  <a:lnTo>
                    <a:pt x="158" y="1220"/>
                  </a:lnTo>
                  <a:lnTo>
                    <a:pt x="160" y="1224"/>
                  </a:lnTo>
                  <a:lnTo>
                    <a:pt x="162" y="1228"/>
                  </a:lnTo>
                  <a:lnTo>
                    <a:pt x="164" y="1232"/>
                  </a:lnTo>
                  <a:lnTo>
                    <a:pt x="166" y="1236"/>
                  </a:lnTo>
                  <a:lnTo>
                    <a:pt x="166" y="1242"/>
                  </a:lnTo>
                  <a:lnTo>
                    <a:pt x="166" y="1246"/>
                  </a:lnTo>
                  <a:lnTo>
                    <a:pt x="166" y="1252"/>
                  </a:lnTo>
                  <a:lnTo>
                    <a:pt x="166" y="1256"/>
                  </a:lnTo>
                  <a:lnTo>
                    <a:pt x="166" y="1260"/>
                  </a:lnTo>
                  <a:lnTo>
                    <a:pt x="166" y="1260"/>
                  </a:lnTo>
                  <a:lnTo>
                    <a:pt x="166" y="1260"/>
                  </a:lnTo>
                  <a:lnTo>
                    <a:pt x="166" y="1262"/>
                  </a:lnTo>
                  <a:lnTo>
                    <a:pt x="166" y="1264"/>
                  </a:lnTo>
                  <a:lnTo>
                    <a:pt x="166" y="1266"/>
                  </a:lnTo>
                  <a:lnTo>
                    <a:pt x="168" y="1268"/>
                  </a:lnTo>
                  <a:lnTo>
                    <a:pt x="170" y="1272"/>
                  </a:lnTo>
                  <a:lnTo>
                    <a:pt x="170" y="1274"/>
                  </a:lnTo>
                  <a:lnTo>
                    <a:pt x="170" y="1274"/>
                  </a:lnTo>
                  <a:lnTo>
                    <a:pt x="170" y="1276"/>
                  </a:lnTo>
                  <a:lnTo>
                    <a:pt x="168" y="1278"/>
                  </a:lnTo>
                  <a:lnTo>
                    <a:pt x="168" y="1278"/>
                  </a:lnTo>
                  <a:lnTo>
                    <a:pt x="166" y="1280"/>
                  </a:lnTo>
                  <a:lnTo>
                    <a:pt x="164" y="1282"/>
                  </a:lnTo>
                  <a:lnTo>
                    <a:pt x="164" y="1282"/>
                  </a:lnTo>
                  <a:lnTo>
                    <a:pt x="164" y="1284"/>
                  </a:lnTo>
                  <a:lnTo>
                    <a:pt x="164" y="1286"/>
                  </a:lnTo>
                  <a:lnTo>
                    <a:pt x="164" y="1286"/>
                  </a:lnTo>
                  <a:lnTo>
                    <a:pt x="164" y="1286"/>
                  </a:lnTo>
                  <a:lnTo>
                    <a:pt x="164" y="1288"/>
                  </a:lnTo>
                  <a:lnTo>
                    <a:pt x="164" y="1288"/>
                  </a:lnTo>
                  <a:lnTo>
                    <a:pt x="164" y="1290"/>
                  </a:lnTo>
                  <a:lnTo>
                    <a:pt x="164" y="1290"/>
                  </a:lnTo>
                  <a:lnTo>
                    <a:pt x="164" y="1290"/>
                  </a:lnTo>
                  <a:lnTo>
                    <a:pt x="166" y="1292"/>
                  </a:lnTo>
                  <a:lnTo>
                    <a:pt x="166" y="1292"/>
                  </a:lnTo>
                  <a:lnTo>
                    <a:pt x="166" y="1292"/>
                  </a:lnTo>
                  <a:lnTo>
                    <a:pt x="168" y="1294"/>
                  </a:lnTo>
                  <a:lnTo>
                    <a:pt x="168" y="1294"/>
                  </a:lnTo>
                  <a:lnTo>
                    <a:pt x="168" y="1294"/>
                  </a:lnTo>
                  <a:lnTo>
                    <a:pt x="168" y="1294"/>
                  </a:lnTo>
                  <a:lnTo>
                    <a:pt x="170" y="1294"/>
                  </a:lnTo>
                  <a:lnTo>
                    <a:pt x="176" y="1294"/>
                  </a:lnTo>
                  <a:lnTo>
                    <a:pt x="180" y="1294"/>
                  </a:lnTo>
                  <a:lnTo>
                    <a:pt x="186" y="1294"/>
                  </a:lnTo>
                  <a:lnTo>
                    <a:pt x="192" y="1294"/>
                  </a:lnTo>
                  <a:lnTo>
                    <a:pt x="198" y="1294"/>
                  </a:lnTo>
                  <a:lnTo>
                    <a:pt x="202" y="1294"/>
                  </a:lnTo>
                  <a:lnTo>
                    <a:pt x="204" y="1294"/>
                  </a:lnTo>
                  <a:lnTo>
                    <a:pt x="206" y="1296"/>
                  </a:lnTo>
                  <a:lnTo>
                    <a:pt x="208" y="1296"/>
                  </a:lnTo>
                  <a:lnTo>
                    <a:pt x="208" y="1298"/>
                  </a:lnTo>
                  <a:lnTo>
                    <a:pt x="210" y="1298"/>
                  </a:lnTo>
                  <a:lnTo>
                    <a:pt x="210" y="1300"/>
                  </a:lnTo>
                  <a:lnTo>
                    <a:pt x="210" y="1304"/>
                  </a:lnTo>
                  <a:lnTo>
                    <a:pt x="212" y="1306"/>
                  </a:lnTo>
                  <a:lnTo>
                    <a:pt x="212" y="1306"/>
                  </a:lnTo>
                  <a:lnTo>
                    <a:pt x="212" y="1306"/>
                  </a:lnTo>
                  <a:lnTo>
                    <a:pt x="212" y="1308"/>
                  </a:lnTo>
                  <a:lnTo>
                    <a:pt x="212" y="1308"/>
                  </a:lnTo>
                  <a:lnTo>
                    <a:pt x="212" y="1308"/>
                  </a:lnTo>
                  <a:lnTo>
                    <a:pt x="214" y="1310"/>
                  </a:lnTo>
                  <a:lnTo>
                    <a:pt x="214" y="1310"/>
                  </a:lnTo>
                  <a:lnTo>
                    <a:pt x="214" y="1310"/>
                  </a:lnTo>
                  <a:lnTo>
                    <a:pt x="216" y="1312"/>
                  </a:lnTo>
                  <a:lnTo>
                    <a:pt x="216" y="1312"/>
                  </a:lnTo>
                  <a:lnTo>
                    <a:pt x="216" y="1312"/>
                  </a:lnTo>
                  <a:lnTo>
                    <a:pt x="220" y="1314"/>
                  </a:lnTo>
                  <a:lnTo>
                    <a:pt x="222" y="1316"/>
                  </a:lnTo>
                  <a:lnTo>
                    <a:pt x="224" y="1318"/>
                  </a:lnTo>
                  <a:lnTo>
                    <a:pt x="226" y="1318"/>
                  </a:lnTo>
                  <a:lnTo>
                    <a:pt x="226" y="1318"/>
                  </a:lnTo>
                  <a:lnTo>
                    <a:pt x="226" y="1320"/>
                  </a:lnTo>
                  <a:lnTo>
                    <a:pt x="230" y="1322"/>
                  </a:lnTo>
                  <a:lnTo>
                    <a:pt x="234" y="1326"/>
                  </a:lnTo>
                  <a:lnTo>
                    <a:pt x="238" y="1330"/>
                  </a:lnTo>
                  <a:lnTo>
                    <a:pt x="242" y="1332"/>
                  </a:lnTo>
                  <a:lnTo>
                    <a:pt x="242" y="1332"/>
                  </a:lnTo>
                  <a:lnTo>
                    <a:pt x="244" y="1334"/>
                  </a:lnTo>
                  <a:lnTo>
                    <a:pt x="244" y="1334"/>
                  </a:lnTo>
                  <a:lnTo>
                    <a:pt x="246" y="1334"/>
                  </a:lnTo>
                  <a:lnTo>
                    <a:pt x="248" y="1334"/>
                  </a:lnTo>
                  <a:lnTo>
                    <a:pt x="250" y="1334"/>
                  </a:lnTo>
                  <a:lnTo>
                    <a:pt x="256" y="1336"/>
                  </a:lnTo>
                  <a:lnTo>
                    <a:pt x="258" y="1338"/>
                  </a:lnTo>
                  <a:lnTo>
                    <a:pt x="260" y="1338"/>
                  </a:lnTo>
                  <a:lnTo>
                    <a:pt x="262" y="1340"/>
                  </a:lnTo>
                  <a:lnTo>
                    <a:pt x="262" y="1340"/>
                  </a:lnTo>
                  <a:lnTo>
                    <a:pt x="264" y="1340"/>
                  </a:lnTo>
                  <a:lnTo>
                    <a:pt x="266" y="1340"/>
                  </a:lnTo>
                  <a:lnTo>
                    <a:pt x="266" y="1340"/>
                  </a:lnTo>
                  <a:lnTo>
                    <a:pt x="266" y="1342"/>
                  </a:lnTo>
                  <a:lnTo>
                    <a:pt x="268" y="1342"/>
                  </a:lnTo>
                  <a:lnTo>
                    <a:pt x="268" y="1342"/>
                  </a:lnTo>
                  <a:lnTo>
                    <a:pt x="268" y="1342"/>
                  </a:lnTo>
                  <a:lnTo>
                    <a:pt x="270" y="1340"/>
                  </a:lnTo>
                  <a:lnTo>
                    <a:pt x="272" y="1340"/>
                  </a:lnTo>
                  <a:lnTo>
                    <a:pt x="272" y="1340"/>
                  </a:lnTo>
                  <a:lnTo>
                    <a:pt x="274" y="1340"/>
                  </a:lnTo>
                  <a:lnTo>
                    <a:pt x="276" y="1340"/>
                  </a:lnTo>
                  <a:lnTo>
                    <a:pt x="280" y="1342"/>
                  </a:lnTo>
                  <a:lnTo>
                    <a:pt x="284" y="1344"/>
                  </a:lnTo>
                  <a:lnTo>
                    <a:pt x="290" y="1346"/>
                  </a:lnTo>
                  <a:lnTo>
                    <a:pt x="294" y="1348"/>
                  </a:lnTo>
                  <a:lnTo>
                    <a:pt x="294" y="1348"/>
                  </a:lnTo>
                  <a:lnTo>
                    <a:pt x="294" y="1350"/>
                  </a:lnTo>
                  <a:lnTo>
                    <a:pt x="296" y="1352"/>
                  </a:lnTo>
                  <a:lnTo>
                    <a:pt x="298" y="1354"/>
                  </a:lnTo>
                  <a:lnTo>
                    <a:pt x="298" y="1358"/>
                  </a:lnTo>
                  <a:lnTo>
                    <a:pt x="298" y="1358"/>
                  </a:lnTo>
                  <a:lnTo>
                    <a:pt x="298" y="1362"/>
                  </a:lnTo>
                  <a:lnTo>
                    <a:pt x="296" y="1364"/>
                  </a:lnTo>
                  <a:lnTo>
                    <a:pt x="296" y="1368"/>
                  </a:lnTo>
                  <a:lnTo>
                    <a:pt x="292" y="1376"/>
                  </a:lnTo>
                  <a:lnTo>
                    <a:pt x="292" y="1380"/>
                  </a:lnTo>
                  <a:lnTo>
                    <a:pt x="290" y="1382"/>
                  </a:lnTo>
                  <a:lnTo>
                    <a:pt x="288" y="1386"/>
                  </a:lnTo>
                  <a:lnTo>
                    <a:pt x="284" y="1390"/>
                  </a:lnTo>
                  <a:lnTo>
                    <a:pt x="282" y="1394"/>
                  </a:lnTo>
                  <a:lnTo>
                    <a:pt x="280" y="1394"/>
                  </a:lnTo>
                  <a:lnTo>
                    <a:pt x="280" y="1394"/>
                  </a:lnTo>
                  <a:lnTo>
                    <a:pt x="278" y="1396"/>
                  </a:lnTo>
                  <a:lnTo>
                    <a:pt x="278" y="1394"/>
                  </a:lnTo>
                  <a:lnTo>
                    <a:pt x="274" y="1394"/>
                  </a:lnTo>
                  <a:lnTo>
                    <a:pt x="274" y="1394"/>
                  </a:lnTo>
                  <a:lnTo>
                    <a:pt x="274" y="1394"/>
                  </a:lnTo>
                  <a:lnTo>
                    <a:pt x="272" y="1394"/>
                  </a:lnTo>
                  <a:lnTo>
                    <a:pt x="272" y="1392"/>
                  </a:lnTo>
                  <a:lnTo>
                    <a:pt x="272" y="1392"/>
                  </a:lnTo>
                  <a:lnTo>
                    <a:pt x="270" y="1394"/>
                  </a:lnTo>
                  <a:lnTo>
                    <a:pt x="270" y="1394"/>
                  </a:lnTo>
                  <a:lnTo>
                    <a:pt x="270" y="1394"/>
                  </a:lnTo>
                  <a:lnTo>
                    <a:pt x="268" y="1396"/>
                  </a:lnTo>
                  <a:lnTo>
                    <a:pt x="268" y="1398"/>
                  </a:lnTo>
                  <a:lnTo>
                    <a:pt x="268" y="1398"/>
                  </a:lnTo>
                  <a:lnTo>
                    <a:pt x="268" y="1400"/>
                  </a:lnTo>
                  <a:lnTo>
                    <a:pt x="270" y="1400"/>
                  </a:lnTo>
                  <a:lnTo>
                    <a:pt x="274" y="1402"/>
                  </a:lnTo>
                  <a:lnTo>
                    <a:pt x="276" y="1402"/>
                  </a:lnTo>
                  <a:lnTo>
                    <a:pt x="276" y="1404"/>
                  </a:lnTo>
                  <a:lnTo>
                    <a:pt x="278" y="1406"/>
                  </a:lnTo>
                  <a:lnTo>
                    <a:pt x="278" y="1408"/>
                  </a:lnTo>
                  <a:lnTo>
                    <a:pt x="278" y="1408"/>
                  </a:lnTo>
                  <a:lnTo>
                    <a:pt x="278" y="1412"/>
                  </a:lnTo>
                  <a:lnTo>
                    <a:pt x="278" y="1414"/>
                  </a:lnTo>
                  <a:lnTo>
                    <a:pt x="276" y="1416"/>
                  </a:lnTo>
                  <a:lnTo>
                    <a:pt x="276" y="1416"/>
                  </a:lnTo>
                  <a:lnTo>
                    <a:pt x="272" y="1416"/>
                  </a:lnTo>
                  <a:lnTo>
                    <a:pt x="272" y="1416"/>
                  </a:lnTo>
                  <a:lnTo>
                    <a:pt x="272" y="1416"/>
                  </a:lnTo>
                  <a:lnTo>
                    <a:pt x="270" y="1416"/>
                  </a:lnTo>
                  <a:lnTo>
                    <a:pt x="270" y="1416"/>
                  </a:lnTo>
                  <a:lnTo>
                    <a:pt x="270" y="1418"/>
                  </a:lnTo>
                  <a:lnTo>
                    <a:pt x="268" y="1420"/>
                  </a:lnTo>
                  <a:lnTo>
                    <a:pt x="268" y="1420"/>
                  </a:lnTo>
                  <a:lnTo>
                    <a:pt x="268" y="1420"/>
                  </a:lnTo>
                  <a:lnTo>
                    <a:pt x="268" y="1422"/>
                  </a:lnTo>
                  <a:lnTo>
                    <a:pt x="268" y="1426"/>
                  </a:lnTo>
                  <a:lnTo>
                    <a:pt x="268" y="1428"/>
                  </a:lnTo>
                  <a:lnTo>
                    <a:pt x="268" y="1430"/>
                  </a:lnTo>
                  <a:lnTo>
                    <a:pt x="268" y="1432"/>
                  </a:lnTo>
                  <a:lnTo>
                    <a:pt x="268" y="1434"/>
                  </a:lnTo>
                  <a:lnTo>
                    <a:pt x="266" y="1440"/>
                  </a:lnTo>
                  <a:lnTo>
                    <a:pt x="266" y="1442"/>
                  </a:lnTo>
                  <a:lnTo>
                    <a:pt x="266" y="1442"/>
                  </a:lnTo>
                  <a:lnTo>
                    <a:pt x="266" y="1442"/>
                  </a:lnTo>
                  <a:lnTo>
                    <a:pt x="264" y="1442"/>
                  </a:lnTo>
                  <a:lnTo>
                    <a:pt x="262" y="1442"/>
                  </a:lnTo>
                  <a:lnTo>
                    <a:pt x="262" y="1442"/>
                  </a:lnTo>
                  <a:lnTo>
                    <a:pt x="262" y="1442"/>
                  </a:lnTo>
                  <a:lnTo>
                    <a:pt x="260" y="1442"/>
                  </a:lnTo>
                  <a:lnTo>
                    <a:pt x="260" y="1442"/>
                  </a:lnTo>
                  <a:lnTo>
                    <a:pt x="260" y="1444"/>
                  </a:lnTo>
                  <a:lnTo>
                    <a:pt x="258" y="1444"/>
                  </a:lnTo>
                  <a:lnTo>
                    <a:pt x="258" y="1444"/>
                  </a:lnTo>
                  <a:lnTo>
                    <a:pt x="258" y="1446"/>
                  </a:lnTo>
                  <a:lnTo>
                    <a:pt x="258" y="1448"/>
                  </a:lnTo>
                  <a:lnTo>
                    <a:pt x="256" y="1448"/>
                  </a:lnTo>
                  <a:lnTo>
                    <a:pt x="256" y="1450"/>
                  </a:lnTo>
                  <a:lnTo>
                    <a:pt x="256" y="1450"/>
                  </a:lnTo>
                  <a:lnTo>
                    <a:pt x="256" y="1452"/>
                  </a:lnTo>
                  <a:lnTo>
                    <a:pt x="258" y="1454"/>
                  </a:lnTo>
                  <a:lnTo>
                    <a:pt x="264" y="1458"/>
                  </a:lnTo>
                  <a:lnTo>
                    <a:pt x="270" y="1462"/>
                  </a:lnTo>
                  <a:lnTo>
                    <a:pt x="274" y="1464"/>
                  </a:lnTo>
                  <a:lnTo>
                    <a:pt x="276" y="1466"/>
                  </a:lnTo>
                  <a:lnTo>
                    <a:pt x="278" y="1468"/>
                  </a:lnTo>
                  <a:lnTo>
                    <a:pt x="280" y="1472"/>
                  </a:lnTo>
                  <a:lnTo>
                    <a:pt x="280" y="1472"/>
                  </a:lnTo>
                  <a:lnTo>
                    <a:pt x="282" y="1474"/>
                  </a:lnTo>
                  <a:lnTo>
                    <a:pt x="284" y="1474"/>
                  </a:lnTo>
                  <a:lnTo>
                    <a:pt x="286" y="1474"/>
                  </a:lnTo>
                  <a:lnTo>
                    <a:pt x="286" y="1474"/>
                  </a:lnTo>
                  <a:lnTo>
                    <a:pt x="290" y="1476"/>
                  </a:lnTo>
                  <a:lnTo>
                    <a:pt x="294" y="1480"/>
                  </a:lnTo>
                  <a:lnTo>
                    <a:pt x="298" y="1482"/>
                  </a:lnTo>
                  <a:lnTo>
                    <a:pt x="298" y="1482"/>
                  </a:lnTo>
                  <a:lnTo>
                    <a:pt x="300" y="1482"/>
                  </a:lnTo>
                  <a:lnTo>
                    <a:pt x="306" y="1484"/>
                  </a:lnTo>
                  <a:lnTo>
                    <a:pt x="312" y="1486"/>
                  </a:lnTo>
                  <a:lnTo>
                    <a:pt x="318" y="1488"/>
                  </a:lnTo>
                  <a:lnTo>
                    <a:pt x="320" y="1488"/>
                  </a:lnTo>
                  <a:lnTo>
                    <a:pt x="322" y="1490"/>
                  </a:lnTo>
                  <a:lnTo>
                    <a:pt x="322" y="1490"/>
                  </a:lnTo>
                  <a:lnTo>
                    <a:pt x="324" y="1490"/>
                  </a:lnTo>
                  <a:lnTo>
                    <a:pt x="324" y="1490"/>
                  </a:lnTo>
                  <a:lnTo>
                    <a:pt x="326" y="1492"/>
                  </a:lnTo>
                  <a:lnTo>
                    <a:pt x="328" y="1492"/>
                  </a:lnTo>
                  <a:lnTo>
                    <a:pt x="330" y="1492"/>
                  </a:lnTo>
                  <a:lnTo>
                    <a:pt x="336" y="1492"/>
                  </a:lnTo>
                  <a:lnTo>
                    <a:pt x="338" y="1494"/>
                  </a:lnTo>
                  <a:lnTo>
                    <a:pt x="340" y="1494"/>
                  </a:lnTo>
                  <a:lnTo>
                    <a:pt x="346" y="1494"/>
                  </a:lnTo>
                  <a:lnTo>
                    <a:pt x="350" y="1496"/>
                  </a:lnTo>
                  <a:lnTo>
                    <a:pt x="356" y="1496"/>
                  </a:lnTo>
                  <a:lnTo>
                    <a:pt x="360" y="1500"/>
                  </a:lnTo>
                  <a:lnTo>
                    <a:pt x="360" y="1500"/>
                  </a:lnTo>
                  <a:lnTo>
                    <a:pt x="362" y="1500"/>
                  </a:lnTo>
                  <a:lnTo>
                    <a:pt x="366" y="1500"/>
                  </a:lnTo>
                  <a:lnTo>
                    <a:pt x="368" y="1500"/>
                  </a:lnTo>
                  <a:lnTo>
                    <a:pt x="372" y="1500"/>
                  </a:lnTo>
                  <a:lnTo>
                    <a:pt x="374" y="1502"/>
                  </a:lnTo>
                  <a:lnTo>
                    <a:pt x="376" y="1502"/>
                  </a:lnTo>
                  <a:lnTo>
                    <a:pt x="378" y="1502"/>
                  </a:lnTo>
                  <a:lnTo>
                    <a:pt x="380" y="1504"/>
                  </a:lnTo>
                  <a:lnTo>
                    <a:pt x="380" y="1504"/>
                  </a:lnTo>
                  <a:lnTo>
                    <a:pt x="382" y="1506"/>
                  </a:lnTo>
                  <a:lnTo>
                    <a:pt x="384" y="1506"/>
                  </a:lnTo>
                  <a:lnTo>
                    <a:pt x="384" y="1506"/>
                  </a:lnTo>
                  <a:lnTo>
                    <a:pt x="386" y="1508"/>
                  </a:lnTo>
                  <a:lnTo>
                    <a:pt x="386" y="1510"/>
                  </a:lnTo>
                  <a:lnTo>
                    <a:pt x="390" y="1514"/>
                  </a:lnTo>
                  <a:lnTo>
                    <a:pt x="392" y="1518"/>
                  </a:lnTo>
                  <a:lnTo>
                    <a:pt x="392" y="1518"/>
                  </a:lnTo>
                  <a:lnTo>
                    <a:pt x="392" y="1520"/>
                  </a:lnTo>
                  <a:lnTo>
                    <a:pt x="396" y="1522"/>
                  </a:lnTo>
                  <a:lnTo>
                    <a:pt x="398" y="1526"/>
                  </a:lnTo>
                  <a:lnTo>
                    <a:pt x="400" y="1528"/>
                  </a:lnTo>
                  <a:lnTo>
                    <a:pt x="402" y="1528"/>
                  </a:lnTo>
                  <a:lnTo>
                    <a:pt x="402" y="1528"/>
                  </a:lnTo>
                  <a:lnTo>
                    <a:pt x="402" y="1528"/>
                  </a:lnTo>
                  <a:lnTo>
                    <a:pt x="404" y="1528"/>
                  </a:lnTo>
                  <a:lnTo>
                    <a:pt x="404" y="1528"/>
                  </a:lnTo>
                  <a:lnTo>
                    <a:pt x="404" y="1528"/>
                  </a:lnTo>
                  <a:lnTo>
                    <a:pt x="406" y="1528"/>
                  </a:lnTo>
                  <a:lnTo>
                    <a:pt x="406" y="1528"/>
                  </a:lnTo>
                  <a:lnTo>
                    <a:pt x="408" y="1528"/>
                  </a:lnTo>
                  <a:lnTo>
                    <a:pt x="408" y="1528"/>
                  </a:lnTo>
                  <a:lnTo>
                    <a:pt x="408" y="1528"/>
                  </a:lnTo>
                  <a:lnTo>
                    <a:pt x="410" y="1526"/>
                  </a:lnTo>
                  <a:lnTo>
                    <a:pt x="410" y="1526"/>
                  </a:lnTo>
                  <a:lnTo>
                    <a:pt x="410" y="1526"/>
                  </a:lnTo>
                  <a:lnTo>
                    <a:pt x="410" y="1526"/>
                  </a:lnTo>
                  <a:lnTo>
                    <a:pt x="412" y="1524"/>
                  </a:lnTo>
                  <a:lnTo>
                    <a:pt x="412" y="1522"/>
                  </a:lnTo>
                  <a:lnTo>
                    <a:pt x="412" y="1518"/>
                  </a:lnTo>
                  <a:lnTo>
                    <a:pt x="412" y="1516"/>
                  </a:lnTo>
                  <a:lnTo>
                    <a:pt x="412" y="1514"/>
                  </a:lnTo>
                  <a:lnTo>
                    <a:pt x="412" y="1514"/>
                  </a:lnTo>
                  <a:lnTo>
                    <a:pt x="412" y="1510"/>
                  </a:lnTo>
                  <a:lnTo>
                    <a:pt x="410" y="1510"/>
                  </a:lnTo>
                  <a:lnTo>
                    <a:pt x="410" y="1510"/>
                  </a:lnTo>
                  <a:lnTo>
                    <a:pt x="408" y="1508"/>
                  </a:lnTo>
                  <a:lnTo>
                    <a:pt x="408" y="1508"/>
                  </a:lnTo>
                  <a:lnTo>
                    <a:pt x="410" y="1506"/>
                  </a:lnTo>
                  <a:lnTo>
                    <a:pt x="410" y="1500"/>
                  </a:lnTo>
                  <a:lnTo>
                    <a:pt x="412" y="1498"/>
                  </a:lnTo>
                  <a:lnTo>
                    <a:pt x="412" y="1498"/>
                  </a:lnTo>
                  <a:lnTo>
                    <a:pt x="412" y="1496"/>
                  </a:lnTo>
                  <a:lnTo>
                    <a:pt x="410" y="1494"/>
                  </a:lnTo>
                  <a:lnTo>
                    <a:pt x="410" y="1494"/>
                  </a:lnTo>
                  <a:lnTo>
                    <a:pt x="410" y="1492"/>
                  </a:lnTo>
                  <a:lnTo>
                    <a:pt x="406" y="1484"/>
                  </a:lnTo>
                  <a:lnTo>
                    <a:pt x="404" y="1476"/>
                  </a:lnTo>
                  <a:lnTo>
                    <a:pt x="402" y="1468"/>
                  </a:lnTo>
                  <a:lnTo>
                    <a:pt x="402" y="1462"/>
                  </a:lnTo>
                  <a:lnTo>
                    <a:pt x="404" y="1460"/>
                  </a:lnTo>
                  <a:lnTo>
                    <a:pt x="404" y="1458"/>
                  </a:lnTo>
                  <a:lnTo>
                    <a:pt x="406" y="1454"/>
                  </a:lnTo>
                  <a:lnTo>
                    <a:pt x="406" y="1452"/>
                  </a:lnTo>
                  <a:lnTo>
                    <a:pt x="408" y="1452"/>
                  </a:lnTo>
                  <a:lnTo>
                    <a:pt x="408" y="1452"/>
                  </a:lnTo>
                  <a:lnTo>
                    <a:pt x="408" y="1452"/>
                  </a:lnTo>
                  <a:lnTo>
                    <a:pt x="410" y="1450"/>
                  </a:lnTo>
                  <a:lnTo>
                    <a:pt x="410" y="1450"/>
                  </a:lnTo>
                  <a:lnTo>
                    <a:pt x="412" y="1448"/>
                  </a:lnTo>
                  <a:lnTo>
                    <a:pt x="412" y="1446"/>
                  </a:lnTo>
                  <a:lnTo>
                    <a:pt x="412" y="1446"/>
                  </a:lnTo>
                  <a:lnTo>
                    <a:pt x="412" y="1446"/>
                  </a:lnTo>
                  <a:lnTo>
                    <a:pt x="414" y="1444"/>
                  </a:lnTo>
                  <a:lnTo>
                    <a:pt x="414" y="1442"/>
                  </a:lnTo>
                  <a:lnTo>
                    <a:pt x="414" y="1440"/>
                  </a:lnTo>
                  <a:lnTo>
                    <a:pt x="416" y="1436"/>
                  </a:lnTo>
                  <a:lnTo>
                    <a:pt x="416" y="1434"/>
                  </a:lnTo>
                  <a:lnTo>
                    <a:pt x="418" y="1434"/>
                  </a:lnTo>
                  <a:lnTo>
                    <a:pt x="418" y="1434"/>
                  </a:lnTo>
                  <a:lnTo>
                    <a:pt x="418" y="1434"/>
                  </a:lnTo>
                  <a:lnTo>
                    <a:pt x="420" y="1432"/>
                  </a:lnTo>
                  <a:lnTo>
                    <a:pt x="420" y="1432"/>
                  </a:lnTo>
                  <a:lnTo>
                    <a:pt x="422" y="1432"/>
                  </a:lnTo>
                  <a:lnTo>
                    <a:pt x="422" y="1430"/>
                  </a:lnTo>
                  <a:lnTo>
                    <a:pt x="422" y="1430"/>
                  </a:lnTo>
                  <a:lnTo>
                    <a:pt x="422" y="1430"/>
                  </a:lnTo>
                  <a:lnTo>
                    <a:pt x="424" y="1428"/>
                  </a:lnTo>
                  <a:lnTo>
                    <a:pt x="424" y="1428"/>
                  </a:lnTo>
                  <a:lnTo>
                    <a:pt x="424" y="1426"/>
                  </a:lnTo>
                  <a:lnTo>
                    <a:pt x="424" y="1424"/>
                  </a:lnTo>
                  <a:lnTo>
                    <a:pt x="424" y="1420"/>
                  </a:lnTo>
                  <a:lnTo>
                    <a:pt x="422" y="1416"/>
                  </a:lnTo>
                  <a:lnTo>
                    <a:pt x="422" y="1416"/>
                  </a:lnTo>
                  <a:lnTo>
                    <a:pt x="420" y="1414"/>
                  </a:lnTo>
                  <a:lnTo>
                    <a:pt x="418" y="1412"/>
                  </a:lnTo>
                  <a:lnTo>
                    <a:pt x="416" y="1412"/>
                  </a:lnTo>
                  <a:lnTo>
                    <a:pt x="414" y="1412"/>
                  </a:lnTo>
                  <a:lnTo>
                    <a:pt x="414" y="1412"/>
                  </a:lnTo>
                  <a:lnTo>
                    <a:pt x="414" y="1410"/>
                  </a:lnTo>
                  <a:lnTo>
                    <a:pt x="414" y="1408"/>
                  </a:lnTo>
                  <a:lnTo>
                    <a:pt x="414" y="1406"/>
                  </a:lnTo>
                  <a:lnTo>
                    <a:pt x="414" y="1404"/>
                  </a:lnTo>
                  <a:lnTo>
                    <a:pt x="414" y="1400"/>
                  </a:lnTo>
                  <a:lnTo>
                    <a:pt x="414" y="1400"/>
                  </a:lnTo>
                  <a:lnTo>
                    <a:pt x="412" y="1398"/>
                  </a:lnTo>
                  <a:lnTo>
                    <a:pt x="408" y="1398"/>
                  </a:lnTo>
                  <a:lnTo>
                    <a:pt x="406" y="1398"/>
                  </a:lnTo>
                  <a:lnTo>
                    <a:pt x="404" y="1396"/>
                  </a:lnTo>
                  <a:lnTo>
                    <a:pt x="404" y="1396"/>
                  </a:lnTo>
                  <a:lnTo>
                    <a:pt x="404" y="1396"/>
                  </a:lnTo>
                  <a:lnTo>
                    <a:pt x="402" y="1394"/>
                  </a:lnTo>
                  <a:lnTo>
                    <a:pt x="402" y="1394"/>
                  </a:lnTo>
                  <a:lnTo>
                    <a:pt x="402" y="1392"/>
                  </a:lnTo>
                  <a:lnTo>
                    <a:pt x="398" y="1390"/>
                  </a:lnTo>
                  <a:lnTo>
                    <a:pt x="396" y="1388"/>
                  </a:lnTo>
                  <a:lnTo>
                    <a:pt x="390" y="1384"/>
                  </a:lnTo>
                  <a:lnTo>
                    <a:pt x="390" y="1384"/>
                  </a:lnTo>
                  <a:lnTo>
                    <a:pt x="388" y="1384"/>
                  </a:lnTo>
                  <a:lnTo>
                    <a:pt x="386" y="1384"/>
                  </a:lnTo>
                  <a:lnTo>
                    <a:pt x="384" y="1382"/>
                  </a:lnTo>
                  <a:lnTo>
                    <a:pt x="384" y="1382"/>
                  </a:lnTo>
                  <a:lnTo>
                    <a:pt x="384" y="1382"/>
                  </a:lnTo>
                  <a:lnTo>
                    <a:pt x="384" y="1382"/>
                  </a:lnTo>
                  <a:lnTo>
                    <a:pt x="384" y="1380"/>
                  </a:lnTo>
                  <a:lnTo>
                    <a:pt x="386" y="1376"/>
                  </a:lnTo>
                  <a:lnTo>
                    <a:pt x="386" y="1376"/>
                  </a:lnTo>
                  <a:lnTo>
                    <a:pt x="388" y="1374"/>
                  </a:lnTo>
                  <a:lnTo>
                    <a:pt x="390" y="1374"/>
                  </a:lnTo>
                  <a:lnTo>
                    <a:pt x="394" y="1372"/>
                  </a:lnTo>
                  <a:lnTo>
                    <a:pt x="394" y="1372"/>
                  </a:lnTo>
                  <a:lnTo>
                    <a:pt x="394" y="1372"/>
                  </a:lnTo>
                  <a:lnTo>
                    <a:pt x="394" y="1370"/>
                  </a:lnTo>
                  <a:lnTo>
                    <a:pt x="394" y="1370"/>
                  </a:lnTo>
                  <a:lnTo>
                    <a:pt x="396" y="1370"/>
                  </a:lnTo>
                  <a:lnTo>
                    <a:pt x="396" y="1368"/>
                  </a:lnTo>
                  <a:lnTo>
                    <a:pt x="396" y="1368"/>
                  </a:lnTo>
                  <a:lnTo>
                    <a:pt x="396" y="1368"/>
                  </a:lnTo>
                  <a:lnTo>
                    <a:pt x="398" y="1364"/>
                  </a:lnTo>
                  <a:lnTo>
                    <a:pt x="398" y="1364"/>
                  </a:lnTo>
                  <a:lnTo>
                    <a:pt x="398" y="1364"/>
                  </a:lnTo>
                  <a:lnTo>
                    <a:pt x="398" y="1360"/>
                  </a:lnTo>
                  <a:lnTo>
                    <a:pt x="398" y="1358"/>
                  </a:lnTo>
                  <a:lnTo>
                    <a:pt x="400" y="1354"/>
                  </a:lnTo>
                  <a:lnTo>
                    <a:pt x="400" y="1352"/>
                  </a:lnTo>
                  <a:lnTo>
                    <a:pt x="400" y="1352"/>
                  </a:lnTo>
                  <a:lnTo>
                    <a:pt x="400" y="1352"/>
                  </a:lnTo>
                  <a:lnTo>
                    <a:pt x="400" y="1350"/>
                  </a:lnTo>
                  <a:lnTo>
                    <a:pt x="400" y="1346"/>
                  </a:lnTo>
                  <a:lnTo>
                    <a:pt x="400" y="1342"/>
                  </a:lnTo>
                  <a:lnTo>
                    <a:pt x="400" y="1342"/>
                  </a:lnTo>
                  <a:lnTo>
                    <a:pt x="404" y="1344"/>
                  </a:lnTo>
                  <a:lnTo>
                    <a:pt x="406" y="1344"/>
                  </a:lnTo>
                  <a:lnTo>
                    <a:pt x="408" y="1346"/>
                  </a:lnTo>
                  <a:lnTo>
                    <a:pt x="410" y="1346"/>
                  </a:lnTo>
                  <a:lnTo>
                    <a:pt x="410" y="1346"/>
                  </a:lnTo>
                  <a:lnTo>
                    <a:pt x="410" y="1346"/>
                  </a:lnTo>
                  <a:lnTo>
                    <a:pt x="412" y="1348"/>
                  </a:lnTo>
                  <a:lnTo>
                    <a:pt x="412" y="1348"/>
                  </a:lnTo>
                  <a:lnTo>
                    <a:pt x="412" y="1348"/>
                  </a:lnTo>
                  <a:lnTo>
                    <a:pt x="414" y="1348"/>
                  </a:lnTo>
                  <a:lnTo>
                    <a:pt x="414" y="1348"/>
                  </a:lnTo>
                  <a:lnTo>
                    <a:pt x="416" y="1346"/>
                  </a:lnTo>
                  <a:lnTo>
                    <a:pt x="416" y="1346"/>
                  </a:lnTo>
                  <a:lnTo>
                    <a:pt x="416" y="1346"/>
                  </a:lnTo>
                  <a:lnTo>
                    <a:pt x="416" y="1344"/>
                  </a:lnTo>
                  <a:lnTo>
                    <a:pt x="418" y="1344"/>
                  </a:lnTo>
                  <a:lnTo>
                    <a:pt x="418" y="1342"/>
                  </a:lnTo>
                  <a:lnTo>
                    <a:pt x="418" y="1340"/>
                  </a:lnTo>
                  <a:lnTo>
                    <a:pt x="420" y="1338"/>
                  </a:lnTo>
                  <a:lnTo>
                    <a:pt x="420" y="1336"/>
                  </a:lnTo>
                  <a:lnTo>
                    <a:pt x="420" y="1332"/>
                  </a:lnTo>
                  <a:lnTo>
                    <a:pt x="422" y="1330"/>
                  </a:lnTo>
                  <a:lnTo>
                    <a:pt x="424" y="1330"/>
                  </a:lnTo>
                  <a:lnTo>
                    <a:pt x="424" y="1328"/>
                  </a:lnTo>
                  <a:lnTo>
                    <a:pt x="428" y="1328"/>
                  </a:lnTo>
                  <a:lnTo>
                    <a:pt x="428" y="1328"/>
                  </a:lnTo>
                  <a:lnTo>
                    <a:pt x="428" y="1328"/>
                  </a:lnTo>
                  <a:lnTo>
                    <a:pt x="428" y="1326"/>
                  </a:lnTo>
                  <a:lnTo>
                    <a:pt x="428" y="1326"/>
                  </a:lnTo>
                  <a:lnTo>
                    <a:pt x="430" y="1326"/>
                  </a:lnTo>
                  <a:lnTo>
                    <a:pt x="430" y="1326"/>
                  </a:lnTo>
                  <a:lnTo>
                    <a:pt x="430" y="1326"/>
                  </a:lnTo>
                  <a:lnTo>
                    <a:pt x="430" y="1324"/>
                  </a:lnTo>
                  <a:lnTo>
                    <a:pt x="432" y="1322"/>
                  </a:lnTo>
                  <a:lnTo>
                    <a:pt x="432" y="1322"/>
                  </a:lnTo>
                  <a:lnTo>
                    <a:pt x="432" y="1322"/>
                  </a:lnTo>
                  <a:lnTo>
                    <a:pt x="432" y="1320"/>
                  </a:lnTo>
                  <a:lnTo>
                    <a:pt x="434" y="1320"/>
                  </a:lnTo>
                  <a:lnTo>
                    <a:pt x="436" y="1318"/>
                  </a:lnTo>
                  <a:lnTo>
                    <a:pt x="440" y="1316"/>
                  </a:lnTo>
                  <a:lnTo>
                    <a:pt x="444" y="1314"/>
                  </a:lnTo>
                  <a:lnTo>
                    <a:pt x="446" y="1312"/>
                  </a:lnTo>
                  <a:lnTo>
                    <a:pt x="448" y="1310"/>
                  </a:lnTo>
                  <a:lnTo>
                    <a:pt x="458" y="1308"/>
                  </a:lnTo>
                  <a:lnTo>
                    <a:pt x="464" y="1308"/>
                  </a:lnTo>
                  <a:lnTo>
                    <a:pt x="468" y="1308"/>
                  </a:lnTo>
                  <a:lnTo>
                    <a:pt x="470" y="1308"/>
                  </a:lnTo>
                  <a:lnTo>
                    <a:pt x="472" y="1308"/>
                  </a:lnTo>
                  <a:lnTo>
                    <a:pt x="478" y="1310"/>
                  </a:lnTo>
                  <a:lnTo>
                    <a:pt x="482" y="1310"/>
                  </a:lnTo>
                  <a:lnTo>
                    <a:pt x="486" y="1312"/>
                  </a:lnTo>
                  <a:lnTo>
                    <a:pt x="486" y="1312"/>
                  </a:lnTo>
                  <a:lnTo>
                    <a:pt x="488" y="1312"/>
                  </a:lnTo>
                  <a:lnTo>
                    <a:pt x="488" y="1314"/>
                  </a:lnTo>
                  <a:lnTo>
                    <a:pt x="490" y="1314"/>
                  </a:lnTo>
                  <a:lnTo>
                    <a:pt x="492" y="1314"/>
                  </a:lnTo>
                  <a:lnTo>
                    <a:pt x="492" y="1316"/>
                  </a:lnTo>
                  <a:lnTo>
                    <a:pt x="494" y="1318"/>
                  </a:lnTo>
                  <a:lnTo>
                    <a:pt x="496" y="1320"/>
                  </a:lnTo>
                  <a:lnTo>
                    <a:pt x="498" y="1320"/>
                  </a:lnTo>
                  <a:lnTo>
                    <a:pt x="498" y="1320"/>
                  </a:lnTo>
                  <a:lnTo>
                    <a:pt x="498" y="1322"/>
                  </a:lnTo>
                  <a:lnTo>
                    <a:pt x="502" y="1322"/>
                  </a:lnTo>
                  <a:lnTo>
                    <a:pt x="504" y="1324"/>
                  </a:lnTo>
                  <a:lnTo>
                    <a:pt x="510" y="1326"/>
                  </a:lnTo>
                  <a:lnTo>
                    <a:pt x="516" y="1330"/>
                  </a:lnTo>
                  <a:lnTo>
                    <a:pt x="518" y="1330"/>
                  </a:lnTo>
                  <a:lnTo>
                    <a:pt x="522" y="1332"/>
                  </a:lnTo>
                  <a:lnTo>
                    <a:pt x="522" y="1332"/>
                  </a:lnTo>
                  <a:lnTo>
                    <a:pt x="524" y="1330"/>
                  </a:lnTo>
                  <a:lnTo>
                    <a:pt x="528" y="1330"/>
                  </a:lnTo>
                  <a:lnTo>
                    <a:pt x="530" y="1328"/>
                  </a:lnTo>
                  <a:lnTo>
                    <a:pt x="536" y="1326"/>
                  </a:lnTo>
                  <a:lnTo>
                    <a:pt x="538" y="1324"/>
                  </a:lnTo>
                  <a:lnTo>
                    <a:pt x="542" y="1324"/>
                  </a:lnTo>
                  <a:lnTo>
                    <a:pt x="544" y="1324"/>
                  </a:lnTo>
                  <a:lnTo>
                    <a:pt x="548" y="1322"/>
                  </a:lnTo>
                  <a:lnTo>
                    <a:pt x="550" y="1324"/>
                  </a:lnTo>
                  <a:lnTo>
                    <a:pt x="554" y="1324"/>
                  </a:lnTo>
                  <a:lnTo>
                    <a:pt x="556" y="1326"/>
                  </a:lnTo>
                  <a:lnTo>
                    <a:pt x="560" y="1328"/>
                  </a:lnTo>
                  <a:lnTo>
                    <a:pt x="560" y="1328"/>
                  </a:lnTo>
                  <a:lnTo>
                    <a:pt x="560" y="1328"/>
                  </a:lnTo>
                  <a:lnTo>
                    <a:pt x="564" y="1328"/>
                  </a:lnTo>
                  <a:lnTo>
                    <a:pt x="568" y="1330"/>
                  </a:lnTo>
                  <a:lnTo>
                    <a:pt x="572" y="1332"/>
                  </a:lnTo>
                  <a:lnTo>
                    <a:pt x="576" y="1334"/>
                  </a:lnTo>
                  <a:lnTo>
                    <a:pt x="576" y="1334"/>
                  </a:lnTo>
                  <a:lnTo>
                    <a:pt x="578" y="1334"/>
                  </a:lnTo>
                  <a:lnTo>
                    <a:pt x="580" y="1334"/>
                  </a:lnTo>
                  <a:lnTo>
                    <a:pt x="582" y="1334"/>
                  </a:lnTo>
                  <a:lnTo>
                    <a:pt x="588" y="1332"/>
                  </a:lnTo>
                  <a:lnTo>
                    <a:pt x="592" y="1332"/>
                  </a:lnTo>
                  <a:lnTo>
                    <a:pt x="594" y="1332"/>
                  </a:lnTo>
                  <a:lnTo>
                    <a:pt x="598" y="1330"/>
                  </a:lnTo>
                  <a:lnTo>
                    <a:pt x="600" y="1330"/>
                  </a:lnTo>
                  <a:lnTo>
                    <a:pt x="600" y="1330"/>
                  </a:lnTo>
                  <a:lnTo>
                    <a:pt x="600" y="1330"/>
                  </a:lnTo>
                  <a:lnTo>
                    <a:pt x="602" y="1328"/>
                  </a:lnTo>
                  <a:lnTo>
                    <a:pt x="602" y="1328"/>
                  </a:lnTo>
                  <a:lnTo>
                    <a:pt x="602" y="1328"/>
                  </a:lnTo>
                  <a:lnTo>
                    <a:pt x="604" y="1324"/>
                  </a:lnTo>
                  <a:lnTo>
                    <a:pt x="604" y="1324"/>
                  </a:lnTo>
                  <a:lnTo>
                    <a:pt x="604" y="1324"/>
                  </a:lnTo>
                  <a:lnTo>
                    <a:pt x="606" y="1320"/>
                  </a:lnTo>
                  <a:lnTo>
                    <a:pt x="606" y="1320"/>
                  </a:lnTo>
                  <a:lnTo>
                    <a:pt x="606" y="1320"/>
                  </a:lnTo>
                  <a:lnTo>
                    <a:pt x="606" y="1318"/>
                  </a:lnTo>
                  <a:lnTo>
                    <a:pt x="606" y="1318"/>
                  </a:lnTo>
                  <a:lnTo>
                    <a:pt x="606" y="1318"/>
                  </a:lnTo>
                  <a:lnTo>
                    <a:pt x="604" y="1316"/>
                  </a:lnTo>
                  <a:lnTo>
                    <a:pt x="604" y="1316"/>
                  </a:lnTo>
                  <a:lnTo>
                    <a:pt x="604" y="1316"/>
                  </a:lnTo>
                  <a:lnTo>
                    <a:pt x="602" y="1312"/>
                  </a:lnTo>
                  <a:lnTo>
                    <a:pt x="600" y="1310"/>
                  </a:lnTo>
                  <a:lnTo>
                    <a:pt x="594" y="1306"/>
                  </a:lnTo>
                  <a:lnTo>
                    <a:pt x="590" y="1302"/>
                  </a:lnTo>
                  <a:lnTo>
                    <a:pt x="588" y="1302"/>
                  </a:lnTo>
                  <a:lnTo>
                    <a:pt x="590" y="1300"/>
                  </a:lnTo>
                  <a:lnTo>
                    <a:pt x="590" y="1300"/>
                  </a:lnTo>
                  <a:lnTo>
                    <a:pt x="590" y="1300"/>
                  </a:lnTo>
                  <a:lnTo>
                    <a:pt x="594" y="1296"/>
                  </a:lnTo>
                  <a:lnTo>
                    <a:pt x="594" y="1296"/>
                  </a:lnTo>
                  <a:lnTo>
                    <a:pt x="594" y="1296"/>
                  </a:lnTo>
                  <a:lnTo>
                    <a:pt x="596" y="1290"/>
                  </a:lnTo>
                  <a:lnTo>
                    <a:pt x="596" y="1290"/>
                  </a:lnTo>
                  <a:lnTo>
                    <a:pt x="598" y="1290"/>
                  </a:lnTo>
                  <a:lnTo>
                    <a:pt x="598" y="1288"/>
                  </a:lnTo>
                  <a:lnTo>
                    <a:pt x="598" y="1284"/>
                  </a:lnTo>
                  <a:lnTo>
                    <a:pt x="600" y="1282"/>
                  </a:lnTo>
                  <a:lnTo>
                    <a:pt x="602" y="1278"/>
                  </a:lnTo>
                  <a:lnTo>
                    <a:pt x="602" y="1274"/>
                  </a:lnTo>
                  <a:lnTo>
                    <a:pt x="604" y="1272"/>
                  </a:lnTo>
                  <a:lnTo>
                    <a:pt x="604" y="1268"/>
                  </a:lnTo>
                  <a:lnTo>
                    <a:pt x="604" y="1264"/>
                  </a:lnTo>
                  <a:lnTo>
                    <a:pt x="604" y="1260"/>
                  </a:lnTo>
                  <a:lnTo>
                    <a:pt x="604" y="1256"/>
                  </a:lnTo>
                  <a:lnTo>
                    <a:pt x="606" y="1256"/>
                  </a:lnTo>
                  <a:lnTo>
                    <a:pt x="606" y="1254"/>
                  </a:lnTo>
                  <a:lnTo>
                    <a:pt x="608" y="1254"/>
                  </a:lnTo>
                  <a:lnTo>
                    <a:pt x="610" y="1254"/>
                  </a:lnTo>
                  <a:lnTo>
                    <a:pt x="612" y="1252"/>
                  </a:lnTo>
                  <a:lnTo>
                    <a:pt x="616" y="1252"/>
                  </a:lnTo>
                  <a:lnTo>
                    <a:pt x="620" y="1252"/>
                  </a:lnTo>
                  <a:lnTo>
                    <a:pt x="626" y="1252"/>
                  </a:lnTo>
                  <a:lnTo>
                    <a:pt x="632" y="1252"/>
                  </a:lnTo>
                  <a:lnTo>
                    <a:pt x="634" y="1250"/>
                  </a:lnTo>
                  <a:lnTo>
                    <a:pt x="638" y="1250"/>
                  </a:lnTo>
                  <a:lnTo>
                    <a:pt x="642" y="1250"/>
                  </a:lnTo>
                  <a:lnTo>
                    <a:pt x="646" y="1248"/>
                  </a:lnTo>
                  <a:lnTo>
                    <a:pt x="650" y="1248"/>
                  </a:lnTo>
                  <a:lnTo>
                    <a:pt x="650" y="1248"/>
                  </a:lnTo>
                  <a:lnTo>
                    <a:pt x="650" y="1248"/>
                  </a:lnTo>
                  <a:lnTo>
                    <a:pt x="654" y="1246"/>
                  </a:lnTo>
                  <a:lnTo>
                    <a:pt x="654" y="1246"/>
                  </a:lnTo>
                  <a:lnTo>
                    <a:pt x="654" y="1246"/>
                  </a:lnTo>
                  <a:lnTo>
                    <a:pt x="656" y="1246"/>
                  </a:lnTo>
                  <a:lnTo>
                    <a:pt x="656" y="1246"/>
                  </a:lnTo>
                  <a:lnTo>
                    <a:pt x="656" y="1246"/>
                  </a:lnTo>
                  <a:lnTo>
                    <a:pt x="658" y="1244"/>
                  </a:lnTo>
                  <a:lnTo>
                    <a:pt x="660" y="1242"/>
                  </a:lnTo>
                  <a:lnTo>
                    <a:pt x="662" y="1242"/>
                  </a:lnTo>
                  <a:lnTo>
                    <a:pt x="662" y="1240"/>
                  </a:lnTo>
                  <a:lnTo>
                    <a:pt x="664" y="1240"/>
                  </a:lnTo>
                  <a:lnTo>
                    <a:pt x="666" y="1240"/>
                  </a:lnTo>
                  <a:lnTo>
                    <a:pt x="668" y="1240"/>
                  </a:lnTo>
                  <a:lnTo>
                    <a:pt x="672" y="1238"/>
                  </a:lnTo>
                  <a:lnTo>
                    <a:pt x="674" y="1238"/>
                  </a:lnTo>
                  <a:lnTo>
                    <a:pt x="678" y="1236"/>
                  </a:lnTo>
                  <a:lnTo>
                    <a:pt x="684" y="1236"/>
                  </a:lnTo>
                  <a:lnTo>
                    <a:pt x="690" y="1234"/>
                  </a:lnTo>
                  <a:lnTo>
                    <a:pt x="692" y="1234"/>
                  </a:lnTo>
                  <a:lnTo>
                    <a:pt x="694" y="1234"/>
                  </a:lnTo>
                  <a:lnTo>
                    <a:pt x="696" y="1232"/>
                  </a:lnTo>
                  <a:lnTo>
                    <a:pt x="700" y="1230"/>
                  </a:lnTo>
                  <a:lnTo>
                    <a:pt x="704" y="1228"/>
                  </a:lnTo>
                  <a:lnTo>
                    <a:pt x="708" y="1226"/>
                  </a:lnTo>
                  <a:lnTo>
                    <a:pt x="712" y="1226"/>
                  </a:lnTo>
                  <a:lnTo>
                    <a:pt x="716" y="1224"/>
                  </a:lnTo>
                  <a:lnTo>
                    <a:pt x="718" y="1224"/>
                  </a:lnTo>
                  <a:lnTo>
                    <a:pt x="718" y="1224"/>
                  </a:lnTo>
                  <a:lnTo>
                    <a:pt x="720" y="1228"/>
                  </a:lnTo>
                  <a:lnTo>
                    <a:pt x="724" y="1232"/>
                  </a:lnTo>
                  <a:lnTo>
                    <a:pt x="728" y="1236"/>
                  </a:lnTo>
                  <a:lnTo>
                    <a:pt x="730" y="1240"/>
                  </a:lnTo>
                  <a:lnTo>
                    <a:pt x="734" y="1242"/>
                  </a:lnTo>
                  <a:lnTo>
                    <a:pt x="736" y="1244"/>
                  </a:lnTo>
                  <a:lnTo>
                    <a:pt x="736" y="1244"/>
                  </a:lnTo>
                  <a:lnTo>
                    <a:pt x="736" y="1244"/>
                  </a:lnTo>
                  <a:lnTo>
                    <a:pt x="738" y="1246"/>
                  </a:lnTo>
                  <a:lnTo>
                    <a:pt x="738" y="1246"/>
                  </a:lnTo>
                  <a:lnTo>
                    <a:pt x="738" y="1246"/>
                  </a:lnTo>
                  <a:lnTo>
                    <a:pt x="740" y="1246"/>
                  </a:lnTo>
                  <a:lnTo>
                    <a:pt x="740" y="1246"/>
                  </a:lnTo>
                  <a:lnTo>
                    <a:pt x="740" y="1246"/>
                  </a:lnTo>
                  <a:lnTo>
                    <a:pt x="740" y="1246"/>
                  </a:lnTo>
                  <a:lnTo>
                    <a:pt x="740" y="1246"/>
                  </a:lnTo>
                  <a:lnTo>
                    <a:pt x="742" y="1246"/>
                  </a:lnTo>
                  <a:lnTo>
                    <a:pt x="744" y="1244"/>
                  </a:lnTo>
                  <a:lnTo>
                    <a:pt x="744" y="1244"/>
                  </a:lnTo>
                  <a:lnTo>
                    <a:pt x="744" y="1244"/>
                  </a:lnTo>
                  <a:lnTo>
                    <a:pt x="746" y="1244"/>
                  </a:lnTo>
                  <a:lnTo>
                    <a:pt x="746" y="1244"/>
                  </a:lnTo>
                  <a:lnTo>
                    <a:pt x="746" y="1242"/>
                  </a:lnTo>
                  <a:lnTo>
                    <a:pt x="748" y="1240"/>
                  </a:lnTo>
                  <a:lnTo>
                    <a:pt x="750" y="1240"/>
                  </a:lnTo>
                  <a:lnTo>
                    <a:pt x="752" y="1238"/>
                  </a:lnTo>
                  <a:lnTo>
                    <a:pt x="754" y="1238"/>
                  </a:lnTo>
                  <a:lnTo>
                    <a:pt x="756" y="1238"/>
                  </a:lnTo>
                  <a:lnTo>
                    <a:pt x="758" y="1238"/>
                  </a:lnTo>
                  <a:lnTo>
                    <a:pt x="764" y="1240"/>
                  </a:lnTo>
                  <a:lnTo>
                    <a:pt x="768" y="1242"/>
                  </a:lnTo>
                  <a:lnTo>
                    <a:pt x="772" y="1244"/>
                  </a:lnTo>
                  <a:lnTo>
                    <a:pt x="778" y="1248"/>
                  </a:lnTo>
                  <a:lnTo>
                    <a:pt x="782" y="1250"/>
                  </a:lnTo>
                  <a:lnTo>
                    <a:pt x="786" y="1252"/>
                  </a:lnTo>
                  <a:lnTo>
                    <a:pt x="788" y="1254"/>
                  </a:lnTo>
                  <a:lnTo>
                    <a:pt x="790" y="1256"/>
                  </a:lnTo>
                  <a:lnTo>
                    <a:pt x="790" y="1256"/>
                  </a:lnTo>
                  <a:lnTo>
                    <a:pt x="790" y="1258"/>
                  </a:lnTo>
                  <a:lnTo>
                    <a:pt x="790" y="1258"/>
                  </a:lnTo>
                  <a:lnTo>
                    <a:pt x="790" y="1260"/>
                  </a:lnTo>
                  <a:lnTo>
                    <a:pt x="790" y="1260"/>
                  </a:lnTo>
                  <a:lnTo>
                    <a:pt x="788" y="1262"/>
                  </a:lnTo>
                  <a:lnTo>
                    <a:pt x="788" y="1262"/>
                  </a:lnTo>
                  <a:lnTo>
                    <a:pt x="788" y="1262"/>
                  </a:lnTo>
                  <a:lnTo>
                    <a:pt x="788" y="1264"/>
                  </a:lnTo>
                  <a:lnTo>
                    <a:pt x="788" y="1264"/>
                  </a:lnTo>
                  <a:lnTo>
                    <a:pt x="790" y="1266"/>
                  </a:lnTo>
                  <a:lnTo>
                    <a:pt x="792" y="1266"/>
                  </a:lnTo>
                  <a:lnTo>
                    <a:pt x="792" y="1266"/>
                  </a:lnTo>
                  <a:lnTo>
                    <a:pt x="792" y="1266"/>
                  </a:lnTo>
                  <a:lnTo>
                    <a:pt x="794" y="1266"/>
                  </a:lnTo>
                  <a:lnTo>
                    <a:pt x="794" y="1266"/>
                  </a:lnTo>
                  <a:lnTo>
                    <a:pt x="794" y="1266"/>
                  </a:lnTo>
                  <a:lnTo>
                    <a:pt x="796" y="1266"/>
                  </a:lnTo>
                  <a:lnTo>
                    <a:pt x="798" y="1264"/>
                  </a:lnTo>
                  <a:lnTo>
                    <a:pt x="800" y="1262"/>
                  </a:lnTo>
                  <a:lnTo>
                    <a:pt x="806" y="1260"/>
                  </a:lnTo>
                  <a:lnTo>
                    <a:pt x="810" y="1256"/>
                  </a:lnTo>
                  <a:lnTo>
                    <a:pt x="814" y="1256"/>
                  </a:lnTo>
                  <a:lnTo>
                    <a:pt x="816" y="1254"/>
                  </a:lnTo>
                  <a:lnTo>
                    <a:pt x="822" y="1250"/>
                  </a:lnTo>
                  <a:lnTo>
                    <a:pt x="824" y="1248"/>
                  </a:lnTo>
                  <a:lnTo>
                    <a:pt x="828" y="1246"/>
                  </a:lnTo>
                  <a:lnTo>
                    <a:pt x="830" y="1246"/>
                  </a:lnTo>
                  <a:lnTo>
                    <a:pt x="830" y="1246"/>
                  </a:lnTo>
                  <a:lnTo>
                    <a:pt x="830" y="1246"/>
                  </a:lnTo>
                  <a:lnTo>
                    <a:pt x="830" y="1248"/>
                  </a:lnTo>
                  <a:lnTo>
                    <a:pt x="832" y="1248"/>
                  </a:lnTo>
                  <a:lnTo>
                    <a:pt x="832" y="1252"/>
                  </a:lnTo>
                  <a:lnTo>
                    <a:pt x="832" y="1258"/>
                  </a:lnTo>
                  <a:lnTo>
                    <a:pt x="834" y="1260"/>
                  </a:lnTo>
                  <a:lnTo>
                    <a:pt x="834" y="1260"/>
                  </a:lnTo>
                  <a:lnTo>
                    <a:pt x="834" y="1260"/>
                  </a:lnTo>
                  <a:lnTo>
                    <a:pt x="834" y="1262"/>
                  </a:lnTo>
                  <a:lnTo>
                    <a:pt x="834" y="1262"/>
                  </a:lnTo>
                  <a:lnTo>
                    <a:pt x="834" y="1262"/>
                  </a:lnTo>
                  <a:lnTo>
                    <a:pt x="836" y="1264"/>
                  </a:lnTo>
                  <a:lnTo>
                    <a:pt x="836" y="1264"/>
                  </a:lnTo>
                  <a:lnTo>
                    <a:pt x="838" y="1266"/>
                  </a:lnTo>
                  <a:lnTo>
                    <a:pt x="840" y="1266"/>
                  </a:lnTo>
                  <a:lnTo>
                    <a:pt x="844" y="1270"/>
                  </a:lnTo>
                  <a:lnTo>
                    <a:pt x="850" y="1272"/>
                  </a:lnTo>
                  <a:lnTo>
                    <a:pt x="852" y="1274"/>
                  </a:lnTo>
                  <a:lnTo>
                    <a:pt x="852" y="1274"/>
                  </a:lnTo>
                  <a:lnTo>
                    <a:pt x="854" y="1276"/>
                  </a:lnTo>
                  <a:lnTo>
                    <a:pt x="858" y="1280"/>
                  </a:lnTo>
                  <a:lnTo>
                    <a:pt x="862" y="1286"/>
                  </a:lnTo>
                  <a:lnTo>
                    <a:pt x="864" y="1290"/>
                  </a:lnTo>
                  <a:lnTo>
                    <a:pt x="866" y="1296"/>
                  </a:lnTo>
                  <a:lnTo>
                    <a:pt x="866" y="1296"/>
                  </a:lnTo>
                  <a:lnTo>
                    <a:pt x="868" y="1300"/>
                  </a:lnTo>
                  <a:lnTo>
                    <a:pt x="868" y="1306"/>
                  </a:lnTo>
                  <a:lnTo>
                    <a:pt x="868" y="1312"/>
                  </a:lnTo>
                  <a:lnTo>
                    <a:pt x="868" y="1314"/>
                  </a:lnTo>
                  <a:lnTo>
                    <a:pt x="870" y="1316"/>
                  </a:lnTo>
                  <a:lnTo>
                    <a:pt x="870" y="1320"/>
                  </a:lnTo>
                  <a:lnTo>
                    <a:pt x="872" y="1322"/>
                  </a:lnTo>
                  <a:lnTo>
                    <a:pt x="872" y="1322"/>
                  </a:lnTo>
                  <a:lnTo>
                    <a:pt x="872" y="1324"/>
                  </a:lnTo>
                  <a:lnTo>
                    <a:pt x="872" y="1326"/>
                  </a:lnTo>
                  <a:lnTo>
                    <a:pt x="872" y="1326"/>
                  </a:lnTo>
                  <a:lnTo>
                    <a:pt x="874" y="1326"/>
                  </a:lnTo>
                  <a:lnTo>
                    <a:pt x="876" y="1328"/>
                  </a:lnTo>
                  <a:lnTo>
                    <a:pt x="876" y="1328"/>
                  </a:lnTo>
                  <a:lnTo>
                    <a:pt x="876" y="1328"/>
                  </a:lnTo>
                  <a:lnTo>
                    <a:pt x="878" y="1328"/>
                  </a:lnTo>
                  <a:lnTo>
                    <a:pt x="878" y="1328"/>
                  </a:lnTo>
                  <a:lnTo>
                    <a:pt x="880" y="1328"/>
                  </a:lnTo>
                  <a:lnTo>
                    <a:pt x="882" y="1328"/>
                  </a:lnTo>
                  <a:lnTo>
                    <a:pt x="884" y="1326"/>
                  </a:lnTo>
                  <a:lnTo>
                    <a:pt x="886" y="1324"/>
                  </a:lnTo>
                  <a:lnTo>
                    <a:pt x="886" y="1324"/>
                  </a:lnTo>
                  <a:lnTo>
                    <a:pt x="890" y="1322"/>
                  </a:lnTo>
                  <a:lnTo>
                    <a:pt x="892" y="1322"/>
                  </a:lnTo>
                  <a:lnTo>
                    <a:pt x="892" y="1322"/>
                  </a:lnTo>
                  <a:lnTo>
                    <a:pt x="894" y="1322"/>
                  </a:lnTo>
                  <a:lnTo>
                    <a:pt x="894" y="1322"/>
                  </a:lnTo>
                  <a:lnTo>
                    <a:pt x="896" y="1324"/>
                  </a:lnTo>
                  <a:lnTo>
                    <a:pt x="900" y="1326"/>
                  </a:lnTo>
                  <a:lnTo>
                    <a:pt x="904" y="1328"/>
                  </a:lnTo>
                  <a:lnTo>
                    <a:pt x="904" y="1328"/>
                  </a:lnTo>
                  <a:lnTo>
                    <a:pt x="904" y="1330"/>
                  </a:lnTo>
                  <a:lnTo>
                    <a:pt x="906" y="1330"/>
                  </a:lnTo>
                  <a:lnTo>
                    <a:pt x="906" y="1330"/>
                  </a:lnTo>
                  <a:lnTo>
                    <a:pt x="906" y="1330"/>
                  </a:lnTo>
                  <a:lnTo>
                    <a:pt x="910" y="1330"/>
                  </a:lnTo>
                  <a:lnTo>
                    <a:pt x="910" y="1330"/>
                  </a:lnTo>
                  <a:lnTo>
                    <a:pt x="910" y="1330"/>
                  </a:lnTo>
                  <a:lnTo>
                    <a:pt x="912" y="1330"/>
                  </a:lnTo>
                  <a:lnTo>
                    <a:pt x="912" y="1330"/>
                  </a:lnTo>
                  <a:lnTo>
                    <a:pt x="914" y="1330"/>
                  </a:lnTo>
                  <a:lnTo>
                    <a:pt x="916" y="1330"/>
                  </a:lnTo>
                  <a:lnTo>
                    <a:pt x="920" y="1328"/>
                  </a:lnTo>
                  <a:lnTo>
                    <a:pt x="922" y="1328"/>
                  </a:lnTo>
                  <a:lnTo>
                    <a:pt x="926" y="1326"/>
                  </a:lnTo>
                  <a:lnTo>
                    <a:pt x="928" y="1326"/>
                  </a:lnTo>
                  <a:lnTo>
                    <a:pt x="930" y="1326"/>
                  </a:lnTo>
                  <a:lnTo>
                    <a:pt x="932" y="1326"/>
                  </a:lnTo>
                  <a:lnTo>
                    <a:pt x="934" y="1328"/>
                  </a:lnTo>
                  <a:lnTo>
                    <a:pt x="938" y="1330"/>
                  </a:lnTo>
                  <a:lnTo>
                    <a:pt x="940" y="1334"/>
                  </a:lnTo>
                  <a:lnTo>
                    <a:pt x="944" y="1338"/>
                  </a:lnTo>
                  <a:lnTo>
                    <a:pt x="946" y="1342"/>
                  </a:lnTo>
                  <a:lnTo>
                    <a:pt x="950" y="1346"/>
                  </a:lnTo>
                  <a:lnTo>
                    <a:pt x="952" y="1348"/>
                  </a:lnTo>
                  <a:lnTo>
                    <a:pt x="956" y="1350"/>
                  </a:lnTo>
                  <a:lnTo>
                    <a:pt x="958" y="1352"/>
                  </a:lnTo>
                  <a:lnTo>
                    <a:pt x="960" y="1354"/>
                  </a:lnTo>
                  <a:lnTo>
                    <a:pt x="962" y="1354"/>
                  </a:lnTo>
                  <a:lnTo>
                    <a:pt x="964" y="1356"/>
                  </a:lnTo>
                  <a:lnTo>
                    <a:pt x="966" y="1356"/>
                  </a:lnTo>
                  <a:lnTo>
                    <a:pt x="968" y="1356"/>
                  </a:lnTo>
                  <a:lnTo>
                    <a:pt x="970" y="1356"/>
                  </a:lnTo>
                  <a:lnTo>
                    <a:pt x="974" y="1356"/>
                  </a:lnTo>
                  <a:lnTo>
                    <a:pt x="976" y="1356"/>
                  </a:lnTo>
                  <a:lnTo>
                    <a:pt x="982" y="1358"/>
                  </a:lnTo>
                  <a:lnTo>
                    <a:pt x="986" y="1358"/>
                  </a:lnTo>
                  <a:lnTo>
                    <a:pt x="992" y="1358"/>
                  </a:lnTo>
                  <a:lnTo>
                    <a:pt x="998" y="1360"/>
                  </a:lnTo>
                  <a:lnTo>
                    <a:pt x="1002" y="1360"/>
                  </a:lnTo>
                  <a:lnTo>
                    <a:pt x="1006" y="1360"/>
                  </a:lnTo>
                  <a:lnTo>
                    <a:pt x="1008" y="1360"/>
                  </a:lnTo>
                  <a:lnTo>
                    <a:pt x="1010" y="1360"/>
                  </a:lnTo>
                  <a:lnTo>
                    <a:pt x="1010" y="1360"/>
                  </a:lnTo>
                  <a:lnTo>
                    <a:pt x="1010" y="1360"/>
                  </a:lnTo>
                  <a:lnTo>
                    <a:pt x="1012" y="1360"/>
                  </a:lnTo>
                  <a:lnTo>
                    <a:pt x="1012" y="1360"/>
                  </a:lnTo>
                  <a:lnTo>
                    <a:pt x="1012" y="1358"/>
                  </a:lnTo>
                  <a:lnTo>
                    <a:pt x="1012" y="1358"/>
                  </a:lnTo>
                  <a:lnTo>
                    <a:pt x="1012" y="1358"/>
                  </a:lnTo>
                  <a:lnTo>
                    <a:pt x="1014" y="1356"/>
                  </a:lnTo>
                  <a:lnTo>
                    <a:pt x="1014" y="1354"/>
                  </a:lnTo>
                  <a:lnTo>
                    <a:pt x="1014" y="1354"/>
                  </a:lnTo>
                  <a:lnTo>
                    <a:pt x="1012" y="1354"/>
                  </a:lnTo>
                  <a:lnTo>
                    <a:pt x="1012" y="1352"/>
                  </a:lnTo>
                  <a:lnTo>
                    <a:pt x="1010" y="1350"/>
                  </a:lnTo>
                  <a:lnTo>
                    <a:pt x="1010" y="1350"/>
                  </a:lnTo>
                  <a:lnTo>
                    <a:pt x="1010" y="1350"/>
                  </a:lnTo>
                  <a:lnTo>
                    <a:pt x="1012" y="1350"/>
                  </a:lnTo>
                  <a:lnTo>
                    <a:pt x="1014" y="1350"/>
                  </a:lnTo>
                  <a:lnTo>
                    <a:pt x="1014" y="1350"/>
                  </a:lnTo>
                  <a:lnTo>
                    <a:pt x="1016" y="1350"/>
                  </a:lnTo>
                  <a:lnTo>
                    <a:pt x="1018" y="1350"/>
                  </a:lnTo>
                  <a:lnTo>
                    <a:pt x="1018" y="1350"/>
                  </a:lnTo>
                  <a:lnTo>
                    <a:pt x="1020" y="1350"/>
                  </a:lnTo>
                  <a:lnTo>
                    <a:pt x="1020" y="1350"/>
                  </a:lnTo>
                  <a:lnTo>
                    <a:pt x="1022" y="1350"/>
                  </a:lnTo>
                  <a:lnTo>
                    <a:pt x="1024" y="1348"/>
                  </a:lnTo>
                  <a:lnTo>
                    <a:pt x="1026" y="1348"/>
                  </a:lnTo>
                  <a:lnTo>
                    <a:pt x="1030" y="1344"/>
                  </a:lnTo>
                  <a:lnTo>
                    <a:pt x="1032" y="1342"/>
                  </a:lnTo>
                  <a:lnTo>
                    <a:pt x="1038" y="1338"/>
                  </a:lnTo>
                  <a:lnTo>
                    <a:pt x="1040" y="1336"/>
                  </a:lnTo>
                  <a:lnTo>
                    <a:pt x="1042" y="1336"/>
                  </a:lnTo>
                  <a:lnTo>
                    <a:pt x="1048" y="1334"/>
                  </a:lnTo>
                  <a:lnTo>
                    <a:pt x="1052" y="1332"/>
                  </a:lnTo>
                  <a:lnTo>
                    <a:pt x="1056" y="1330"/>
                  </a:lnTo>
                  <a:lnTo>
                    <a:pt x="1056" y="1330"/>
                  </a:lnTo>
                  <a:lnTo>
                    <a:pt x="1058" y="1330"/>
                  </a:lnTo>
                  <a:lnTo>
                    <a:pt x="1060" y="1330"/>
                  </a:lnTo>
                  <a:lnTo>
                    <a:pt x="1064" y="1332"/>
                  </a:lnTo>
                  <a:lnTo>
                    <a:pt x="1066" y="1332"/>
                  </a:lnTo>
                  <a:lnTo>
                    <a:pt x="1072" y="1334"/>
                  </a:lnTo>
                  <a:lnTo>
                    <a:pt x="1078" y="1336"/>
                  </a:lnTo>
                  <a:lnTo>
                    <a:pt x="1082" y="1338"/>
                  </a:lnTo>
                  <a:lnTo>
                    <a:pt x="1084" y="1340"/>
                  </a:lnTo>
                  <a:lnTo>
                    <a:pt x="1086" y="1340"/>
                  </a:lnTo>
                  <a:lnTo>
                    <a:pt x="1088" y="1342"/>
                  </a:lnTo>
                  <a:lnTo>
                    <a:pt x="1092" y="1346"/>
                  </a:lnTo>
                  <a:lnTo>
                    <a:pt x="1094" y="1348"/>
                  </a:lnTo>
                  <a:lnTo>
                    <a:pt x="1096" y="1350"/>
                  </a:lnTo>
                  <a:lnTo>
                    <a:pt x="1096" y="1350"/>
                  </a:lnTo>
                  <a:lnTo>
                    <a:pt x="1096" y="1350"/>
                  </a:lnTo>
                  <a:lnTo>
                    <a:pt x="1098" y="1352"/>
                  </a:lnTo>
                  <a:lnTo>
                    <a:pt x="1098" y="1352"/>
                  </a:lnTo>
                  <a:lnTo>
                    <a:pt x="1100" y="1352"/>
                  </a:lnTo>
                  <a:lnTo>
                    <a:pt x="1102" y="1354"/>
                  </a:lnTo>
                  <a:lnTo>
                    <a:pt x="1106" y="1354"/>
                  </a:lnTo>
                  <a:lnTo>
                    <a:pt x="1110" y="1354"/>
                  </a:lnTo>
                  <a:lnTo>
                    <a:pt x="1116" y="1354"/>
                  </a:lnTo>
                  <a:lnTo>
                    <a:pt x="1120" y="1356"/>
                  </a:lnTo>
                  <a:lnTo>
                    <a:pt x="1126" y="1354"/>
                  </a:lnTo>
                  <a:lnTo>
                    <a:pt x="1130" y="1354"/>
                  </a:lnTo>
                  <a:lnTo>
                    <a:pt x="1130" y="1354"/>
                  </a:lnTo>
                  <a:lnTo>
                    <a:pt x="1132" y="1354"/>
                  </a:lnTo>
                  <a:lnTo>
                    <a:pt x="1136" y="1352"/>
                  </a:lnTo>
                  <a:lnTo>
                    <a:pt x="1136" y="1352"/>
                  </a:lnTo>
                  <a:lnTo>
                    <a:pt x="1136" y="1352"/>
                  </a:lnTo>
                  <a:lnTo>
                    <a:pt x="1138" y="1350"/>
                  </a:lnTo>
                  <a:lnTo>
                    <a:pt x="1138" y="1350"/>
                  </a:lnTo>
                  <a:lnTo>
                    <a:pt x="1140" y="1350"/>
                  </a:lnTo>
                  <a:lnTo>
                    <a:pt x="1140" y="1348"/>
                  </a:lnTo>
                  <a:lnTo>
                    <a:pt x="1140" y="1348"/>
                  </a:lnTo>
                  <a:lnTo>
                    <a:pt x="1140" y="1348"/>
                  </a:lnTo>
                  <a:lnTo>
                    <a:pt x="1142" y="1346"/>
                  </a:lnTo>
                  <a:lnTo>
                    <a:pt x="1142" y="1346"/>
                  </a:lnTo>
                  <a:lnTo>
                    <a:pt x="1142" y="1344"/>
                  </a:lnTo>
                  <a:lnTo>
                    <a:pt x="1144" y="1340"/>
                  </a:lnTo>
                  <a:lnTo>
                    <a:pt x="1144" y="1334"/>
                  </a:lnTo>
                  <a:lnTo>
                    <a:pt x="1144" y="1328"/>
                  </a:lnTo>
                  <a:lnTo>
                    <a:pt x="1144" y="1322"/>
                  </a:lnTo>
                  <a:lnTo>
                    <a:pt x="1144" y="1316"/>
                  </a:lnTo>
                  <a:lnTo>
                    <a:pt x="1144" y="1316"/>
                  </a:lnTo>
                  <a:lnTo>
                    <a:pt x="1146" y="1312"/>
                  </a:lnTo>
                  <a:lnTo>
                    <a:pt x="1148" y="1310"/>
                  </a:lnTo>
                  <a:lnTo>
                    <a:pt x="1146" y="1310"/>
                  </a:lnTo>
                  <a:lnTo>
                    <a:pt x="1148" y="1308"/>
                  </a:lnTo>
                  <a:lnTo>
                    <a:pt x="1150" y="1308"/>
                  </a:lnTo>
                  <a:lnTo>
                    <a:pt x="1154" y="1306"/>
                  </a:lnTo>
                  <a:lnTo>
                    <a:pt x="1158" y="1306"/>
                  </a:lnTo>
                  <a:lnTo>
                    <a:pt x="1164" y="1306"/>
                  </a:lnTo>
                  <a:lnTo>
                    <a:pt x="1168" y="1308"/>
                  </a:lnTo>
                  <a:lnTo>
                    <a:pt x="1174" y="1308"/>
                  </a:lnTo>
                  <a:lnTo>
                    <a:pt x="1178" y="1310"/>
                  </a:lnTo>
                  <a:lnTo>
                    <a:pt x="1182" y="1310"/>
                  </a:lnTo>
                  <a:lnTo>
                    <a:pt x="1184" y="1312"/>
                  </a:lnTo>
                  <a:lnTo>
                    <a:pt x="1186" y="1312"/>
                  </a:lnTo>
                  <a:lnTo>
                    <a:pt x="1190" y="1314"/>
                  </a:lnTo>
                  <a:lnTo>
                    <a:pt x="1190" y="1314"/>
                  </a:lnTo>
                  <a:lnTo>
                    <a:pt x="1194" y="1316"/>
                  </a:lnTo>
                  <a:lnTo>
                    <a:pt x="1198" y="1318"/>
                  </a:lnTo>
                  <a:lnTo>
                    <a:pt x="1198" y="1320"/>
                  </a:lnTo>
                  <a:lnTo>
                    <a:pt x="1200" y="1322"/>
                  </a:lnTo>
                  <a:lnTo>
                    <a:pt x="1200" y="1326"/>
                  </a:lnTo>
                  <a:lnTo>
                    <a:pt x="1202" y="1330"/>
                  </a:lnTo>
                  <a:lnTo>
                    <a:pt x="1204" y="1332"/>
                  </a:lnTo>
                  <a:lnTo>
                    <a:pt x="1204" y="1332"/>
                  </a:lnTo>
                  <a:lnTo>
                    <a:pt x="1204" y="1332"/>
                  </a:lnTo>
                  <a:lnTo>
                    <a:pt x="1206" y="1336"/>
                  </a:lnTo>
                  <a:lnTo>
                    <a:pt x="1206" y="1336"/>
                  </a:lnTo>
                  <a:lnTo>
                    <a:pt x="1206" y="1336"/>
                  </a:lnTo>
                  <a:lnTo>
                    <a:pt x="1208" y="1338"/>
                  </a:lnTo>
                  <a:lnTo>
                    <a:pt x="1208" y="1338"/>
                  </a:lnTo>
                  <a:lnTo>
                    <a:pt x="1210" y="1340"/>
                  </a:lnTo>
                  <a:lnTo>
                    <a:pt x="1212" y="1342"/>
                  </a:lnTo>
                  <a:lnTo>
                    <a:pt x="1212" y="1342"/>
                  </a:lnTo>
                  <a:lnTo>
                    <a:pt x="1214" y="1342"/>
                  </a:lnTo>
                  <a:lnTo>
                    <a:pt x="1218" y="1342"/>
                  </a:lnTo>
                  <a:lnTo>
                    <a:pt x="1218" y="1342"/>
                  </a:lnTo>
                  <a:lnTo>
                    <a:pt x="1218" y="1342"/>
                  </a:lnTo>
                  <a:lnTo>
                    <a:pt x="1224" y="1342"/>
                  </a:lnTo>
                  <a:lnTo>
                    <a:pt x="1232" y="1342"/>
                  </a:lnTo>
                  <a:lnTo>
                    <a:pt x="1238" y="1342"/>
                  </a:lnTo>
                  <a:lnTo>
                    <a:pt x="1244" y="1340"/>
                  </a:lnTo>
                  <a:lnTo>
                    <a:pt x="1252" y="1340"/>
                  </a:lnTo>
                  <a:lnTo>
                    <a:pt x="1258" y="1340"/>
                  </a:lnTo>
                  <a:lnTo>
                    <a:pt x="1256" y="1340"/>
                  </a:lnTo>
                  <a:lnTo>
                    <a:pt x="1262" y="1342"/>
                  </a:lnTo>
                  <a:lnTo>
                    <a:pt x="1266" y="1344"/>
                  </a:lnTo>
                  <a:lnTo>
                    <a:pt x="1268" y="1346"/>
                  </a:lnTo>
                  <a:lnTo>
                    <a:pt x="1268" y="1346"/>
                  </a:lnTo>
                  <a:lnTo>
                    <a:pt x="1270" y="1348"/>
                  </a:lnTo>
                  <a:lnTo>
                    <a:pt x="1272" y="1352"/>
                  </a:lnTo>
                  <a:lnTo>
                    <a:pt x="1276" y="1356"/>
                  </a:lnTo>
                  <a:lnTo>
                    <a:pt x="1278" y="1360"/>
                  </a:lnTo>
                  <a:lnTo>
                    <a:pt x="1278" y="1360"/>
                  </a:lnTo>
                  <a:lnTo>
                    <a:pt x="1278" y="1360"/>
                  </a:lnTo>
                  <a:lnTo>
                    <a:pt x="1282" y="1362"/>
                  </a:lnTo>
                  <a:lnTo>
                    <a:pt x="1282" y="1362"/>
                  </a:lnTo>
                  <a:lnTo>
                    <a:pt x="1282" y="1362"/>
                  </a:lnTo>
                  <a:lnTo>
                    <a:pt x="1286" y="1364"/>
                  </a:lnTo>
                  <a:lnTo>
                    <a:pt x="1286" y="1364"/>
                  </a:lnTo>
                  <a:lnTo>
                    <a:pt x="1286" y="1364"/>
                  </a:lnTo>
                  <a:lnTo>
                    <a:pt x="1292" y="1366"/>
                  </a:lnTo>
                  <a:lnTo>
                    <a:pt x="1296" y="1366"/>
                  </a:lnTo>
                  <a:lnTo>
                    <a:pt x="1302" y="1368"/>
                  </a:lnTo>
                  <a:lnTo>
                    <a:pt x="1308" y="1368"/>
                  </a:lnTo>
                  <a:lnTo>
                    <a:pt x="1322" y="1366"/>
                  </a:lnTo>
                  <a:lnTo>
                    <a:pt x="1334" y="1364"/>
                  </a:lnTo>
                  <a:lnTo>
                    <a:pt x="1340" y="1364"/>
                  </a:lnTo>
                  <a:lnTo>
                    <a:pt x="1346" y="1360"/>
                  </a:lnTo>
                  <a:lnTo>
                    <a:pt x="1354" y="1358"/>
                  </a:lnTo>
                  <a:lnTo>
                    <a:pt x="1360" y="1354"/>
                  </a:lnTo>
                  <a:lnTo>
                    <a:pt x="1368" y="1350"/>
                  </a:lnTo>
                  <a:lnTo>
                    <a:pt x="1374" y="1348"/>
                  </a:lnTo>
                  <a:lnTo>
                    <a:pt x="1378" y="1346"/>
                  </a:lnTo>
                  <a:lnTo>
                    <a:pt x="1382" y="1344"/>
                  </a:lnTo>
                  <a:lnTo>
                    <a:pt x="1386" y="1344"/>
                  </a:lnTo>
                  <a:lnTo>
                    <a:pt x="1388" y="1344"/>
                  </a:lnTo>
                  <a:lnTo>
                    <a:pt x="1390" y="1346"/>
                  </a:lnTo>
                  <a:lnTo>
                    <a:pt x="1390" y="1344"/>
                  </a:lnTo>
                  <a:lnTo>
                    <a:pt x="1392" y="1346"/>
                  </a:lnTo>
                  <a:lnTo>
                    <a:pt x="1392" y="1348"/>
                  </a:lnTo>
                  <a:lnTo>
                    <a:pt x="1394" y="1348"/>
                  </a:lnTo>
                  <a:lnTo>
                    <a:pt x="1396" y="1350"/>
                  </a:lnTo>
                  <a:lnTo>
                    <a:pt x="1396" y="1350"/>
                  </a:lnTo>
                  <a:lnTo>
                    <a:pt x="1398" y="1350"/>
                  </a:lnTo>
                  <a:lnTo>
                    <a:pt x="1400" y="1350"/>
                  </a:lnTo>
                  <a:lnTo>
                    <a:pt x="1404" y="1350"/>
                  </a:lnTo>
                  <a:lnTo>
                    <a:pt x="1408" y="1350"/>
                  </a:lnTo>
                  <a:lnTo>
                    <a:pt x="1418" y="1352"/>
                  </a:lnTo>
                  <a:lnTo>
                    <a:pt x="1422" y="1352"/>
                  </a:lnTo>
                  <a:lnTo>
                    <a:pt x="1426" y="1352"/>
                  </a:lnTo>
                  <a:lnTo>
                    <a:pt x="1430" y="1350"/>
                  </a:lnTo>
                  <a:lnTo>
                    <a:pt x="1434" y="1350"/>
                  </a:lnTo>
                  <a:lnTo>
                    <a:pt x="1436" y="1350"/>
                  </a:lnTo>
                  <a:lnTo>
                    <a:pt x="1438" y="1350"/>
                  </a:lnTo>
                  <a:lnTo>
                    <a:pt x="1440" y="1348"/>
                  </a:lnTo>
                  <a:lnTo>
                    <a:pt x="1440" y="1348"/>
                  </a:lnTo>
                  <a:lnTo>
                    <a:pt x="1440" y="1348"/>
                  </a:lnTo>
                  <a:lnTo>
                    <a:pt x="1442" y="1348"/>
                  </a:lnTo>
                  <a:lnTo>
                    <a:pt x="1444" y="1346"/>
                  </a:lnTo>
                  <a:lnTo>
                    <a:pt x="1444" y="1346"/>
                  </a:lnTo>
                  <a:lnTo>
                    <a:pt x="1444" y="1346"/>
                  </a:lnTo>
                  <a:lnTo>
                    <a:pt x="1446" y="1346"/>
                  </a:lnTo>
                  <a:lnTo>
                    <a:pt x="1446" y="1346"/>
                  </a:lnTo>
                  <a:lnTo>
                    <a:pt x="1446" y="1344"/>
                  </a:lnTo>
                  <a:lnTo>
                    <a:pt x="1448" y="1342"/>
                  </a:lnTo>
                  <a:lnTo>
                    <a:pt x="1450" y="1340"/>
                  </a:lnTo>
                  <a:lnTo>
                    <a:pt x="1452" y="1336"/>
                  </a:lnTo>
                  <a:lnTo>
                    <a:pt x="1454" y="1332"/>
                  </a:lnTo>
                  <a:lnTo>
                    <a:pt x="1456" y="1328"/>
                  </a:lnTo>
                  <a:lnTo>
                    <a:pt x="1460" y="1322"/>
                  </a:lnTo>
                  <a:lnTo>
                    <a:pt x="1462" y="1316"/>
                  </a:lnTo>
                  <a:lnTo>
                    <a:pt x="1464" y="1310"/>
                  </a:lnTo>
                  <a:lnTo>
                    <a:pt x="1466" y="1304"/>
                  </a:lnTo>
                  <a:lnTo>
                    <a:pt x="1468" y="1300"/>
                  </a:lnTo>
                  <a:lnTo>
                    <a:pt x="1468" y="1298"/>
                  </a:lnTo>
                  <a:lnTo>
                    <a:pt x="1468" y="1294"/>
                  </a:lnTo>
                  <a:lnTo>
                    <a:pt x="1468" y="1294"/>
                  </a:lnTo>
                  <a:lnTo>
                    <a:pt x="1466" y="1288"/>
                  </a:lnTo>
                  <a:lnTo>
                    <a:pt x="1464" y="1284"/>
                  </a:lnTo>
                  <a:lnTo>
                    <a:pt x="1464" y="1278"/>
                  </a:lnTo>
                  <a:lnTo>
                    <a:pt x="1462" y="1274"/>
                  </a:lnTo>
                  <a:lnTo>
                    <a:pt x="1460" y="1270"/>
                  </a:lnTo>
                  <a:lnTo>
                    <a:pt x="1460" y="1268"/>
                  </a:lnTo>
                  <a:lnTo>
                    <a:pt x="1460" y="1266"/>
                  </a:lnTo>
                  <a:lnTo>
                    <a:pt x="1460" y="1266"/>
                  </a:lnTo>
                  <a:lnTo>
                    <a:pt x="1462" y="1266"/>
                  </a:lnTo>
                  <a:lnTo>
                    <a:pt x="1464" y="1264"/>
                  </a:lnTo>
                  <a:lnTo>
                    <a:pt x="1466" y="1262"/>
                  </a:lnTo>
                  <a:lnTo>
                    <a:pt x="1470" y="1260"/>
                  </a:lnTo>
                  <a:lnTo>
                    <a:pt x="1474" y="1260"/>
                  </a:lnTo>
                  <a:lnTo>
                    <a:pt x="1478" y="1258"/>
                  </a:lnTo>
                  <a:lnTo>
                    <a:pt x="1484" y="1258"/>
                  </a:lnTo>
                  <a:lnTo>
                    <a:pt x="1494" y="1258"/>
                  </a:lnTo>
                  <a:lnTo>
                    <a:pt x="1500" y="1256"/>
                  </a:lnTo>
                  <a:lnTo>
                    <a:pt x="1506" y="1256"/>
                  </a:lnTo>
                  <a:lnTo>
                    <a:pt x="1512" y="1256"/>
                  </a:lnTo>
                  <a:lnTo>
                    <a:pt x="1518" y="1258"/>
                  </a:lnTo>
                  <a:lnTo>
                    <a:pt x="1524" y="1258"/>
                  </a:lnTo>
                  <a:lnTo>
                    <a:pt x="1528" y="1258"/>
                  </a:lnTo>
                  <a:lnTo>
                    <a:pt x="1534" y="1260"/>
                  </a:lnTo>
                  <a:lnTo>
                    <a:pt x="1536" y="1262"/>
                  </a:lnTo>
                  <a:lnTo>
                    <a:pt x="1538" y="1264"/>
                  </a:lnTo>
                  <a:lnTo>
                    <a:pt x="1540" y="1268"/>
                  </a:lnTo>
                  <a:lnTo>
                    <a:pt x="1540" y="1268"/>
                  </a:lnTo>
                  <a:lnTo>
                    <a:pt x="1542" y="1272"/>
                  </a:lnTo>
                  <a:lnTo>
                    <a:pt x="1544" y="1276"/>
                  </a:lnTo>
                  <a:lnTo>
                    <a:pt x="1544" y="1282"/>
                  </a:lnTo>
                  <a:lnTo>
                    <a:pt x="1546" y="1286"/>
                  </a:lnTo>
                  <a:lnTo>
                    <a:pt x="1546" y="1290"/>
                  </a:lnTo>
                  <a:lnTo>
                    <a:pt x="1548" y="1294"/>
                  </a:lnTo>
                  <a:lnTo>
                    <a:pt x="1548" y="1294"/>
                  </a:lnTo>
                  <a:lnTo>
                    <a:pt x="1548" y="1294"/>
                  </a:lnTo>
                  <a:lnTo>
                    <a:pt x="1550" y="1298"/>
                  </a:lnTo>
                  <a:lnTo>
                    <a:pt x="1552" y="1300"/>
                  </a:lnTo>
                  <a:lnTo>
                    <a:pt x="1554" y="1302"/>
                  </a:lnTo>
                  <a:lnTo>
                    <a:pt x="1556" y="1304"/>
                  </a:lnTo>
                  <a:lnTo>
                    <a:pt x="1556" y="1306"/>
                  </a:lnTo>
                  <a:lnTo>
                    <a:pt x="1558" y="1308"/>
                  </a:lnTo>
                  <a:lnTo>
                    <a:pt x="1560" y="1310"/>
                  </a:lnTo>
                  <a:lnTo>
                    <a:pt x="1562" y="1312"/>
                  </a:lnTo>
                  <a:lnTo>
                    <a:pt x="1562" y="1312"/>
                  </a:lnTo>
                  <a:lnTo>
                    <a:pt x="1562" y="1316"/>
                  </a:lnTo>
                  <a:lnTo>
                    <a:pt x="1564" y="1320"/>
                  </a:lnTo>
                  <a:lnTo>
                    <a:pt x="1564" y="1324"/>
                  </a:lnTo>
                  <a:lnTo>
                    <a:pt x="1566" y="1330"/>
                  </a:lnTo>
                  <a:lnTo>
                    <a:pt x="1566" y="1336"/>
                  </a:lnTo>
                  <a:lnTo>
                    <a:pt x="1568" y="1340"/>
                  </a:lnTo>
                  <a:lnTo>
                    <a:pt x="1568" y="1344"/>
                  </a:lnTo>
                  <a:lnTo>
                    <a:pt x="1570" y="1348"/>
                  </a:lnTo>
                  <a:lnTo>
                    <a:pt x="1570" y="1348"/>
                  </a:lnTo>
                  <a:lnTo>
                    <a:pt x="1570" y="1350"/>
                  </a:lnTo>
                  <a:lnTo>
                    <a:pt x="1572" y="1352"/>
                  </a:lnTo>
                  <a:lnTo>
                    <a:pt x="1572" y="1352"/>
                  </a:lnTo>
                  <a:lnTo>
                    <a:pt x="1572" y="1352"/>
                  </a:lnTo>
                  <a:lnTo>
                    <a:pt x="1574" y="1354"/>
                  </a:lnTo>
                  <a:lnTo>
                    <a:pt x="1574" y="1354"/>
                  </a:lnTo>
                  <a:lnTo>
                    <a:pt x="1574" y="1354"/>
                  </a:lnTo>
                  <a:lnTo>
                    <a:pt x="1578" y="1356"/>
                  </a:lnTo>
                  <a:lnTo>
                    <a:pt x="1580" y="1358"/>
                  </a:lnTo>
                  <a:lnTo>
                    <a:pt x="1584" y="1360"/>
                  </a:lnTo>
                  <a:lnTo>
                    <a:pt x="1586" y="1360"/>
                  </a:lnTo>
                  <a:lnTo>
                    <a:pt x="1588" y="1362"/>
                  </a:lnTo>
                  <a:lnTo>
                    <a:pt x="1590" y="1362"/>
                  </a:lnTo>
                  <a:lnTo>
                    <a:pt x="1590" y="1362"/>
                  </a:lnTo>
                  <a:lnTo>
                    <a:pt x="1590" y="1362"/>
                  </a:lnTo>
                  <a:lnTo>
                    <a:pt x="1590" y="1362"/>
                  </a:lnTo>
                  <a:lnTo>
                    <a:pt x="1590" y="1362"/>
                  </a:lnTo>
                  <a:lnTo>
                    <a:pt x="1592" y="1362"/>
                  </a:lnTo>
                  <a:lnTo>
                    <a:pt x="1594" y="1360"/>
                  </a:lnTo>
                  <a:lnTo>
                    <a:pt x="1594" y="1360"/>
                  </a:lnTo>
                  <a:lnTo>
                    <a:pt x="1594" y="1360"/>
                  </a:lnTo>
                  <a:lnTo>
                    <a:pt x="1594" y="1362"/>
                  </a:lnTo>
                  <a:lnTo>
                    <a:pt x="1596" y="1362"/>
                  </a:lnTo>
                  <a:lnTo>
                    <a:pt x="1600" y="1366"/>
                  </a:lnTo>
                  <a:lnTo>
                    <a:pt x="1604" y="1370"/>
                  </a:lnTo>
                  <a:lnTo>
                    <a:pt x="1606" y="1372"/>
                  </a:lnTo>
                  <a:lnTo>
                    <a:pt x="1608" y="1374"/>
                  </a:lnTo>
                  <a:lnTo>
                    <a:pt x="1610" y="1378"/>
                  </a:lnTo>
                  <a:lnTo>
                    <a:pt x="1610" y="1380"/>
                  </a:lnTo>
                  <a:lnTo>
                    <a:pt x="1612" y="1388"/>
                  </a:lnTo>
                  <a:lnTo>
                    <a:pt x="1614" y="1392"/>
                  </a:lnTo>
                  <a:lnTo>
                    <a:pt x="1614" y="1394"/>
                  </a:lnTo>
                  <a:lnTo>
                    <a:pt x="1616" y="1396"/>
                  </a:lnTo>
                  <a:lnTo>
                    <a:pt x="1616" y="1396"/>
                  </a:lnTo>
                  <a:lnTo>
                    <a:pt x="1616" y="1398"/>
                  </a:lnTo>
                  <a:lnTo>
                    <a:pt x="1618" y="1398"/>
                  </a:lnTo>
                  <a:lnTo>
                    <a:pt x="1618" y="1398"/>
                  </a:lnTo>
                  <a:lnTo>
                    <a:pt x="1618" y="1400"/>
                  </a:lnTo>
                  <a:lnTo>
                    <a:pt x="1620" y="1400"/>
                  </a:lnTo>
                  <a:lnTo>
                    <a:pt x="1620" y="1400"/>
                  </a:lnTo>
                  <a:lnTo>
                    <a:pt x="1620" y="1400"/>
                  </a:lnTo>
                  <a:lnTo>
                    <a:pt x="1622" y="1402"/>
                  </a:lnTo>
                  <a:lnTo>
                    <a:pt x="1622" y="1402"/>
                  </a:lnTo>
                  <a:lnTo>
                    <a:pt x="1624" y="1402"/>
                  </a:lnTo>
                  <a:lnTo>
                    <a:pt x="1624" y="1402"/>
                  </a:lnTo>
                  <a:lnTo>
                    <a:pt x="1626" y="1402"/>
                  </a:lnTo>
                  <a:lnTo>
                    <a:pt x="1626" y="1402"/>
                  </a:lnTo>
                  <a:lnTo>
                    <a:pt x="1628" y="1400"/>
                  </a:lnTo>
                  <a:lnTo>
                    <a:pt x="1632" y="1400"/>
                  </a:lnTo>
                  <a:lnTo>
                    <a:pt x="1638" y="1396"/>
                  </a:lnTo>
                  <a:lnTo>
                    <a:pt x="1640" y="1396"/>
                  </a:lnTo>
                  <a:lnTo>
                    <a:pt x="1642" y="1394"/>
                  </a:lnTo>
                  <a:lnTo>
                    <a:pt x="1646" y="1390"/>
                  </a:lnTo>
                  <a:lnTo>
                    <a:pt x="1652" y="1386"/>
                  </a:lnTo>
                  <a:lnTo>
                    <a:pt x="1658" y="1382"/>
                  </a:lnTo>
                  <a:lnTo>
                    <a:pt x="1662" y="1378"/>
                  </a:lnTo>
                  <a:lnTo>
                    <a:pt x="1664" y="1378"/>
                  </a:lnTo>
                  <a:lnTo>
                    <a:pt x="1666" y="1376"/>
                  </a:lnTo>
                  <a:lnTo>
                    <a:pt x="1668" y="1376"/>
                  </a:lnTo>
                  <a:lnTo>
                    <a:pt x="1668" y="1376"/>
                  </a:lnTo>
                  <a:lnTo>
                    <a:pt x="1668" y="1378"/>
                  </a:lnTo>
                  <a:lnTo>
                    <a:pt x="1666" y="1382"/>
                  </a:lnTo>
                  <a:lnTo>
                    <a:pt x="1666" y="1386"/>
                  </a:lnTo>
                  <a:lnTo>
                    <a:pt x="1664" y="1390"/>
                  </a:lnTo>
                  <a:lnTo>
                    <a:pt x="1664" y="1396"/>
                  </a:lnTo>
                  <a:lnTo>
                    <a:pt x="1660" y="1406"/>
                  </a:lnTo>
                  <a:lnTo>
                    <a:pt x="1658" y="1416"/>
                  </a:lnTo>
                  <a:lnTo>
                    <a:pt x="1656" y="1420"/>
                  </a:lnTo>
                  <a:lnTo>
                    <a:pt x="1654" y="1426"/>
                  </a:lnTo>
                  <a:lnTo>
                    <a:pt x="1652" y="1430"/>
                  </a:lnTo>
                  <a:lnTo>
                    <a:pt x="1650" y="1434"/>
                  </a:lnTo>
                  <a:lnTo>
                    <a:pt x="1648" y="1436"/>
                  </a:lnTo>
                  <a:lnTo>
                    <a:pt x="1648" y="1440"/>
                  </a:lnTo>
                  <a:lnTo>
                    <a:pt x="1646" y="1440"/>
                  </a:lnTo>
                  <a:lnTo>
                    <a:pt x="1644" y="1442"/>
                  </a:lnTo>
                  <a:lnTo>
                    <a:pt x="1644" y="1442"/>
                  </a:lnTo>
                  <a:lnTo>
                    <a:pt x="1642" y="1442"/>
                  </a:lnTo>
                  <a:lnTo>
                    <a:pt x="1638" y="1442"/>
                  </a:lnTo>
                  <a:lnTo>
                    <a:pt x="1638" y="1442"/>
                  </a:lnTo>
                  <a:lnTo>
                    <a:pt x="1634" y="1442"/>
                  </a:lnTo>
                  <a:lnTo>
                    <a:pt x="1630" y="1440"/>
                  </a:lnTo>
                  <a:lnTo>
                    <a:pt x="1626" y="1440"/>
                  </a:lnTo>
                  <a:lnTo>
                    <a:pt x="1626" y="1440"/>
                  </a:lnTo>
                  <a:lnTo>
                    <a:pt x="1626" y="1440"/>
                  </a:lnTo>
                  <a:lnTo>
                    <a:pt x="1624" y="1440"/>
                  </a:lnTo>
                  <a:lnTo>
                    <a:pt x="1624" y="1440"/>
                  </a:lnTo>
                  <a:lnTo>
                    <a:pt x="1624" y="1440"/>
                  </a:lnTo>
                  <a:lnTo>
                    <a:pt x="1622" y="1440"/>
                  </a:lnTo>
                  <a:lnTo>
                    <a:pt x="1622" y="1440"/>
                  </a:lnTo>
                  <a:lnTo>
                    <a:pt x="1622" y="1440"/>
                  </a:lnTo>
                  <a:lnTo>
                    <a:pt x="1620" y="1440"/>
                  </a:lnTo>
                  <a:lnTo>
                    <a:pt x="1620" y="1440"/>
                  </a:lnTo>
                  <a:lnTo>
                    <a:pt x="1618" y="1442"/>
                  </a:lnTo>
                  <a:lnTo>
                    <a:pt x="1618" y="1444"/>
                  </a:lnTo>
                  <a:lnTo>
                    <a:pt x="1618" y="1444"/>
                  </a:lnTo>
                  <a:lnTo>
                    <a:pt x="1618" y="1444"/>
                  </a:lnTo>
                  <a:lnTo>
                    <a:pt x="1616" y="1446"/>
                  </a:lnTo>
                  <a:lnTo>
                    <a:pt x="1616" y="1448"/>
                  </a:lnTo>
                  <a:lnTo>
                    <a:pt x="1614" y="1452"/>
                  </a:lnTo>
                  <a:lnTo>
                    <a:pt x="1614" y="1454"/>
                  </a:lnTo>
                  <a:lnTo>
                    <a:pt x="1614" y="1462"/>
                  </a:lnTo>
                  <a:lnTo>
                    <a:pt x="1612" y="1468"/>
                  </a:lnTo>
                  <a:lnTo>
                    <a:pt x="1612" y="1476"/>
                  </a:lnTo>
                  <a:lnTo>
                    <a:pt x="1614" y="1482"/>
                  </a:lnTo>
                  <a:lnTo>
                    <a:pt x="1614" y="1486"/>
                  </a:lnTo>
                  <a:lnTo>
                    <a:pt x="1614" y="1488"/>
                  </a:lnTo>
                  <a:lnTo>
                    <a:pt x="1616" y="1490"/>
                  </a:lnTo>
                  <a:lnTo>
                    <a:pt x="1616" y="1490"/>
                  </a:lnTo>
                  <a:lnTo>
                    <a:pt x="1616" y="1492"/>
                  </a:lnTo>
                  <a:lnTo>
                    <a:pt x="1616" y="1492"/>
                  </a:lnTo>
                  <a:lnTo>
                    <a:pt x="1616" y="1492"/>
                  </a:lnTo>
                  <a:lnTo>
                    <a:pt x="1618" y="1494"/>
                  </a:lnTo>
                  <a:lnTo>
                    <a:pt x="1620" y="1496"/>
                  </a:lnTo>
                  <a:lnTo>
                    <a:pt x="1620" y="1496"/>
                  </a:lnTo>
                  <a:lnTo>
                    <a:pt x="1620" y="1496"/>
                  </a:lnTo>
                  <a:lnTo>
                    <a:pt x="1624" y="1498"/>
                  </a:lnTo>
                  <a:lnTo>
                    <a:pt x="1624" y="1498"/>
                  </a:lnTo>
                  <a:lnTo>
                    <a:pt x="1626" y="1498"/>
                  </a:lnTo>
                  <a:lnTo>
                    <a:pt x="1630" y="1500"/>
                  </a:lnTo>
                  <a:lnTo>
                    <a:pt x="1636" y="1500"/>
                  </a:lnTo>
                  <a:lnTo>
                    <a:pt x="1642" y="1500"/>
                  </a:lnTo>
                  <a:lnTo>
                    <a:pt x="1648" y="1500"/>
                  </a:lnTo>
                  <a:lnTo>
                    <a:pt x="1654" y="1498"/>
                  </a:lnTo>
                  <a:lnTo>
                    <a:pt x="1660" y="1496"/>
                  </a:lnTo>
                  <a:lnTo>
                    <a:pt x="1664" y="1494"/>
                  </a:lnTo>
                  <a:lnTo>
                    <a:pt x="1670" y="1490"/>
                  </a:lnTo>
                  <a:lnTo>
                    <a:pt x="1674" y="1486"/>
                  </a:lnTo>
                  <a:lnTo>
                    <a:pt x="1678" y="1482"/>
                  </a:lnTo>
                  <a:lnTo>
                    <a:pt x="1682" y="1478"/>
                  </a:lnTo>
                  <a:lnTo>
                    <a:pt x="1688" y="1472"/>
                  </a:lnTo>
                  <a:lnTo>
                    <a:pt x="1694" y="1466"/>
                  </a:lnTo>
                  <a:lnTo>
                    <a:pt x="1698" y="1458"/>
                  </a:lnTo>
                  <a:lnTo>
                    <a:pt x="1702" y="1454"/>
                  </a:lnTo>
                  <a:lnTo>
                    <a:pt x="1706" y="1448"/>
                  </a:lnTo>
                  <a:lnTo>
                    <a:pt x="1708" y="1444"/>
                  </a:lnTo>
                  <a:lnTo>
                    <a:pt x="1712" y="1438"/>
                  </a:lnTo>
                  <a:lnTo>
                    <a:pt x="1722" y="1424"/>
                  </a:lnTo>
                  <a:lnTo>
                    <a:pt x="1730" y="1412"/>
                  </a:lnTo>
                  <a:lnTo>
                    <a:pt x="1738" y="1398"/>
                  </a:lnTo>
                  <a:lnTo>
                    <a:pt x="1746" y="1384"/>
                  </a:lnTo>
                  <a:lnTo>
                    <a:pt x="1748" y="1378"/>
                  </a:lnTo>
                  <a:lnTo>
                    <a:pt x="1752" y="1372"/>
                  </a:lnTo>
                  <a:lnTo>
                    <a:pt x="1754" y="1368"/>
                  </a:lnTo>
                  <a:lnTo>
                    <a:pt x="1756" y="1364"/>
                  </a:lnTo>
                  <a:lnTo>
                    <a:pt x="1758" y="1360"/>
                  </a:lnTo>
                  <a:lnTo>
                    <a:pt x="1760" y="1356"/>
                  </a:lnTo>
                  <a:lnTo>
                    <a:pt x="1760" y="1352"/>
                  </a:lnTo>
                  <a:lnTo>
                    <a:pt x="1760" y="1350"/>
                  </a:lnTo>
                  <a:lnTo>
                    <a:pt x="1760" y="1344"/>
                  </a:lnTo>
                  <a:lnTo>
                    <a:pt x="1760" y="1340"/>
                  </a:lnTo>
                  <a:lnTo>
                    <a:pt x="1758" y="1336"/>
                  </a:lnTo>
                  <a:lnTo>
                    <a:pt x="1758" y="1332"/>
                  </a:lnTo>
                  <a:lnTo>
                    <a:pt x="1756" y="1328"/>
                  </a:lnTo>
                  <a:lnTo>
                    <a:pt x="1756" y="1330"/>
                  </a:lnTo>
                  <a:lnTo>
                    <a:pt x="1756" y="1326"/>
                  </a:lnTo>
                  <a:lnTo>
                    <a:pt x="1758" y="1320"/>
                  </a:lnTo>
                  <a:lnTo>
                    <a:pt x="1758" y="1316"/>
                  </a:lnTo>
                  <a:lnTo>
                    <a:pt x="1760" y="1304"/>
                  </a:lnTo>
                  <a:lnTo>
                    <a:pt x="1762" y="1300"/>
                  </a:lnTo>
                  <a:lnTo>
                    <a:pt x="1764" y="1294"/>
                  </a:lnTo>
                  <a:lnTo>
                    <a:pt x="1764" y="1290"/>
                  </a:lnTo>
                  <a:lnTo>
                    <a:pt x="1766" y="1284"/>
                  </a:lnTo>
                  <a:lnTo>
                    <a:pt x="1766" y="1280"/>
                  </a:lnTo>
                  <a:lnTo>
                    <a:pt x="1766" y="1278"/>
                  </a:lnTo>
                  <a:lnTo>
                    <a:pt x="1766" y="1274"/>
                  </a:lnTo>
                  <a:lnTo>
                    <a:pt x="1764" y="1272"/>
                  </a:lnTo>
                  <a:lnTo>
                    <a:pt x="1764" y="1272"/>
                  </a:lnTo>
                  <a:lnTo>
                    <a:pt x="1764" y="1272"/>
                  </a:lnTo>
                  <a:lnTo>
                    <a:pt x="1762" y="1266"/>
                  </a:lnTo>
                  <a:lnTo>
                    <a:pt x="1760" y="1262"/>
                  </a:lnTo>
                  <a:lnTo>
                    <a:pt x="1758" y="1258"/>
                  </a:lnTo>
                  <a:lnTo>
                    <a:pt x="1756" y="1256"/>
                  </a:lnTo>
                  <a:lnTo>
                    <a:pt x="1752" y="1250"/>
                  </a:lnTo>
                  <a:lnTo>
                    <a:pt x="1746" y="1246"/>
                  </a:lnTo>
                  <a:lnTo>
                    <a:pt x="1744" y="1244"/>
                  </a:lnTo>
                  <a:lnTo>
                    <a:pt x="1742" y="1242"/>
                  </a:lnTo>
                  <a:lnTo>
                    <a:pt x="1740" y="1242"/>
                  </a:lnTo>
                  <a:lnTo>
                    <a:pt x="1738" y="1242"/>
                  </a:lnTo>
                  <a:lnTo>
                    <a:pt x="1738" y="1242"/>
                  </a:lnTo>
                  <a:lnTo>
                    <a:pt x="1736" y="1242"/>
                  </a:lnTo>
                  <a:lnTo>
                    <a:pt x="1732" y="1240"/>
                  </a:lnTo>
                  <a:lnTo>
                    <a:pt x="1732" y="1240"/>
                  </a:lnTo>
                  <a:lnTo>
                    <a:pt x="1732" y="1240"/>
                  </a:lnTo>
                  <a:lnTo>
                    <a:pt x="1728" y="1242"/>
                  </a:lnTo>
                  <a:lnTo>
                    <a:pt x="1728" y="1242"/>
                  </a:lnTo>
                  <a:lnTo>
                    <a:pt x="1728" y="1242"/>
                  </a:lnTo>
                  <a:lnTo>
                    <a:pt x="1726" y="1244"/>
                  </a:lnTo>
                  <a:lnTo>
                    <a:pt x="1726" y="1244"/>
                  </a:lnTo>
                  <a:lnTo>
                    <a:pt x="1724" y="1246"/>
                  </a:lnTo>
                  <a:lnTo>
                    <a:pt x="1724" y="1246"/>
                  </a:lnTo>
                  <a:lnTo>
                    <a:pt x="1724" y="1246"/>
                  </a:lnTo>
                  <a:lnTo>
                    <a:pt x="1724" y="1248"/>
                  </a:lnTo>
                  <a:lnTo>
                    <a:pt x="1724" y="1250"/>
                  </a:lnTo>
                  <a:lnTo>
                    <a:pt x="1724" y="1252"/>
                  </a:lnTo>
                  <a:lnTo>
                    <a:pt x="1724" y="1256"/>
                  </a:lnTo>
                  <a:lnTo>
                    <a:pt x="1724" y="1258"/>
                  </a:lnTo>
                  <a:lnTo>
                    <a:pt x="1726" y="1260"/>
                  </a:lnTo>
                  <a:lnTo>
                    <a:pt x="1724" y="1262"/>
                  </a:lnTo>
                  <a:lnTo>
                    <a:pt x="1724" y="1262"/>
                  </a:lnTo>
                  <a:lnTo>
                    <a:pt x="1724" y="1262"/>
                  </a:lnTo>
                  <a:lnTo>
                    <a:pt x="1722" y="1262"/>
                  </a:lnTo>
                  <a:lnTo>
                    <a:pt x="1720" y="1262"/>
                  </a:lnTo>
                  <a:lnTo>
                    <a:pt x="1720" y="1262"/>
                  </a:lnTo>
                  <a:lnTo>
                    <a:pt x="1720" y="1260"/>
                  </a:lnTo>
                  <a:lnTo>
                    <a:pt x="1718" y="1260"/>
                  </a:lnTo>
                  <a:lnTo>
                    <a:pt x="1718" y="1258"/>
                  </a:lnTo>
                  <a:lnTo>
                    <a:pt x="1718" y="1258"/>
                  </a:lnTo>
                  <a:lnTo>
                    <a:pt x="1720" y="1254"/>
                  </a:lnTo>
                  <a:lnTo>
                    <a:pt x="1720" y="1250"/>
                  </a:lnTo>
                  <a:lnTo>
                    <a:pt x="1722" y="1244"/>
                  </a:lnTo>
                  <a:lnTo>
                    <a:pt x="1724" y="1238"/>
                  </a:lnTo>
                  <a:lnTo>
                    <a:pt x="1724" y="1234"/>
                  </a:lnTo>
                  <a:lnTo>
                    <a:pt x="1726" y="1230"/>
                  </a:lnTo>
                  <a:lnTo>
                    <a:pt x="1726" y="1230"/>
                  </a:lnTo>
                  <a:lnTo>
                    <a:pt x="1726" y="1228"/>
                  </a:lnTo>
                  <a:lnTo>
                    <a:pt x="1726" y="1228"/>
                  </a:lnTo>
                  <a:lnTo>
                    <a:pt x="1724" y="1226"/>
                  </a:lnTo>
                  <a:lnTo>
                    <a:pt x="1724" y="1226"/>
                  </a:lnTo>
                  <a:lnTo>
                    <a:pt x="1724" y="1226"/>
                  </a:lnTo>
                  <a:lnTo>
                    <a:pt x="1722" y="1224"/>
                  </a:lnTo>
                  <a:lnTo>
                    <a:pt x="1720" y="1224"/>
                  </a:lnTo>
                  <a:lnTo>
                    <a:pt x="1720" y="1224"/>
                  </a:lnTo>
                  <a:lnTo>
                    <a:pt x="1720" y="1226"/>
                  </a:lnTo>
                  <a:lnTo>
                    <a:pt x="1718" y="1226"/>
                  </a:lnTo>
                  <a:lnTo>
                    <a:pt x="1716" y="1228"/>
                  </a:lnTo>
                  <a:lnTo>
                    <a:pt x="1712" y="1232"/>
                  </a:lnTo>
                  <a:lnTo>
                    <a:pt x="1710" y="1234"/>
                  </a:lnTo>
                  <a:lnTo>
                    <a:pt x="1706" y="1234"/>
                  </a:lnTo>
                  <a:lnTo>
                    <a:pt x="1708" y="1234"/>
                  </a:lnTo>
                  <a:lnTo>
                    <a:pt x="1704" y="1234"/>
                  </a:lnTo>
                  <a:lnTo>
                    <a:pt x="1700" y="1236"/>
                  </a:lnTo>
                  <a:lnTo>
                    <a:pt x="1696" y="1236"/>
                  </a:lnTo>
                  <a:lnTo>
                    <a:pt x="1690" y="1236"/>
                  </a:lnTo>
                  <a:lnTo>
                    <a:pt x="1682" y="1236"/>
                  </a:lnTo>
                  <a:lnTo>
                    <a:pt x="1678" y="1236"/>
                  </a:lnTo>
                  <a:lnTo>
                    <a:pt x="1676" y="1234"/>
                  </a:lnTo>
                  <a:lnTo>
                    <a:pt x="1676" y="1234"/>
                  </a:lnTo>
                  <a:lnTo>
                    <a:pt x="1676" y="1234"/>
                  </a:lnTo>
                  <a:lnTo>
                    <a:pt x="1678" y="1232"/>
                  </a:lnTo>
                  <a:lnTo>
                    <a:pt x="1678" y="1232"/>
                  </a:lnTo>
                  <a:lnTo>
                    <a:pt x="1680" y="1228"/>
                  </a:lnTo>
                  <a:lnTo>
                    <a:pt x="1682" y="1226"/>
                  </a:lnTo>
                  <a:lnTo>
                    <a:pt x="1684" y="1224"/>
                  </a:lnTo>
                  <a:lnTo>
                    <a:pt x="1688" y="1222"/>
                  </a:lnTo>
                  <a:lnTo>
                    <a:pt x="1690" y="1220"/>
                  </a:lnTo>
                  <a:lnTo>
                    <a:pt x="1696" y="1216"/>
                  </a:lnTo>
                  <a:lnTo>
                    <a:pt x="1700" y="1212"/>
                  </a:lnTo>
                  <a:lnTo>
                    <a:pt x="1702" y="1210"/>
                  </a:lnTo>
                  <a:lnTo>
                    <a:pt x="1708" y="1206"/>
                  </a:lnTo>
                  <a:lnTo>
                    <a:pt x="1712" y="1202"/>
                  </a:lnTo>
                  <a:lnTo>
                    <a:pt x="1718" y="1198"/>
                  </a:lnTo>
                  <a:lnTo>
                    <a:pt x="1720" y="1194"/>
                  </a:lnTo>
                  <a:lnTo>
                    <a:pt x="1722" y="1192"/>
                  </a:lnTo>
                  <a:lnTo>
                    <a:pt x="1722" y="1192"/>
                  </a:lnTo>
                  <a:lnTo>
                    <a:pt x="1722" y="1192"/>
                  </a:lnTo>
                  <a:lnTo>
                    <a:pt x="1724" y="1190"/>
                  </a:lnTo>
                  <a:lnTo>
                    <a:pt x="1724" y="1190"/>
                  </a:lnTo>
                  <a:lnTo>
                    <a:pt x="1724" y="1190"/>
                  </a:lnTo>
                  <a:lnTo>
                    <a:pt x="1724" y="1186"/>
                  </a:lnTo>
                  <a:lnTo>
                    <a:pt x="1726" y="1184"/>
                  </a:lnTo>
                  <a:lnTo>
                    <a:pt x="1726" y="1182"/>
                  </a:lnTo>
                  <a:lnTo>
                    <a:pt x="1728" y="1180"/>
                  </a:lnTo>
                  <a:lnTo>
                    <a:pt x="1726" y="1182"/>
                  </a:lnTo>
                  <a:lnTo>
                    <a:pt x="1728" y="1180"/>
                  </a:lnTo>
                  <a:lnTo>
                    <a:pt x="1728" y="1180"/>
                  </a:lnTo>
                  <a:lnTo>
                    <a:pt x="1730" y="1178"/>
                  </a:lnTo>
                  <a:lnTo>
                    <a:pt x="1732" y="1176"/>
                  </a:lnTo>
                  <a:lnTo>
                    <a:pt x="1738" y="1174"/>
                  </a:lnTo>
                  <a:lnTo>
                    <a:pt x="1740" y="1174"/>
                  </a:lnTo>
                  <a:lnTo>
                    <a:pt x="1740" y="1172"/>
                  </a:lnTo>
                  <a:lnTo>
                    <a:pt x="1742" y="1170"/>
                  </a:lnTo>
                  <a:lnTo>
                    <a:pt x="1742" y="1170"/>
                  </a:lnTo>
                  <a:lnTo>
                    <a:pt x="1742" y="1170"/>
                  </a:lnTo>
                  <a:lnTo>
                    <a:pt x="1744" y="1168"/>
                  </a:lnTo>
                  <a:lnTo>
                    <a:pt x="1746" y="1166"/>
                  </a:lnTo>
                  <a:lnTo>
                    <a:pt x="1746" y="1166"/>
                  </a:lnTo>
                  <a:lnTo>
                    <a:pt x="1746" y="1166"/>
                  </a:lnTo>
                  <a:lnTo>
                    <a:pt x="1746" y="1164"/>
                  </a:lnTo>
                  <a:lnTo>
                    <a:pt x="1748" y="1162"/>
                  </a:lnTo>
                  <a:lnTo>
                    <a:pt x="1748" y="1162"/>
                  </a:lnTo>
                  <a:lnTo>
                    <a:pt x="1752" y="1158"/>
                  </a:lnTo>
                  <a:lnTo>
                    <a:pt x="1754" y="1156"/>
                  </a:lnTo>
                  <a:lnTo>
                    <a:pt x="1754" y="1156"/>
                  </a:lnTo>
                  <a:lnTo>
                    <a:pt x="1754" y="1156"/>
                  </a:lnTo>
                  <a:lnTo>
                    <a:pt x="1756" y="1154"/>
                  </a:lnTo>
                  <a:lnTo>
                    <a:pt x="1756" y="1154"/>
                  </a:lnTo>
                  <a:lnTo>
                    <a:pt x="1756" y="1154"/>
                  </a:lnTo>
                  <a:lnTo>
                    <a:pt x="1758" y="1150"/>
                  </a:lnTo>
                  <a:lnTo>
                    <a:pt x="1758" y="1148"/>
                  </a:lnTo>
                  <a:lnTo>
                    <a:pt x="1758" y="1144"/>
                  </a:lnTo>
                  <a:lnTo>
                    <a:pt x="1758" y="1142"/>
                  </a:lnTo>
                  <a:lnTo>
                    <a:pt x="1758" y="1142"/>
                  </a:lnTo>
                  <a:lnTo>
                    <a:pt x="1760" y="1140"/>
                  </a:lnTo>
                  <a:lnTo>
                    <a:pt x="1760" y="1140"/>
                  </a:lnTo>
                  <a:lnTo>
                    <a:pt x="1760" y="1140"/>
                  </a:lnTo>
                  <a:lnTo>
                    <a:pt x="1764" y="1140"/>
                  </a:lnTo>
                  <a:lnTo>
                    <a:pt x="1766" y="1140"/>
                  </a:lnTo>
                  <a:lnTo>
                    <a:pt x="1766" y="1140"/>
                  </a:lnTo>
                  <a:lnTo>
                    <a:pt x="1766" y="1140"/>
                  </a:lnTo>
                  <a:lnTo>
                    <a:pt x="1768" y="1140"/>
                  </a:lnTo>
                  <a:lnTo>
                    <a:pt x="1768" y="1140"/>
                  </a:lnTo>
                  <a:lnTo>
                    <a:pt x="1770" y="1140"/>
                  </a:lnTo>
                  <a:lnTo>
                    <a:pt x="1770" y="1140"/>
                  </a:lnTo>
                  <a:lnTo>
                    <a:pt x="1770" y="1140"/>
                  </a:lnTo>
                  <a:lnTo>
                    <a:pt x="1772" y="1140"/>
                  </a:lnTo>
                  <a:lnTo>
                    <a:pt x="1772" y="1138"/>
                  </a:lnTo>
                  <a:lnTo>
                    <a:pt x="1772" y="1138"/>
                  </a:lnTo>
                  <a:lnTo>
                    <a:pt x="1772" y="1138"/>
                  </a:lnTo>
                  <a:lnTo>
                    <a:pt x="1774" y="1136"/>
                  </a:lnTo>
                  <a:lnTo>
                    <a:pt x="1774" y="1136"/>
                  </a:lnTo>
                  <a:lnTo>
                    <a:pt x="1774" y="1136"/>
                  </a:lnTo>
                  <a:lnTo>
                    <a:pt x="1774" y="1132"/>
                  </a:lnTo>
                  <a:lnTo>
                    <a:pt x="1774" y="1130"/>
                  </a:lnTo>
                  <a:lnTo>
                    <a:pt x="1774" y="1128"/>
                  </a:lnTo>
                  <a:lnTo>
                    <a:pt x="1774" y="1128"/>
                  </a:lnTo>
                  <a:lnTo>
                    <a:pt x="1778" y="1122"/>
                  </a:lnTo>
                  <a:lnTo>
                    <a:pt x="1778" y="1118"/>
                  </a:lnTo>
                  <a:lnTo>
                    <a:pt x="1780" y="1118"/>
                  </a:lnTo>
                  <a:lnTo>
                    <a:pt x="1782" y="1116"/>
                  </a:lnTo>
                  <a:lnTo>
                    <a:pt x="1786" y="1114"/>
                  </a:lnTo>
                  <a:lnTo>
                    <a:pt x="1788" y="1114"/>
                  </a:lnTo>
                  <a:lnTo>
                    <a:pt x="1792" y="1112"/>
                  </a:lnTo>
                  <a:lnTo>
                    <a:pt x="1796" y="1112"/>
                  </a:lnTo>
                  <a:lnTo>
                    <a:pt x="1800" y="1112"/>
                  </a:lnTo>
                  <a:lnTo>
                    <a:pt x="1806" y="1112"/>
                  </a:lnTo>
                  <a:lnTo>
                    <a:pt x="1810" y="1112"/>
                  </a:lnTo>
                  <a:lnTo>
                    <a:pt x="1818" y="1112"/>
                  </a:lnTo>
                  <a:lnTo>
                    <a:pt x="1822" y="1112"/>
                  </a:lnTo>
                  <a:lnTo>
                    <a:pt x="1824" y="1112"/>
                  </a:lnTo>
                  <a:lnTo>
                    <a:pt x="1824" y="1112"/>
                  </a:lnTo>
                  <a:lnTo>
                    <a:pt x="1826" y="1114"/>
                  </a:lnTo>
                  <a:lnTo>
                    <a:pt x="1828" y="1116"/>
                  </a:lnTo>
                  <a:lnTo>
                    <a:pt x="1830" y="1118"/>
                  </a:lnTo>
                  <a:lnTo>
                    <a:pt x="1830" y="1118"/>
                  </a:lnTo>
                  <a:lnTo>
                    <a:pt x="1830" y="1120"/>
                  </a:lnTo>
                  <a:lnTo>
                    <a:pt x="1830" y="1120"/>
                  </a:lnTo>
                  <a:lnTo>
                    <a:pt x="1832" y="1120"/>
                  </a:lnTo>
                  <a:lnTo>
                    <a:pt x="1832" y="1120"/>
                  </a:lnTo>
                  <a:lnTo>
                    <a:pt x="1832" y="1120"/>
                  </a:lnTo>
                  <a:lnTo>
                    <a:pt x="1834" y="1120"/>
                  </a:lnTo>
                  <a:lnTo>
                    <a:pt x="1834" y="1120"/>
                  </a:lnTo>
                  <a:lnTo>
                    <a:pt x="1836" y="1120"/>
                  </a:lnTo>
                  <a:lnTo>
                    <a:pt x="1836" y="1118"/>
                  </a:lnTo>
                  <a:lnTo>
                    <a:pt x="1836" y="1118"/>
                  </a:lnTo>
                  <a:lnTo>
                    <a:pt x="1836" y="1118"/>
                  </a:lnTo>
                  <a:lnTo>
                    <a:pt x="1836" y="1116"/>
                  </a:lnTo>
                  <a:lnTo>
                    <a:pt x="1836" y="1116"/>
                  </a:lnTo>
                  <a:lnTo>
                    <a:pt x="1838" y="1116"/>
                  </a:lnTo>
                  <a:lnTo>
                    <a:pt x="1838" y="1116"/>
                  </a:lnTo>
                  <a:lnTo>
                    <a:pt x="1838" y="1116"/>
                  </a:lnTo>
                  <a:lnTo>
                    <a:pt x="1840" y="1118"/>
                  </a:lnTo>
                  <a:lnTo>
                    <a:pt x="1840" y="1118"/>
                  </a:lnTo>
                  <a:lnTo>
                    <a:pt x="1840" y="1118"/>
                  </a:lnTo>
                  <a:lnTo>
                    <a:pt x="1842" y="1120"/>
                  </a:lnTo>
                  <a:lnTo>
                    <a:pt x="1842" y="1120"/>
                  </a:lnTo>
                  <a:lnTo>
                    <a:pt x="1842" y="1120"/>
                  </a:lnTo>
                  <a:lnTo>
                    <a:pt x="1844" y="1120"/>
                  </a:lnTo>
                  <a:lnTo>
                    <a:pt x="1844" y="1120"/>
                  </a:lnTo>
                  <a:lnTo>
                    <a:pt x="1844" y="1120"/>
                  </a:lnTo>
                  <a:lnTo>
                    <a:pt x="1846" y="1120"/>
                  </a:lnTo>
                  <a:lnTo>
                    <a:pt x="1850" y="1120"/>
                  </a:lnTo>
                  <a:lnTo>
                    <a:pt x="1854" y="1118"/>
                  </a:lnTo>
                  <a:lnTo>
                    <a:pt x="1858" y="1116"/>
                  </a:lnTo>
                  <a:lnTo>
                    <a:pt x="1860" y="1114"/>
                  </a:lnTo>
                  <a:lnTo>
                    <a:pt x="1862" y="1114"/>
                  </a:lnTo>
                  <a:lnTo>
                    <a:pt x="1864" y="1114"/>
                  </a:lnTo>
                  <a:lnTo>
                    <a:pt x="1866" y="1114"/>
                  </a:lnTo>
                  <a:lnTo>
                    <a:pt x="1870" y="1114"/>
                  </a:lnTo>
                  <a:lnTo>
                    <a:pt x="1874" y="1116"/>
                  </a:lnTo>
                  <a:lnTo>
                    <a:pt x="1874" y="1116"/>
                  </a:lnTo>
                  <a:lnTo>
                    <a:pt x="1874" y="1116"/>
                  </a:lnTo>
                  <a:lnTo>
                    <a:pt x="1876" y="1116"/>
                  </a:lnTo>
                  <a:lnTo>
                    <a:pt x="1876" y="1116"/>
                  </a:lnTo>
                  <a:lnTo>
                    <a:pt x="1876" y="1116"/>
                  </a:lnTo>
                  <a:lnTo>
                    <a:pt x="1878" y="1114"/>
                  </a:lnTo>
                  <a:lnTo>
                    <a:pt x="1878" y="1114"/>
                  </a:lnTo>
                  <a:lnTo>
                    <a:pt x="1878" y="1114"/>
                  </a:lnTo>
                  <a:lnTo>
                    <a:pt x="1880" y="1112"/>
                  </a:lnTo>
                  <a:lnTo>
                    <a:pt x="1880" y="1112"/>
                  </a:lnTo>
                  <a:lnTo>
                    <a:pt x="1880" y="1112"/>
                  </a:lnTo>
                  <a:lnTo>
                    <a:pt x="1880" y="1110"/>
                  </a:lnTo>
                  <a:lnTo>
                    <a:pt x="1880" y="1110"/>
                  </a:lnTo>
                  <a:lnTo>
                    <a:pt x="1880" y="1106"/>
                  </a:lnTo>
                  <a:lnTo>
                    <a:pt x="1880" y="1104"/>
                  </a:lnTo>
                  <a:lnTo>
                    <a:pt x="1880" y="1102"/>
                  </a:lnTo>
                  <a:lnTo>
                    <a:pt x="1878" y="1100"/>
                  </a:lnTo>
                  <a:lnTo>
                    <a:pt x="1878" y="1100"/>
                  </a:lnTo>
                  <a:lnTo>
                    <a:pt x="1880" y="1100"/>
                  </a:lnTo>
                  <a:lnTo>
                    <a:pt x="1880" y="1098"/>
                  </a:lnTo>
                  <a:lnTo>
                    <a:pt x="1882" y="1098"/>
                  </a:lnTo>
                  <a:lnTo>
                    <a:pt x="1884" y="1100"/>
                  </a:lnTo>
                  <a:lnTo>
                    <a:pt x="1884" y="1100"/>
                  </a:lnTo>
                  <a:lnTo>
                    <a:pt x="1886" y="1102"/>
                  </a:lnTo>
                  <a:lnTo>
                    <a:pt x="1888" y="1102"/>
                  </a:lnTo>
                  <a:lnTo>
                    <a:pt x="1894" y="1106"/>
                  </a:lnTo>
                  <a:lnTo>
                    <a:pt x="1900" y="1110"/>
                  </a:lnTo>
                  <a:lnTo>
                    <a:pt x="1902" y="1112"/>
                  </a:lnTo>
                  <a:lnTo>
                    <a:pt x="1904" y="1114"/>
                  </a:lnTo>
                  <a:lnTo>
                    <a:pt x="1906" y="1116"/>
                  </a:lnTo>
                  <a:lnTo>
                    <a:pt x="1906" y="1116"/>
                  </a:lnTo>
                  <a:lnTo>
                    <a:pt x="1908" y="1120"/>
                  </a:lnTo>
                  <a:lnTo>
                    <a:pt x="1910" y="1122"/>
                  </a:lnTo>
                  <a:lnTo>
                    <a:pt x="1910" y="1122"/>
                  </a:lnTo>
                  <a:lnTo>
                    <a:pt x="1912" y="1122"/>
                  </a:lnTo>
                  <a:lnTo>
                    <a:pt x="1912" y="1122"/>
                  </a:lnTo>
                  <a:lnTo>
                    <a:pt x="1912" y="1122"/>
                  </a:lnTo>
                  <a:lnTo>
                    <a:pt x="1912" y="1124"/>
                  </a:lnTo>
                  <a:lnTo>
                    <a:pt x="1914" y="1124"/>
                  </a:lnTo>
                  <a:lnTo>
                    <a:pt x="1914" y="1124"/>
                  </a:lnTo>
                  <a:lnTo>
                    <a:pt x="1916" y="1124"/>
                  </a:lnTo>
                  <a:lnTo>
                    <a:pt x="1918" y="1124"/>
                  </a:lnTo>
                  <a:lnTo>
                    <a:pt x="1918" y="1124"/>
                  </a:lnTo>
                  <a:lnTo>
                    <a:pt x="1920" y="1124"/>
                  </a:lnTo>
                  <a:lnTo>
                    <a:pt x="1920" y="1124"/>
                  </a:lnTo>
                  <a:lnTo>
                    <a:pt x="1920" y="1124"/>
                  </a:lnTo>
                  <a:lnTo>
                    <a:pt x="1926" y="1122"/>
                  </a:lnTo>
                  <a:lnTo>
                    <a:pt x="1930" y="1120"/>
                  </a:lnTo>
                  <a:lnTo>
                    <a:pt x="1934" y="1118"/>
                  </a:lnTo>
                  <a:lnTo>
                    <a:pt x="1936" y="1118"/>
                  </a:lnTo>
                  <a:lnTo>
                    <a:pt x="1938" y="1118"/>
                  </a:lnTo>
                  <a:lnTo>
                    <a:pt x="1944" y="1118"/>
                  </a:lnTo>
                  <a:lnTo>
                    <a:pt x="1946" y="1116"/>
                  </a:lnTo>
                  <a:lnTo>
                    <a:pt x="1950" y="1116"/>
                  </a:lnTo>
                  <a:lnTo>
                    <a:pt x="1950" y="1116"/>
                  </a:lnTo>
                  <a:lnTo>
                    <a:pt x="1950" y="1116"/>
                  </a:lnTo>
                  <a:lnTo>
                    <a:pt x="1952" y="1116"/>
                  </a:lnTo>
                  <a:lnTo>
                    <a:pt x="1952" y="1116"/>
                  </a:lnTo>
                  <a:lnTo>
                    <a:pt x="1952" y="1114"/>
                  </a:lnTo>
                  <a:lnTo>
                    <a:pt x="1954" y="1114"/>
                  </a:lnTo>
                  <a:lnTo>
                    <a:pt x="1954" y="1114"/>
                  </a:lnTo>
                  <a:lnTo>
                    <a:pt x="1954" y="1112"/>
                  </a:lnTo>
                  <a:lnTo>
                    <a:pt x="1956" y="1110"/>
                  </a:lnTo>
                  <a:lnTo>
                    <a:pt x="1956" y="1110"/>
                  </a:lnTo>
                  <a:lnTo>
                    <a:pt x="1956" y="1110"/>
                  </a:lnTo>
                  <a:lnTo>
                    <a:pt x="1958" y="1108"/>
                  </a:lnTo>
                  <a:lnTo>
                    <a:pt x="1958" y="1108"/>
                  </a:lnTo>
                  <a:lnTo>
                    <a:pt x="1958" y="1106"/>
                  </a:lnTo>
                  <a:lnTo>
                    <a:pt x="1958" y="1104"/>
                  </a:lnTo>
                  <a:lnTo>
                    <a:pt x="1958" y="1100"/>
                  </a:lnTo>
                  <a:lnTo>
                    <a:pt x="1960" y="1092"/>
                  </a:lnTo>
                  <a:lnTo>
                    <a:pt x="1960" y="1090"/>
                  </a:lnTo>
                  <a:lnTo>
                    <a:pt x="1960" y="1088"/>
                  </a:lnTo>
                  <a:lnTo>
                    <a:pt x="1962" y="1086"/>
                  </a:lnTo>
                  <a:lnTo>
                    <a:pt x="1964" y="1084"/>
                  </a:lnTo>
                  <a:lnTo>
                    <a:pt x="1968" y="1082"/>
                  </a:lnTo>
                  <a:lnTo>
                    <a:pt x="1974" y="1078"/>
                  </a:lnTo>
                  <a:lnTo>
                    <a:pt x="1976" y="1076"/>
                  </a:lnTo>
                  <a:lnTo>
                    <a:pt x="1978" y="1076"/>
                  </a:lnTo>
                  <a:lnTo>
                    <a:pt x="1978" y="1076"/>
                  </a:lnTo>
                  <a:lnTo>
                    <a:pt x="1978" y="1076"/>
                  </a:lnTo>
                  <a:lnTo>
                    <a:pt x="1980" y="1074"/>
                  </a:lnTo>
                  <a:lnTo>
                    <a:pt x="1980" y="1074"/>
                  </a:lnTo>
                  <a:lnTo>
                    <a:pt x="1980" y="1074"/>
                  </a:lnTo>
                  <a:lnTo>
                    <a:pt x="1980" y="1072"/>
                  </a:lnTo>
                  <a:lnTo>
                    <a:pt x="1982" y="1068"/>
                  </a:lnTo>
                  <a:lnTo>
                    <a:pt x="1984" y="1066"/>
                  </a:lnTo>
                  <a:lnTo>
                    <a:pt x="1984" y="1062"/>
                  </a:lnTo>
                  <a:lnTo>
                    <a:pt x="1986" y="1060"/>
                  </a:lnTo>
                  <a:lnTo>
                    <a:pt x="1988" y="1056"/>
                  </a:lnTo>
                  <a:lnTo>
                    <a:pt x="1988" y="1054"/>
                  </a:lnTo>
                  <a:lnTo>
                    <a:pt x="1990" y="1052"/>
                  </a:lnTo>
                  <a:lnTo>
                    <a:pt x="1992" y="1050"/>
                  </a:lnTo>
                  <a:lnTo>
                    <a:pt x="1992" y="1048"/>
                  </a:lnTo>
                  <a:lnTo>
                    <a:pt x="1994" y="1046"/>
                  </a:lnTo>
                  <a:lnTo>
                    <a:pt x="1998" y="1044"/>
                  </a:lnTo>
                  <a:lnTo>
                    <a:pt x="2000" y="1044"/>
                  </a:lnTo>
                  <a:lnTo>
                    <a:pt x="2002" y="1044"/>
                  </a:lnTo>
                  <a:lnTo>
                    <a:pt x="2006" y="1042"/>
                  </a:lnTo>
                  <a:lnTo>
                    <a:pt x="2012" y="1040"/>
                  </a:lnTo>
                  <a:lnTo>
                    <a:pt x="2014" y="1040"/>
                  </a:lnTo>
                  <a:lnTo>
                    <a:pt x="2016" y="1040"/>
                  </a:lnTo>
                  <a:lnTo>
                    <a:pt x="2018" y="1040"/>
                  </a:lnTo>
                  <a:lnTo>
                    <a:pt x="2018" y="1040"/>
                  </a:lnTo>
                  <a:lnTo>
                    <a:pt x="2020" y="1040"/>
                  </a:lnTo>
                  <a:lnTo>
                    <a:pt x="2022" y="1042"/>
                  </a:lnTo>
                  <a:lnTo>
                    <a:pt x="2026" y="1044"/>
                  </a:lnTo>
                  <a:lnTo>
                    <a:pt x="2026" y="1046"/>
                  </a:lnTo>
                  <a:lnTo>
                    <a:pt x="2028" y="1046"/>
                  </a:lnTo>
                  <a:lnTo>
                    <a:pt x="2028" y="1046"/>
                  </a:lnTo>
                  <a:lnTo>
                    <a:pt x="2026" y="1050"/>
                  </a:lnTo>
                  <a:lnTo>
                    <a:pt x="2026" y="1054"/>
                  </a:lnTo>
                  <a:lnTo>
                    <a:pt x="2026" y="1056"/>
                  </a:lnTo>
                  <a:lnTo>
                    <a:pt x="2026" y="1058"/>
                  </a:lnTo>
                  <a:lnTo>
                    <a:pt x="2026" y="1060"/>
                  </a:lnTo>
                  <a:lnTo>
                    <a:pt x="2028" y="1062"/>
                  </a:lnTo>
                  <a:lnTo>
                    <a:pt x="2028" y="1066"/>
                  </a:lnTo>
                  <a:lnTo>
                    <a:pt x="2030" y="1070"/>
                  </a:lnTo>
                  <a:lnTo>
                    <a:pt x="2030" y="1072"/>
                  </a:lnTo>
                  <a:lnTo>
                    <a:pt x="2030" y="1072"/>
                  </a:lnTo>
                  <a:lnTo>
                    <a:pt x="2030" y="1072"/>
                  </a:lnTo>
                  <a:lnTo>
                    <a:pt x="2032" y="1074"/>
                  </a:lnTo>
                  <a:lnTo>
                    <a:pt x="2032" y="1074"/>
                  </a:lnTo>
                  <a:lnTo>
                    <a:pt x="2032" y="1074"/>
                  </a:lnTo>
                  <a:lnTo>
                    <a:pt x="2034" y="1076"/>
                  </a:lnTo>
                  <a:lnTo>
                    <a:pt x="2034" y="1076"/>
                  </a:lnTo>
                  <a:lnTo>
                    <a:pt x="2034" y="1076"/>
                  </a:lnTo>
                  <a:lnTo>
                    <a:pt x="2036" y="1076"/>
                  </a:lnTo>
                  <a:lnTo>
                    <a:pt x="2036" y="1076"/>
                  </a:lnTo>
                  <a:lnTo>
                    <a:pt x="2038" y="1076"/>
                  </a:lnTo>
                  <a:lnTo>
                    <a:pt x="2038" y="1076"/>
                  </a:lnTo>
                  <a:lnTo>
                    <a:pt x="2038" y="1076"/>
                  </a:lnTo>
                  <a:lnTo>
                    <a:pt x="2040" y="1076"/>
                  </a:lnTo>
                  <a:lnTo>
                    <a:pt x="2042" y="1076"/>
                  </a:lnTo>
                  <a:lnTo>
                    <a:pt x="2042" y="1076"/>
                  </a:lnTo>
                  <a:lnTo>
                    <a:pt x="2042" y="1076"/>
                  </a:lnTo>
                  <a:lnTo>
                    <a:pt x="2044" y="1074"/>
                  </a:lnTo>
                  <a:lnTo>
                    <a:pt x="2050" y="1072"/>
                  </a:lnTo>
                  <a:lnTo>
                    <a:pt x="2054" y="1068"/>
                  </a:lnTo>
                  <a:lnTo>
                    <a:pt x="2056" y="1066"/>
                  </a:lnTo>
                  <a:lnTo>
                    <a:pt x="2058" y="1062"/>
                  </a:lnTo>
                  <a:lnTo>
                    <a:pt x="2064" y="1056"/>
                  </a:lnTo>
                  <a:lnTo>
                    <a:pt x="2068" y="1050"/>
                  </a:lnTo>
                  <a:lnTo>
                    <a:pt x="2070" y="1048"/>
                  </a:lnTo>
                  <a:lnTo>
                    <a:pt x="2072" y="1046"/>
                  </a:lnTo>
                  <a:lnTo>
                    <a:pt x="2072" y="1044"/>
                  </a:lnTo>
                  <a:lnTo>
                    <a:pt x="2074" y="1044"/>
                  </a:lnTo>
                  <a:lnTo>
                    <a:pt x="2076" y="1042"/>
                  </a:lnTo>
                  <a:lnTo>
                    <a:pt x="2078" y="1040"/>
                  </a:lnTo>
                  <a:lnTo>
                    <a:pt x="2080" y="1040"/>
                  </a:lnTo>
                  <a:lnTo>
                    <a:pt x="2080" y="1038"/>
                  </a:lnTo>
                  <a:lnTo>
                    <a:pt x="2080" y="1038"/>
                  </a:lnTo>
                  <a:lnTo>
                    <a:pt x="2080" y="1038"/>
                  </a:lnTo>
                  <a:lnTo>
                    <a:pt x="2080" y="1036"/>
                  </a:lnTo>
                  <a:lnTo>
                    <a:pt x="2080" y="1036"/>
                  </a:lnTo>
                  <a:lnTo>
                    <a:pt x="2082" y="1036"/>
                  </a:lnTo>
                  <a:lnTo>
                    <a:pt x="2082" y="1034"/>
                  </a:lnTo>
                  <a:lnTo>
                    <a:pt x="2082" y="1034"/>
                  </a:lnTo>
                  <a:lnTo>
                    <a:pt x="2080" y="1032"/>
                  </a:lnTo>
                  <a:lnTo>
                    <a:pt x="2080" y="1032"/>
                  </a:lnTo>
                  <a:lnTo>
                    <a:pt x="2080" y="1032"/>
                  </a:lnTo>
                  <a:lnTo>
                    <a:pt x="2078" y="1024"/>
                  </a:lnTo>
                  <a:lnTo>
                    <a:pt x="2078" y="1024"/>
                  </a:lnTo>
                  <a:lnTo>
                    <a:pt x="2078" y="1024"/>
                  </a:lnTo>
                  <a:lnTo>
                    <a:pt x="2078" y="1022"/>
                  </a:lnTo>
                  <a:lnTo>
                    <a:pt x="2078" y="1020"/>
                  </a:lnTo>
                  <a:lnTo>
                    <a:pt x="2080" y="1018"/>
                  </a:lnTo>
                  <a:lnTo>
                    <a:pt x="2080" y="1016"/>
                  </a:lnTo>
                  <a:lnTo>
                    <a:pt x="2080" y="1016"/>
                  </a:lnTo>
                  <a:lnTo>
                    <a:pt x="2082" y="1014"/>
                  </a:lnTo>
                  <a:lnTo>
                    <a:pt x="2084" y="1014"/>
                  </a:lnTo>
                  <a:lnTo>
                    <a:pt x="2086" y="1014"/>
                  </a:lnTo>
                  <a:lnTo>
                    <a:pt x="2090" y="1014"/>
                  </a:lnTo>
                  <a:lnTo>
                    <a:pt x="2094" y="1014"/>
                  </a:lnTo>
                  <a:lnTo>
                    <a:pt x="2098" y="1014"/>
                  </a:lnTo>
                  <a:lnTo>
                    <a:pt x="2100" y="1014"/>
                  </a:lnTo>
                  <a:lnTo>
                    <a:pt x="2100" y="1016"/>
                  </a:lnTo>
                  <a:lnTo>
                    <a:pt x="2096" y="1020"/>
                  </a:lnTo>
                  <a:lnTo>
                    <a:pt x="2096" y="1020"/>
                  </a:lnTo>
                  <a:lnTo>
                    <a:pt x="2094" y="1020"/>
                  </a:lnTo>
                  <a:lnTo>
                    <a:pt x="2092" y="1022"/>
                  </a:lnTo>
                  <a:lnTo>
                    <a:pt x="2092" y="1022"/>
                  </a:lnTo>
                  <a:lnTo>
                    <a:pt x="2092" y="1022"/>
                  </a:lnTo>
                  <a:lnTo>
                    <a:pt x="2092" y="1026"/>
                  </a:lnTo>
                  <a:lnTo>
                    <a:pt x="2092" y="1026"/>
                  </a:lnTo>
                  <a:lnTo>
                    <a:pt x="2090" y="1026"/>
                  </a:lnTo>
                  <a:lnTo>
                    <a:pt x="2090" y="1030"/>
                  </a:lnTo>
                  <a:lnTo>
                    <a:pt x="2090" y="1030"/>
                  </a:lnTo>
                  <a:lnTo>
                    <a:pt x="2090" y="1030"/>
                  </a:lnTo>
                  <a:lnTo>
                    <a:pt x="2090" y="1034"/>
                  </a:lnTo>
                  <a:lnTo>
                    <a:pt x="2090" y="1038"/>
                  </a:lnTo>
                  <a:lnTo>
                    <a:pt x="2090" y="1048"/>
                  </a:lnTo>
                  <a:lnTo>
                    <a:pt x="2090" y="1052"/>
                  </a:lnTo>
                  <a:lnTo>
                    <a:pt x="2088" y="1058"/>
                  </a:lnTo>
                  <a:lnTo>
                    <a:pt x="2088" y="1056"/>
                  </a:lnTo>
                  <a:lnTo>
                    <a:pt x="2088" y="1060"/>
                  </a:lnTo>
                  <a:lnTo>
                    <a:pt x="2088" y="1060"/>
                  </a:lnTo>
                  <a:lnTo>
                    <a:pt x="2086" y="1062"/>
                  </a:lnTo>
                  <a:lnTo>
                    <a:pt x="2086" y="1062"/>
                  </a:lnTo>
                  <a:lnTo>
                    <a:pt x="2084" y="1064"/>
                  </a:lnTo>
                  <a:lnTo>
                    <a:pt x="2080" y="1066"/>
                  </a:lnTo>
                  <a:lnTo>
                    <a:pt x="2076" y="1068"/>
                  </a:lnTo>
                  <a:lnTo>
                    <a:pt x="2070" y="1072"/>
                  </a:lnTo>
                  <a:lnTo>
                    <a:pt x="2066" y="1074"/>
                  </a:lnTo>
                  <a:lnTo>
                    <a:pt x="2062" y="1076"/>
                  </a:lnTo>
                  <a:lnTo>
                    <a:pt x="2060" y="1078"/>
                  </a:lnTo>
                  <a:lnTo>
                    <a:pt x="2058" y="1080"/>
                  </a:lnTo>
                  <a:lnTo>
                    <a:pt x="2054" y="1084"/>
                  </a:lnTo>
                  <a:lnTo>
                    <a:pt x="2050" y="1086"/>
                  </a:lnTo>
                  <a:lnTo>
                    <a:pt x="2048" y="1088"/>
                  </a:lnTo>
                  <a:lnTo>
                    <a:pt x="2046" y="1090"/>
                  </a:lnTo>
                  <a:lnTo>
                    <a:pt x="2044" y="1092"/>
                  </a:lnTo>
                  <a:lnTo>
                    <a:pt x="2040" y="1096"/>
                  </a:lnTo>
                  <a:lnTo>
                    <a:pt x="2038" y="1100"/>
                  </a:lnTo>
                  <a:lnTo>
                    <a:pt x="2034" y="1106"/>
                  </a:lnTo>
                  <a:lnTo>
                    <a:pt x="2032" y="1110"/>
                  </a:lnTo>
                  <a:lnTo>
                    <a:pt x="2026" y="1120"/>
                  </a:lnTo>
                  <a:lnTo>
                    <a:pt x="2022" y="1124"/>
                  </a:lnTo>
                  <a:lnTo>
                    <a:pt x="2018" y="1128"/>
                  </a:lnTo>
                  <a:lnTo>
                    <a:pt x="2012" y="1134"/>
                  </a:lnTo>
                  <a:lnTo>
                    <a:pt x="2006" y="1142"/>
                  </a:lnTo>
                  <a:lnTo>
                    <a:pt x="1992" y="1154"/>
                  </a:lnTo>
                  <a:lnTo>
                    <a:pt x="1988" y="1156"/>
                  </a:lnTo>
                  <a:lnTo>
                    <a:pt x="1986" y="1160"/>
                  </a:lnTo>
                  <a:lnTo>
                    <a:pt x="1978" y="1166"/>
                  </a:lnTo>
                  <a:lnTo>
                    <a:pt x="1976" y="1168"/>
                  </a:lnTo>
                  <a:lnTo>
                    <a:pt x="1972" y="1172"/>
                  </a:lnTo>
                  <a:lnTo>
                    <a:pt x="1970" y="1176"/>
                  </a:lnTo>
                  <a:lnTo>
                    <a:pt x="1970" y="1176"/>
                  </a:lnTo>
                  <a:lnTo>
                    <a:pt x="1970" y="1176"/>
                  </a:lnTo>
                  <a:lnTo>
                    <a:pt x="1968" y="1180"/>
                  </a:lnTo>
                  <a:lnTo>
                    <a:pt x="1966" y="1186"/>
                  </a:lnTo>
                  <a:lnTo>
                    <a:pt x="1966" y="1192"/>
                  </a:lnTo>
                  <a:lnTo>
                    <a:pt x="1964" y="1200"/>
                  </a:lnTo>
                  <a:lnTo>
                    <a:pt x="1964" y="1206"/>
                  </a:lnTo>
                  <a:lnTo>
                    <a:pt x="1962" y="1214"/>
                  </a:lnTo>
                  <a:lnTo>
                    <a:pt x="1962" y="1220"/>
                  </a:lnTo>
                  <a:lnTo>
                    <a:pt x="1962" y="1226"/>
                  </a:lnTo>
                  <a:lnTo>
                    <a:pt x="1962" y="1232"/>
                  </a:lnTo>
                  <a:lnTo>
                    <a:pt x="1964" y="1236"/>
                  </a:lnTo>
                  <a:lnTo>
                    <a:pt x="1964" y="1236"/>
                  </a:lnTo>
                  <a:lnTo>
                    <a:pt x="1964" y="1236"/>
                  </a:lnTo>
                  <a:lnTo>
                    <a:pt x="1964" y="1240"/>
                  </a:lnTo>
                  <a:lnTo>
                    <a:pt x="1964" y="1240"/>
                  </a:lnTo>
                  <a:lnTo>
                    <a:pt x="1964" y="1240"/>
                  </a:lnTo>
                  <a:lnTo>
                    <a:pt x="1966" y="1242"/>
                  </a:lnTo>
                  <a:lnTo>
                    <a:pt x="1966" y="1242"/>
                  </a:lnTo>
                  <a:lnTo>
                    <a:pt x="1966" y="1242"/>
                  </a:lnTo>
                  <a:lnTo>
                    <a:pt x="1968" y="1246"/>
                  </a:lnTo>
                  <a:lnTo>
                    <a:pt x="1972" y="1248"/>
                  </a:lnTo>
                  <a:lnTo>
                    <a:pt x="1974" y="1250"/>
                  </a:lnTo>
                  <a:lnTo>
                    <a:pt x="1974" y="1252"/>
                  </a:lnTo>
                  <a:lnTo>
                    <a:pt x="1974" y="1254"/>
                  </a:lnTo>
                  <a:lnTo>
                    <a:pt x="1974" y="1258"/>
                  </a:lnTo>
                  <a:lnTo>
                    <a:pt x="1974" y="1264"/>
                  </a:lnTo>
                  <a:lnTo>
                    <a:pt x="1972" y="1272"/>
                  </a:lnTo>
                  <a:lnTo>
                    <a:pt x="1972" y="1276"/>
                  </a:lnTo>
                  <a:lnTo>
                    <a:pt x="1972" y="1278"/>
                  </a:lnTo>
                  <a:lnTo>
                    <a:pt x="1972" y="1278"/>
                  </a:lnTo>
                  <a:lnTo>
                    <a:pt x="1974" y="1280"/>
                  </a:lnTo>
                  <a:lnTo>
                    <a:pt x="1974" y="1282"/>
                  </a:lnTo>
                  <a:lnTo>
                    <a:pt x="1974" y="1284"/>
                  </a:lnTo>
                  <a:lnTo>
                    <a:pt x="1974" y="1284"/>
                  </a:lnTo>
                  <a:lnTo>
                    <a:pt x="1974" y="1284"/>
                  </a:lnTo>
                  <a:lnTo>
                    <a:pt x="1976" y="1288"/>
                  </a:lnTo>
                  <a:lnTo>
                    <a:pt x="1978" y="1292"/>
                  </a:lnTo>
                  <a:lnTo>
                    <a:pt x="1978" y="1292"/>
                  </a:lnTo>
                  <a:lnTo>
                    <a:pt x="1980" y="1294"/>
                  </a:lnTo>
                  <a:lnTo>
                    <a:pt x="1980" y="1296"/>
                  </a:lnTo>
                  <a:lnTo>
                    <a:pt x="1980" y="1298"/>
                  </a:lnTo>
                  <a:lnTo>
                    <a:pt x="1980" y="1302"/>
                  </a:lnTo>
                  <a:lnTo>
                    <a:pt x="1980" y="1306"/>
                  </a:lnTo>
                  <a:lnTo>
                    <a:pt x="1980" y="1310"/>
                  </a:lnTo>
                  <a:lnTo>
                    <a:pt x="1980" y="1314"/>
                  </a:lnTo>
                  <a:lnTo>
                    <a:pt x="1980" y="1316"/>
                  </a:lnTo>
                  <a:lnTo>
                    <a:pt x="1980" y="1320"/>
                  </a:lnTo>
                  <a:lnTo>
                    <a:pt x="1980" y="1320"/>
                  </a:lnTo>
                  <a:lnTo>
                    <a:pt x="1980" y="1320"/>
                  </a:lnTo>
                  <a:lnTo>
                    <a:pt x="1980" y="1322"/>
                  </a:lnTo>
                  <a:lnTo>
                    <a:pt x="1980" y="1322"/>
                  </a:lnTo>
                  <a:lnTo>
                    <a:pt x="1980" y="1324"/>
                  </a:lnTo>
                  <a:lnTo>
                    <a:pt x="1982" y="1324"/>
                  </a:lnTo>
                  <a:lnTo>
                    <a:pt x="1982" y="1324"/>
                  </a:lnTo>
                  <a:lnTo>
                    <a:pt x="1984" y="1324"/>
                  </a:lnTo>
                  <a:lnTo>
                    <a:pt x="1984" y="1324"/>
                  </a:lnTo>
                  <a:lnTo>
                    <a:pt x="1984" y="1324"/>
                  </a:lnTo>
                  <a:lnTo>
                    <a:pt x="1986" y="1324"/>
                  </a:lnTo>
                  <a:lnTo>
                    <a:pt x="1988" y="1322"/>
                  </a:lnTo>
                  <a:lnTo>
                    <a:pt x="1988" y="1322"/>
                  </a:lnTo>
                  <a:lnTo>
                    <a:pt x="1990" y="1320"/>
                  </a:lnTo>
                  <a:lnTo>
                    <a:pt x="1992" y="1318"/>
                  </a:lnTo>
                  <a:lnTo>
                    <a:pt x="1992" y="1318"/>
                  </a:lnTo>
                  <a:lnTo>
                    <a:pt x="1992" y="1318"/>
                  </a:lnTo>
                  <a:lnTo>
                    <a:pt x="1994" y="1318"/>
                  </a:lnTo>
                  <a:lnTo>
                    <a:pt x="1996" y="1318"/>
                  </a:lnTo>
                  <a:lnTo>
                    <a:pt x="1998" y="1318"/>
                  </a:lnTo>
                  <a:lnTo>
                    <a:pt x="1998" y="1318"/>
                  </a:lnTo>
                  <a:lnTo>
                    <a:pt x="1998" y="1318"/>
                  </a:lnTo>
                  <a:lnTo>
                    <a:pt x="2000" y="1318"/>
                  </a:lnTo>
                  <a:lnTo>
                    <a:pt x="2000" y="1318"/>
                  </a:lnTo>
                  <a:lnTo>
                    <a:pt x="2000" y="1318"/>
                  </a:lnTo>
                  <a:lnTo>
                    <a:pt x="2002" y="1318"/>
                  </a:lnTo>
                  <a:lnTo>
                    <a:pt x="2002" y="1318"/>
                  </a:lnTo>
                  <a:lnTo>
                    <a:pt x="2002" y="1316"/>
                  </a:lnTo>
                  <a:lnTo>
                    <a:pt x="2004" y="1316"/>
                  </a:lnTo>
                  <a:lnTo>
                    <a:pt x="2004" y="1316"/>
                  </a:lnTo>
                  <a:lnTo>
                    <a:pt x="2004" y="1316"/>
                  </a:lnTo>
                  <a:lnTo>
                    <a:pt x="2006" y="1312"/>
                  </a:lnTo>
                  <a:lnTo>
                    <a:pt x="2008" y="1310"/>
                  </a:lnTo>
                  <a:lnTo>
                    <a:pt x="2010" y="1306"/>
                  </a:lnTo>
                  <a:lnTo>
                    <a:pt x="2012" y="1304"/>
                  </a:lnTo>
                  <a:lnTo>
                    <a:pt x="2014" y="1296"/>
                  </a:lnTo>
                  <a:lnTo>
                    <a:pt x="2016" y="1294"/>
                  </a:lnTo>
                  <a:lnTo>
                    <a:pt x="2016" y="1290"/>
                  </a:lnTo>
                  <a:lnTo>
                    <a:pt x="2018" y="1284"/>
                  </a:lnTo>
                  <a:lnTo>
                    <a:pt x="2020" y="1280"/>
                  </a:lnTo>
                  <a:lnTo>
                    <a:pt x="2020" y="1278"/>
                  </a:lnTo>
                  <a:lnTo>
                    <a:pt x="2022" y="1276"/>
                  </a:lnTo>
                  <a:lnTo>
                    <a:pt x="2022" y="1276"/>
                  </a:lnTo>
                  <a:lnTo>
                    <a:pt x="2022" y="1276"/>
                  </a:lnTo>
                  <a:lnTo>
                    <a:pt x="2024" y="1276"/>
                  </a:lnTo>
                  <a:lnTo>
                    <a:pt x="2026" y="1278"/>
                  </a:lnTo>
                  <a:lnTo>
                    <a:pt x="2028" y="1280"/>
                  </a:lnTo>
                  <a:lnTo>
                    <a:pt x="2028" y="1280"/>
                  </a:lnTo>
                  <a:lnTo>
                    <a:pt x="2028" y="1280"/>
                  </a:lnTo>
                  <a:lnTo>
                    <a:pt x="2030" y="1282"/>
                  </a:lnTo>
                  <a:lnTo>
                    <a:pt x="2030" y="1282"/>
                  </a:lnTo>
                  <a:lnTo>
                    <a:pt x="2030" y="1282"/>
                  </a:lnTo>
                  <a:lnTo>
                    <a:pt x="2034" y="1282"/>
                  </a:lnTo>
                  <a:lnTo>
                    <a:pt x="2034" y="1280"/>
                  </a:lnTo>
                  <a:lnTo>
                    <a:pt x="2034" y="1280"/>
                  </a:lnTo>
                  <a:lnTo>
                    <a:pt x="2036" y="1278"/>
                  </a:lnTo>
                  <a:lnTo>
                    <a:pt x="2036" y="1278"/>
                  </a:lnTo>
                  <a:lnTo>
                    <a:pt x="2036" y="1278"/>
                  </a:lnTo>
                  <a:lnTo>
                    <a:pt x="2036" y="1276"/>
                  </a:lnTo>
                  <a:lnTo>
                    <a:pt x="2034" y="1274"/>
                  </a:lnTo>
                  <a:lnTo>
                    <a:pt x="2034" y="1272"/>
                  </a:lnTo>
                  <a:lnTo>
                    <a:pt x="2034" y="1268"/>
                  </a:lnTo>
                  <a:lnTo>
                    <a:pt x="2032" y="1264"/>
                  </a:lnTo>
                  <a:lnTo>
                    <a:pt x="2032" y="1262"/>
                  </a:lnTo>
                  <a:lnTo>
                    <a:pt x="2032" y="1260"/>
                  </a:lnTo>
                  <a:lnTo>
                    <a:pt x="2032" y="1258"/>
                  </a:lnTo>
                  <a:lnTo>
                    <a:pt x="2032" y="1256"/>
                  </a:lnTo>
                  <a:lnTo>
                    <a:pt x="2032" y="1256"/>
                  </a:lnTo>
                  <a:lnTo>
                    <a:pt x="2032" y="1254"/>
                  </a:lnTo>
                  <a:lnTo>
                    <a:pt x="2034" y="1254"/>
                  </a:lnTo>
                  <a:lnTo>
                    <a:pt x="2036" y="1252"/>
                  </a:lnTo>
                  <a:lnTo>
                    <a:pt x="2040" y="1246"/>
                  </a:lnTo>
                  <a:lnTo>
                    <a:pt x="2044" y="1244"/>
                  </a:lnTo>
                  <a:lnTo>
                    <a:pt x="2046" y="1244"/>
                  </a:lnTo>
                  <a:lnTo>
                    <a:pt x="2046" y="1242"/>
                  </a:lnTo>
                  <a:lnTo>
                    <a:pt x="2046" y="1242"/>
                  </a:lnTo>
                  <a:lnTo>
                    <a:pt x="2050" y="1244"/>
                  </a:lnTo>
                  <a:lnTo>
                    <a:pt x="2052" y="1244"/>
                  </a:lnTo>
                  <a:lnTo>
                    <a:pt x="2054" y="1244"/>
                  </a:lnTo>
                  <a:lnTo>
                    <a:pt x="2054" y="1244"/>
                  </a:lnTo>
                  <a:lnTo>
                    <a:pt x="2054" y="1244"/>
                  </a:lnTo>
                  <a:lnTo>
                    <a:pt x="2056" y="1244"/>
                  </a:lnTo>
                  <a:lnTo>
                    <a:pt x="2056" y="1244"/>
                  </a:lnTo>
                  <a:lnTo>
                    <a:pt x="2056" y="1244"/>
                  </a:lnTo>
                  <a:lnTo>
                    <a:pt x="2058" y="1242"/>
                  </a:lnTo>
                  <a:lnTo>
                    <a:pt x="2060" y="1240"/>
                  </a:lnTo>
                  <a:lnTo>
                    <a:pt x="2062" y="1238"/>
                  </a:lnTo>
                  <a:lnTo>
                    <a:pt x="2064" y="1236"/>
                  </a:lnTo>
                  <a:lnTo>
                    <a:pt x="2064" y="1236"/>
                  </a:lnTo>
                  <a:lnTo>
                    <a:pt x="2064" y="1236"/>
                  </a:lnTo>
                  <a:lnTo>
                    <a:pt x="2066" y="1234"/>
                  </a:lnTo>
                  <a:lnTo>
                    <a:pt x="2066" y="1234"/>
                  </a:lnTo>
                  <a:lnTo>
                    <a:pt x="2066" y="1232"/>
                  </a:lnTo>
                  <a:lnTo>
                    <a:pt x="2066" y="1230"/>
                  </a:lnTo>
                  <a:lnTo>
                    <a:pt x="2066" y="1226"/>
                  </a:lnTo>
                  <a:lnTo>
                    <a:pt x="2066" y="1224"/>
                  </a:lnTo>
                  <a:lnTo>
                    <a:pt x="2066" y="1220"/>
                  </a:lnTo>
                  <a:lnTo>
                    <a:pt x="2066" y="1216"/>
                  </a:lnTo>
                  <a:lnTo>
                    <a:pt x="2066" y="1212"/>
                  </a:lnTo>
                  <a:lnTo>
                    <a:pt x="2066" y="1208"/>
                  </a:lnTo>
                  <a:lnTo>
                    <a:pt x="2066" y="1208"/>
                  </a:lnTo>
                  <a:lnTo>
                    <a:pt x="2066" y="1206"/>
                  </a:lnTo>
                  <a:lnTo>
                    <a:pt x="2066" y="1206"/>
                  </a:lnTo>
                  <a:lnTo>
                    <a:pt x="2068" y="1206"/>
                  </a:lnTo>
                  <a:lnTo>
                    <a:pt x="2070" y="1206"/>
                  </a:lnTo>
                  <a:lnTo>
                    <a:pt x="2072" y="1208"/>
                  </a:lnTo>
                  <a:lnTo>
                    <a:pt x="2076" y="1208"/>
                  </a:lnTo>
                  <a:lnTo>
                    <a:pt x="2078" y="1208"/>
                  </a:lnTo>
                  <a:lnTo>
                    <a:pt x="2078" y="1208"/>
                  </a:lnTo>
                  <a:lnTo>
                    <a:pt x="2080" y="1208"/>
                  </a:lnTo>
                  <a:lnTo>
                    <a:pt x="2080" y="1208"/>
                  </a:lnTo>
                  <a:lnTo>
                    <a:pt x="2082" y="1208"/>
                  </a:lnTo>
                  <a:lnTo>
                    <a:pt x="2084" y="1208"/>
                  </a:lnTo>
                  <a:lnTo>
                    <a:pt x="2084" y="1208"/>
                  </a:lnTo>
                  <a:lnTo>
                    <a:pt x="2084" y="1206"/>
                  </a:lnTo>
                  <a:lnTo>
                    <a:pt x="2086" y="1204"/>
                  </a:lnTo>
                  <a:lnTo>
                    <a:pt x="2086" y="1204"/>
                  </a:lnTo>
                  <a:lnTo>
                    <a:pt x="2086" y="1204"/>
                  </a:lnTo>
                  <a:lnTo>
                    <a:pt x="2086" y="1202"/>
                  </a:lnTo>
                  <a:lnTo>
                    <a:pt x="2086" y="1200"/>
                  </a:lnTo>
                  <a:lnTo>
                    <a:pt x="2086" y="1196"/>
                  </a:lnTo>
                  <a:lnTo>
                    <a:pt x="2084" y="1192"/>
                  </a:lnTo>
                  <a:lnTo>
                    <a:pt x="2084" y="1186"/>
                  </a:lnTo>
                  <a:lnTo>
                    <a:pt x="2084" y="1184"/>
                  </a:lnTo>
                  <a:lnTo>
                    <a:pt x="2084" y="1184"/>
                  </a:lnTo>
                  <a:lnTo>
                    <a:pt x="2084" y="1184"/>
                  </a:lnTo>
                  <a:lnTo>
                    <a:pt x="2082" y="1182"/>
                  </a:lnTo>
                  <a:lnTo>
                    <a:pt x="2080" y="1176"/>
                  </a:lnTo>
                  <a:lnTo>
                    <a:pt x="2078" y="1172"/>
                  </a:lnTo>
                  <a:lnTo>
                    <a:pt x="2076" y="1170"/>
                  </a:lnTo>
                  <a:lnTo>
                    <a:pt x="2076" y="1170"/>
                  </a:lnTo>
                  <a:lnTo>
                    <a:pt x="2076" y="1168"/>
                  </a:lnTo>
                  <a:lnTo>
                    <a:pt x="2078" y="1168"/>
                  </a:lnTo>
                  <a:lnTo>
                    <a:pt x="2078" y="1166"/>
                  </a:lnTo>
                  <a:lnTo>
                    <a:pt x="2080" y="1164"/>
                  </a:lnTo>
                  <a:lnTo>
                    <a:pt x="2082" y="1162"/>
                  </a:lnTo>
                  <a:lnTo>
                    <a:pt x="2084" y="1160"/>
                  </a:lnTo>
                  <a:lnTo>
                    <a:pt x="2084" y="1158"/>
                  </a:lnTo>
                  <a:lnTo>
                    <a:pt x="2084" y="1158"/>
                  </a:lnTo>
                  <a:lnTo>
                    <a:pt x="2084" y="1158"/>
                  </a:lnTo>
                  <a:lnTo>
                    <a:pt x="2084" y="1156"/>
                  </a:lnTo>
                  <a:lnTo>
                    <a:pt x="2084" y="1156"/>
                  </a:lnTo>
                  <a:lnTo>
                    <a:pt x="2084" y="1154"/>
                  </a:lnTo>
                  <a:lnTo>
                    <a:pt x="2082" y="1152"/>
                  </a:lnTo>
                  <a:lnTo>
                    <a:pt x="2082" y="1152"/>
                  </a:lnTo>
                  <a:lnTo>
                    <a:pt x="2080" y="1152"/>
                  </a:lnTo>
                  <a:lnTo>
                    <a:pt x="2080" y="1152"/>
                  </a:lnTo>
                  <a:lnTo>
                    <a:pt x="2076" y="1154"/>
                  </a:lnTo>
                  <a:lnTo>
                    <a:pt x="2074" y="1154"/>
                  </a:lnTo>
                  <a:lnTo>
                    <a:pt x="2072" y="1154"/>
                  </a:lnTo>
                  <a:lnTo>
                    <a:pt x="2070" y="1156"/>
                  </a:lnTo>
                  <a:lnTo>
                    <a:pt x="2068" y="1156"/>
                  </a:lnTo>
                  <a:lnTo>
                    <a:pt x="2068" y="1156"/>
                  </a:lnTo>
                  <a:lnTo>
                    <a:pt x="2068" y="1154"/>
                  </a:lnTo>
                  <a:lnTo>
                    <a:pt x="2068" y="1152"/>
                  </a:lnTo>
                  <a:lnTo>
                    <a:pt x="2068" y="1148"/>
                  </a:lnTo>
                  <a:lnTo>
                    <a:pt x="2068" y="1144"/>
                  </a:lnTo>
                  <a:lnTo>
                    <a:pt x="2068" y="1136"/>
                  </a:lnTo>
                  <a:lnTo>
                    <a:pt x="2068" y="1136"/>
                  </a:lnTo>
                  <a:lnTo>
                    <a:pt x="2068" y="1134"/>
                  </a:lnTo>
                  <a:lnTo>
                    <a:pt x="2068" y="1132"/>
                  </a:lnTo>
                  <a:lnTo>
                    <a:pt x="2070" y="1130"/>
                  </a:lnTo>
                  <a:lnTo>
                    <a:pt x="2070" y="1128"/>
                  </a:lnTo>
                  <a:lnTo>
                    <a:pt x="2074" y="1126"/>
                  </a:lnTo>
                  <a:lnTo>
                    <a:pt x="2076" y="1124"/>
                  </a:lnTo>
                  <a:lnTo>
                    <a:pt x="2078" y="1124"/>
                  </a:lnTo>
                  <a:lnTo>
                    <a:pt x="2078" y="1124"/>
                  </a:lnTo>
                  <a:lnTo>
                    <a:pt x="2078" y="1124"/>
                  </a:lnTo>
                  <a:lnTo>
                    <a:pt x="2078" y="1126"/>
                  </a:lnTo>
                  <a:lnTo>
                    <a:pt x="2078" y="1128"/>
                  </a:lnTo>
                  <a:lnTo>
                    <a:pt x="2078" y="1130"/>
                  </a:lnTo>
                  <a:lnTo>
                    <a:pt x="2078" y="1130"/>
                  </a:lnTo>
                  <a:lnTo>
                    <a:pt x="2078" y="1130"/>
                  </a:lnTo>
                  <a:lnTo>
                    <a:pt x="2078" y="1132"/>
                  </a:lnTo>
                  <a:lnTo>
                    <a:pt x="2078" y="1132"/>
                  </a:lnTo>
                  <a:lnTo>
                    <a:pt x="2080" y="1134"/>
                  </a:lnTo>
                  <a:lnTo>
                    <a:pt x="2080" y="1134"/>
                  </a:lnTo>
                  <a:lnTo>
                    <a:pt x="2080" y="1134"/>
                  </a:lnTo>
                  <a:lnTo>
                    <a:pt x="2082" y="1136"/>
                  </a:lnTo>
                  <a:lnTo>
                    <a:pt x="2082" y="1136"/>
                  </a:lnTo>
                  <a:lnTo>
                    <a:pt x="2082" y="1136"/>
                  </a:lnTo>
                  <a:lnTo>
                    <a:pt x="2084" y="1136"/>
                  </a:lnTo>
                  <a:lnTo>
                    <a:pt x="2086" y="1136"/>
                  </a:lnTo>
                  <a:lnTo>
                    <a:pt x="2086" y="1136"/>
                  </a:lnTo>
                  <a:lnTo>
                    <a:pt x="2088" y="1136"/>
                  </a:lnTo>
                  <a:lnTo>
                    <a:pt x="2092" y="1136"/>
                  </a:lnTo>
                  <a:lnTo>
                    <a:pt x="2094" y="1134"/>
                  </a:lnTo>
                  <a:lnTo>
                    <a:pt x="2096" y="1134"/>
                  </a:lnTo>
                  <a:lnTo>
                    <a:pt x="2098" y="1132"/>
                  </a:lnTo>
                  <a:lnTo>
                    <a:pt x="2098" y="1132"/>
                  </a:lnTo>
                  <a:lnTo>
                    <a:pt x="2098" y="1132"/>
                  </a:lnTo>
                  <a:lnTo>
                    <a:pt x="2100" y="1130"/>
                  </a:lnTo>
                  <a:lnTo>
                    <a:pt x="2100" y="1130"/>
                  </a:lnTo>
                  <a:lnTo>
                    <a:pt x="2102" y="1130"/>
                  </a:lnTo>
                  <a:lnTo>
                    <a:pt x="2102" y="1128"/>
                  </a:lnTo>
                  <a:lnTo>
                    <a:pt x="2102" y="1128"/>
                  </a:lnTo>
                  <a:lnTo>
                    <a:pt x="2104" y="1126"/>
                  </a:lnTo>
                  <a:lnTo>
                    <a:pt x="2104" y="1124"/>
                  </a:lnTo>
                  <a:lnTo>
                    <a:pt x="2104" y="1124"/>
                  </a:lnTo>
                  <a:lnTo>
                    <a:pt x="2104" y="1122"/>
                  </a:lnTo>
                  <a:lnTo>
                    <a:pt x="2104" y="1120"/>
                  </a:lnTo>
                  <a:lnTo>
                    <a:pt x="2104" y="1120"/>
                  </a:lnTo>
                  <a:lnTo>
                    <a:pt x="2104" y="1120"/>
                  </a:lnTo>
                  <a:lnTo>
                    <a:pt x="2102" y="1118"/>
                  </a:lnTo>
                  <a:lnTo>
                    <a:pt x="2102" y="1118"/>
                  </a:lnTo>
                  <a:lnTo>
                    <a:pt x="2102" y="1118"/>
                  </a:lnTo>
                  <a:lnTo>
                    <a:pt x="2102" y="1116"/>
                  </a:lnTo>
                  <a:lnTo>
                    <a:pt x="2102" y="1116"/>
                  </a:lnTo>
                  <a:lnTo>
                    <a:pt x="2100" y="1116"/>
                  </a:lnTo>
                  <a:lnTo>
                    <a:pt x="2100" y="1116"/>
                  </a:lnTo>
                  <a:lnTo>
                    <a:pt x="2100" y="1116"/>
                  </a:lnTo>
                  <a:lnTo>
                    <a:pt x="2100" y="1114"/>
                  </a:lnTo>
                  <a:lnTo>
                    <a:pt x="2098" y="1114"/>
                  </a:lnTo>
                  <a:lnTo>
                    <a:pt x="2098" y="1114"/>
                  </a:lnTo>
                  <a:lnTo>
                    <a:pt x="2094" y="1114"/>
                  </a:lnTo>
                  <a:lnTo>
                    <a:pt x="2090" y="1116"/>
                  </a:lnTo>
                  <a:lnTo>
                    <a:pt x="2088" y="1116"/>
                  </a:lnTo>
                  <a:lnTo>
                    <a:pt x="2088" y="1116"/>
                  </a:lnTo>
                  <a:lnTo>
                    <a:pt x="2088" y="1116"/>
                  </a:lnTo>
                  <a:lnTo>
                    <a:pt x="2086" y="1114"/>
                  </a:lnTo>
                  <a:lnTo>
                    <a:pt x="2084" y="1114"/>
                  </a:lnTo>
                  <a:lnTo>
                    <a:pt x="2080" y="1112"/>
                  </a:lnTo>
                  <a:lnTo>
                    <a:pt x="2078" y="1112"/>
                  </a:lnTo>
                  <a:lnTo>
                    <a:pt x="2076" y="1112"/>
                  </a:lnTo>
                  <a:lnTo>
                    <a:pt x="2078" y="1110"/>
                  </a:lnTo>
                  <a:lnTo>
                    <a:pt x="2080" y="1110"/>
                  </a:lnTo>
                  <a:lnTo>
                    <a:pt x="2082" y="1108"/>
                  </a:lnTo>
                  <a:lnTo>
                    <a:pt x="2088" y="1104"/>
                  </a:lnTo>
                  <a:lnTo>
                    <a:pt x="2092" y="1104"/>
                  </a:lnTo>
                  <a:lnTo>
                    <a:pt x="2094" y="1102"/>
                  </a:lnTo>
                  <a:lnTo>
                    <a:pt x="2100" y="1100"/>
                  </a:lnTo>
                  <a:lnTo>
                    <a:pt x="2106" y="1098"/>
                  </a:lnTo>
                  <a:lnTo>
                    <a:pt x="2110" y="1096"/>
                  </a:lnTo>
                  <a:lnTo>
                    <a:pt x="2114" y="1096"/>
                  </a:lnTo>
                  <a:lnTo>
                    <a:pt x="2116" y="1094"/>
                  </a:lnTo>
                  <a:lnTo>
                    <a:pt x="2116" y="1094"/>
                  </a:lnTo>
                  <a:lnTo>
                    <a:pt x="2116" y="1094"/>
                  </a:lnTo>
                  <a:lnTo>
                    <a:pt x="2118" y="1092"/>
                  </a:lnTo>
                  <a:lnTo>
                    <a:pt x="2118" y="1092"/>
                  </a:lnTo>
                  <a:lnTo>
                    <a:pt x="2118" y="1092"/>
                  </a:lnTo>
                  <a:lnTo>
                    <a:pt x="2120" y="1090"/>
                  </a:lnTo>
                  <a:lnTo>
                    <a:pt x="2122" y="1084"/>
                  </a:lnTo>
                  <a:lnTo>
                    <a:pt x="2122" y="1084"/>
                  </a:lnTo>
                  <a:lnTo>
                    <a:pt x="2124" y="1088"/>
                  </a:lnTo>
                  <a:lnTo>
                    <a:pt x="2124" y="1090"/>
                  </a:lnTo>
                  <a:lnTo>
                    <a:pt x="2124" y="1090"/>
                  </a:lnTo>
                  <a:lnTo>
                    <a:pt x="2124" y="1090"/>
                  </a:lnTo>
                  <a:lnTo>
                    <a:pt x="2124" y="1092"/>
                  </a:lnTo>
                  <a:lnTo>
                    <a:pt x="2124" y="1092"/>
                  </a:lnTo>
                  <a:lnTo>
                    <a:pt x="2126" y="1092"/>
                  </a:lnTo>
                  <a:lnTo>
                    <a:pt x="2128" y="1094"/>
                  </a:lnTo>
                  <a:lnTo>
                    <a:pt x="2128" y="1094"/>
                  </a:lnTo>
                  <a:lnTo>
                    <a:pt x="2128" y="1094"/>
                  </a:lnTo>
                  <a:lnTo>
                    <a:pt x="2130" y="1094"/>
                  </a:lnTo>
                  <a:lnTo>
                    <a:pt x="2130" y="1094"/>
                  </a:lnTo>
                  <a:lnTo>
                    <a:pt x="2132" y="1094"/>
                  </a:lnTo>
                  <a:lnTo>
                    <a:pt x="2134" y="1092"/>
                  </a:lnTo>
                  <a:lnTo>
                    <a:pt x="2134" y="1092"/>
                  </a:lnTo>
                  <a:lnTo>
                    <a:pt x="2134" y="1092"/>
                  </a:lnTo>
                  <a:lnTo>
                    <a:pt x="2136" y="1092"/>
                  </a:lnTo>
                  <a:lnTo>
                    <a:pt x="2138" y="1090"/>
                  </a:lnTo>
                  <a:lnTo>
                    <a:pt x="2142" y="1086"/>
                  </a:lnTo>
                  <a:lnTo>
                    <a:pt x="2144" y="1086"/>
                  </a:lnTo>
                  <a:lnTo>
                    <a:pt x="2146" y="1084"/>
                  </a:lnTo>
                  <a:lnTo>
                    <a:pt x="2146" y="1084"/>
                  </a:lnTo>
                  <a:lnTo>
                    <a:pt x="2150" y="1084"/>
                  </a:lnTo>
                  <a:lnTo>
                    <a:pt x="2154" y="1084"/>
                  </a:lnTo>
                  <a:lnTo>
                    <a:pt x="2162" y="1082"/>
                  </a:lnTo>
                  <a:lnTo>
                    <a:pt x="2164" y="1082"/>
                  </a:lnTo>
                  <a:lnTo>
                    <a:pt x="2168" y="1082"/>
                  </a:lnTo>
                  <a:lnTo>
                    <a:pt x="2170" y="1084"/>
                  </a:lnTo>
                  <a:lnTo>
                    <a:pt x="2170" y="1084"/>
                  </a:lnTo>
                  <a:lnTo>
                    <a:pt x="2172" y="1084"/>
                  </a:lnTo>
                  <a:lnTo>
                    <a:pt x="2172" y="1086"/>
                  </a:lnTo>
                  <a:lnTo>
                    <a:pt x="2172" y="1086"/>
                  </a:lnTo>
                  <a:lnTo>
                    <a:pt x="2172" y="1090"/>
                  </a:lnTo>
                  <a:lnTo>
                    <a:pt x="2174" y="1092"/>
                  </a:lnTo>
                  <a:lnTo>
                    <a:pt x="2174" y="1094"/>
                  </a:lnTo>
                  <a:lnTo>
                    <a:pt x="2174" y="1096"/>
                  </a:lnTo>
                  <a:lnTo>
                    <a:pt x="2174" y="1096"/>
                  </a:lnTo>
                  <a:lnTo>
                    <a:pt x="2174" y="1096"/>
                  </a:lnTo>
                  <a:lnTo>
                    <a:pt x="2176" y="1096"/>
                  </a:lnTo>
                  <a:lnTo>
                    <a:pt x="2176" y="1096"/>
                  </a:lnTo>
                  <a:lnTo>
                    <a:pt x="2178" y="1098"/>
                  </a:lnTo>
                  <a:lnTo>
                    <a:pt x="2178" y="1098"/>
                  </a:lnTo>
                  <a:lnTo>
                    <a:pt x="2178" y="1098"/>
                  </a:lnTo>
                  <a:lnTo>
                    <a:pt x="2180" y="1096"/>
                  </a:lnTo>
                  <a:lnTo>
                    <a:pt x="2182" y="1096"/>
                  </a:lnTo>
                  <a:lnTo>
                    <a:pt x="2182" y="1096"/>
                  </a:lnTo>
                  <a:lnTo>
                    <a:pt x="2182" y="1096"/>
                  </a:lnTo>
                  <a:lnTo>
                    <a:pt x="2182" y="1094"/>
                  </a:lnTo>
                  <a:lnTo>
                    <a:pt x="2184" y="1092"/>
                  </a:lnTo>
                  <a:lnTo>
                    <a:pt x="2184" y="1090"/>
                  </a:lnTo>
                  <a:lnTo>
                    <a:pt x="2186" y="1088"/>
                  </a:lnTo>
                  <a:lnTo>
                    <a:pt x="2186" y="1088"/>
                  </a:lnTo>
                  <a:lnTo>
                    <a:pt x="2188" y="1086"/>
                  </a:lnTo>
                  <a:lnTo>
                    <a:pt x="2190" y="1086"/>
                  </a:lnTo>
                  <a:lnTo>
                    <a:pt x="2192" y="1084"/>
                  </a:lnTo>
                  <a:lnTo>
                    <a:pt x="2192" y="1084"/>
                  </a:lnTo>
                  <a:lnTo>
                    <a:pt x="2192" y="1084"/>
                  </a:lnTo>
                  <a:lnTo>
                    <a:pt x="2194" y="1084"/>
                  </a:lnTo>
                  <a:lnTo>
                    <a:pt x="2194" y="1082"/>
                  </a:lnTo>
                  <a:lnTo>
                    <a:pt x="2198" y="1080"/>
                  </a:lnTo>
                  <a:lnTo>
                    <a:pt x="2200" y="1078"/>
                  </a:lnTo>
                  <a:lnTo>
                    <a:pt x="2204" y="1074"/>
                  </a:lnTo>
                  <a:lnTo>
                    <a:pt x="2208" y="1068"/>
                  </a:lnTo>
                  <a:lnTo>
                    <a:pt x="2212" y="1064"/>
                  </a:lnTo>
                  <a:lnTo>
                    <a:pt x="2216" y="1060"/>
                  </a:lnTo>
                  <a:lnTo>
                    <a:pt x="2220" y="1054"/>
                  </a:lnTo>
                  <a:lnTo>
                    <a:pt x="2222" y="1052"/>
                  </a:lnTo>
                  <a:lnTo>
                    <a:pt x="2226" y="1050"/>
                  </a:lnTo>
                  <a:lnTo>
                    <a:pt x="2228" y="1048"/>
                  </a:lnTo>
                  <a:lnTo>
                    <a:pt x="2232" y="1044"/>
                  </a:lnTo>
                  <a:lnTo>
                    <a:pt x="2234" y="1044"/>
                  </a:lnTo>
                  <a:lnTo>
                    <a:pt x="2238" y="1042"/>
                  </a:lnTo>
                  <a:lnTo>
                    <a:pt x="2244" y="1038"/>
                  </a:lnTo>
                  <a:lnTo>
                    <a:pt x="2250" y="1036"/>
                  </a:lnTo>
                  <a:lnTo>
                    <a:pt x="2258" y="1032"/>
                  </a:lnTo>
                  <a:lnTo>
                    <a:pt x="2264" y="1028"/>
                  </a:lnTo>
                  <a:lnTo>
                    <a:pt x="2272" y="1026"/>
                  </a:lnTo>
                  <a:lnTo>
                    <a:pt x="2278" y="1022"/>
                  </a:lnTo>
                  <a:lnTo>
                    <a:pt x="2280" y="1022"/>
                  </a:lnTo>
                  <a:lnTo>
                    <a:pt x="2282" y="1020"/>
                  </a:lnTo>
                  <a:lnTo>
                    <a:pt x="2286" y="1018"/>
                  </a:lnTo>
                  <a:lnTo>
                    <a:pt x="2286" y="1018"/>
                  </a:lnTo>
                  <a:lnTo>
                    <a:pt x="2288" y="1018"/>
                  </a:lnTo>
                  <a:lnTo>
                    <a:pt x="2288" y="1018"/>
                  </a:lnTo>
                  <a:lnTo>
                    <a:pt x="2288" y="1018"/>
                  </a:lnTo>
                  <a:lnTo>
                    <a:pt x="2288" y="1018"/>
                  </a:lnTo>
                  <a:lnTo>
                    <a:pt x="2288" y="1018"/>
                  </a:lnTo>
                  <a:lnTo>
                    <a:pt x="2290" y="1018"/>
                  </a:lnTo>
                  <a:lnTo>
                    <a:pt x="2290" y="1018"/>
                  </a:lnTo>
                  <a:lnTo>
                    <a:pt x="2292" y="1018"/>
                  </a:lnTo>
                  <a:lnTo>
                    <a:pt x="2292" y="1018"/>
                  </a:lnTo>
                  <a:lnTo>
                    <a:pt x="2294" y="1018"/>
                  </a:lnTo>
                  <a:lnTo>
                    <a:pt x="2300" y="1022"/>
                  </a:lnTo>
                  <a:lnTo>
                    <a:pt x="2302" y="1022"/>
                  </a:lnTo>
                  <a:lnTo>
                    <a:pt x="2306" y="1024"/>
                  </a:lnTo>
                  <a:lnTo>
                    <a:pt x="2306" y="1024"/>
                  </a:lnTo>
                  <a:lnTo>
                    <a:pt x="2306" y="1024"/>
                  </a:lnTo>
                  <a:lnTo>
                    <a:pt x="2308" y="1024"/>
                  </a:lnTo>
                  <a:lnTo>
                    <a:pt x="2308" y="1024"/>
                  </a:lnTo>
                  <a:lnTo>
                    <a:pt x="2308" y="1024"/>
                  </a:lnTo>
                  <a:lnTo>
                    <a:pt x="2310" y="1024"/>
                  </a:lnTo>
                  <a:lnTo>
                    <a:pt x="2310" y="1024"/>
                  </a:lnTo>
                  <a:lnTo>
                    <a:pt x="2312" y="1024"/>
                  </a:lnTo>
                  <a:lnTo>
                    <a:pt x="2314" y="1022"/>
                  </a:lnTo>
                  <a:lnTo>
                    <a:pt x="2314" y="1022"/>
                  </a:lnTo>
                  <a:lnTo>
                    <a:pt x="2314" y="1022"/>
                  </a:lnTo>
                  <a:lnTo>
                    <a:pt x="2316" y="1020"/>
                  </a:lnTo>
                  <a:lnTo>
                    <a:pt x="2316" y="1020"/>
                  </a:lnTo>
                  <a:lnTo>
                    <a:pt x="2316" y="1020"/>
                  </a:lnTo>
                  <a:lnTo>
                    <a:pt x="2316" y="1016"/>
                  </a:lnTo>
                  <a:lnTo>
                    <a:pt x="2318" y="1014"/>
                  </a:lnTo>
                  <a:lnTo>
                    <a:pt x="2320" y="1008"/>
                  </a:lnTo>
                  <a:lnTo>
                    <a:pt x="2320" y="1006"/>
                  </a:lnTo>
                  <a:lnTo>
                    <a:pt x="2320" y="1004"/>
                  </a:lnTo>
                  <a:lnTo>
                    <a:pt x="2320" y="1002"/>
                  </a:lnTo>
                  <a:lnTo>
                    <a:pt x="2320" y="1002"/>
                  </a:lnTo>
                  <a:lnTo>
                    <a:pt x="2320" y="1002"/>
                  </a:lnTo>
                  <a:lnTo>
                    <a:pt x="2320" y="1000"/>
                  </a:lnTo>
                  <a:lnTo>
                    <a:pt x="2320" y="998"/>
                  </a:lnTo>
                  <a:lnTo>
                    <a:pt x="2320" y="998"/>
                  </a:lnTo>
                  <a:lnTo>
                    <a:pt x="2320" y="998"/>
                  </a:lnTo>
                  <a:lnTo>
                    <a:pt x="2316" y="994"/>
                  </a:lnTo>
                  <a:lnTo>
                    <a:pt x="2314" y="992"/>
                  </a:lnTo>
                  <a:lnTo>
                    <a:pt x="2312" y="988"/>
                  </a:lnTo>
                  <a:lnTo>
                    <a:pt x="2310" y="986"/>
                  </a:lnTo>
                  <a:lnTo>
                    <a:pt x="2310" y="982"/>
                  </a:lnTo>
                  <a:lnTo>
                    <a:pt x="2306" y="976"/>
                  </a:lnTo>
                  <a:lnTo>
                    <a:pt x="2304" y="974"/>
                  </a:lnTo>
                  <a:lnTo>
                    <a:pt x="2302" y="970"/>
                  </a:lnTo>
                  <a:lnTo>
                    <a:pt x="2300" y="968"/>
                  </a:lnTo>
                  <a:lnTo>
                    <a:pt x="2300" y="964"/>
                  </a:lnTo>
                  <a:lnTo>
                    <a:pt x="2298" y="962"/>
                  </a:lnTo>
                  <a:lnTo>
                    <a:pt x="2298" y="962"/>
                  </a:lnTo>
                  <a:lnTo>
                    <a:pt x="2294" y="960"/>
                  </a:lnTo>
                  <a:lnTo>
                    <a:pt x="2292" y="958"/>
                  </a:lnTo>
                  <a:lnTo>
                    <a:pt x="2290" y="956"/>
                  </a:lnTo>
                  <a:lnTo>
                    <a:pt x="2288" y="954"/>
                  </a:lnTo>
                  <a:lnTo>
                    <a:pt x="2288" y="954"/>
                  </a:lnTo>
                  <a:lnTo>
                    <a:pt x="2288" y="954"/>
                  </a:lnTo>
                  <a:lnTo>
                    <a:pt x="2286" y="952"/>
                  </a:lnTo>
                  <a:lnTo>
                    <a:pt x="2284" y="952"/>
                  </a:lnTo>
                  <a:lnTo>
                    <a:pt x="2284" y="950"/>
                  </a:lnTo>
                  <a:lnTo>
                    <a:pt x="2282" y="948"/>
                  </a:lnTo>
                  <a:lnTo>
                    <a:pt x="2280" y="944"/>
                  </a:lnTo>
                  <a:lnTo>
                    <a:pt x="2278" y="942"/>
                  </a:lnTo>
                  <a:lnTo>
                    <a:pt x="2278" y="942"/>
                  </a:lnTo>
                  <a:lnTo>
                    <a:pt x="2278" y="942"/>
                  </a:lnTo>
                  <a:lnTo>
                    <a:pt x="2278" y="940"/>
                  </a:lnTo>
                  <a:lnTo>
                    <a:pt x="2278" y="940"/>
                  </a:lnTo>
                  <a:lnTo>
                    <a:pt x="2280" y="940"/>
                  </a:lnTo>
                  <a:lnTo>
                    <a:pt x="2282" y="940"/>
                  </a:lnTo>
                  <a:lnTo>
                    <a:pt x="2284" y="940"/>
                  </a:lnTo>
                  <a:lnTo>
                    <a:pt x="2284" y="940"/>
                  </a:lnTo>
                  <a:lnTo>
                    <a:pt x="2284" y="940"/>
                  </a:lnTo>
                  <a:lnTo>
                    <a:pt x="2286" y="940"/>
                  </a:lnTo>
                  <a:lnTo>
                    <a:pt x="2288" y="944"/>
                  </a:lnTo>
                  <a:lnTo>
                    <a:pt x="2290" y="946"/>
                  </a:lnTo>
                  <a:lnTo>
                    <a:pt x="2290" y="946"/>
                  </a:lnTo>
                  <a:lnTo>
                    <a:pt x="2290" y="946"/>
                  </a:lnTo>
                  <a:lnTo>
                    <a:pt x="2292" y="948"/>
                  </a:lnTo>
                  <a:lnTo>
                    <a:pt x="2292" y="948"/>
                  </a:lnTo>
                  <a:lnTo>
                    <a:pt x="2292" y="948"/>
                  </a:lnTo>
                  <a:lnTo>
                    <a:pt x="2294" y="948"/>
                  </a:lnTo>
                  <a:lnTo>
                    <a:pt x="2294" y="948"/>
                  </a:lnTo>
                  <a:lnTo>
                    <a:pt x="2296" y="948"/>
                  </a:lnTo>
                  <a:lnTo>
                    <a:pt x="2298" y="948"/>
                  </a:lnTo>
                  <a:lnTo>
                    <a:pt x="2300" y="948"/>
                  </a:lnTo>
                  <a:lnTo>
                    <a:pt x="2306" y="948"/>
                  </a:lnTo>
                  <a:lnTo>
                    <a:pt x="2312" y="948"/>
                  </a:lnTo>
                  <a:lnTo>
                    <a:pt x="2314" y="946"/>
                  </a:lnTo>
                  <a:lnTo>
                    <a:pt x="2316" y="946"/>
                  </a:lnTo>
                  <a:lnTo>
                    <a:pt x="2316" y="946"/>
                  </a:lnTo>
                  <a:lnTo>
                    <a:pt x="2316" y="946"/>
                  </a:lnTo>
                  <a:lnTo>
                    <a:pt x="2318" y="944"/>
                  </a:lnTo>
                  <a:lnTo>
                    <a:pt x="2318" y="944"/>
                  </a:lnTo>
                  <a:lnTo>
                    <a:pt x="2320" y="942"/>
                  </a:lnTo>
                  <a:lnTo>
                    <a:pt x="2322" y="940"/>
                  </a:lnTo>
                  <a:lnTo>
                    <a:pt x="2322" y="938"/>
                  </a:lnTo>
                  <a:lnTo>
                    <a:pt x="2324" y="936"/>
                  </a:lnTo>
                  <a:lnTo>
                    <a:pt x="2326" y="934"/>
                  </a:lnTo>
                  <a:lnTo>
                    <a:pt x="2326" y="934"/>
                  </a:lnTo>
                  <a:lnTo>
                    <a:pt x="2326" y="932"/>
                  </a:lnTo>
                  <a:lnTo>
                    <a:pt x="2326" y="930"/>
                  </a:lnTo>
                  <a:lnTo>
                    <a:pt x="2326" y="928"/>
                  </a:lnTo>
                  <a:lnTo>
                    <a:pt x="2328" y="926"/>
                  </a:lnTo>
                  <a:lnTo>
                    <a:pt x="2328" y="924"/>
                  </a:lnTo>
                  <a:lnTo>
                    <a:pt x="2330" y="924"/>
                  </a:lnTo>
                  <a:lnTo>
                    <a:pt x="2332" y="920"/>
                  </a:lnTo>
                  <a:lnTo>
                    <a:pt x="2332" y="920"/>
                  </a:lnTo>
                  <a:lnTo>
                    <a:pt x="2332" y="920"/>
                  </a:lnTo>
                  <a:lnTo>
                    <a:pt x="2332" y="920"/>
                  </a:lnTo>
                  <a:lnTo>
                    <a:pt x="2332" y="920"/>
                  </a:lnTo>
                  <a:lnTo>
                    <a:pt x="2332" y="922"/>
                  </a:lnTo>
                  <a:lnTo>
                    <a:pt x="2332" y="922"/>
                  </a:lnTo>
                  <a:lnTo>
                    <a:pt x="2332" y="922"/>
                  </a:lnTo>
                  <a:lnTo>
                    <a:pt x="2334" y="924"/>
                  </a:lnTo>
                  <a:lnTo>
                    <a:pt x="2334" y="924"/>
                  </a:lnTo>
                  <a:lnTo>
                    <a:pt x="2334" y="924"/>
                  </a:lnTo>
                  <a:lnTo>
                    <a:pt x="2336" y="926"/>
                  </a:lnTo>
                  <a:lnTo>
                    <a:pt x="2338" y="926"/>
                  </a:lnTo>
                  <a:lnTo>
                    <a:pt x="2338" y="926"/>
                  </a:lnTo>
                  <a:lnTo>
                    <a:pt x="2338" y="926"/>
                  </a:lnTo>
                  <a:lnTo>
                    <a:pt x="2340" y="926"/>
                  </a:lnTo>
                  <a:lnTo>
                    <a:pt x="2344" y="926"/>
                  </a:lnTo>
                  <a:lnTo>
                    <a:pt x="2348" y="926"/>
                  </a:lnTo>
                  <a:lnTo>
                    <a:pt x="2352" y="926"/>
                  </a:lnTo>
                  <a:lnTo>
                    <a:pt x="2354" y="926"/>
                  </a:lnTo>
                  <a:lnTo>
                    <a:pt x="2356" y="924"/>
                  </a:lnTo>
                  <a:lnTo>
                    <a:pt x="2356" y="924"/>
                  </a:lnTo>
                  <a:lnTo>
                    <a:pt x="2356" y="924"/>
                  </a:lnTo>
                  <a:lnTo>
                    <a:pt x="2358" y="924"/>
                  </a:lnTo>
                  <a:lnTo>
                    <a:pt x="2362" y="922"/>
                  </a:lnTo>
                  <a:lnTo>
                    <a:pt x="2364" y="920"/>
                  </a:lnTo>
                  <a:lnTo>
                    <a:pt x="2364" y="918"/>
                  </a:lnTo>
                  <a:lnTo>
                    <a:pt x="2366" y="918"/>
                  </a:lnTo>
                  <a:lnTo>
                    <a:pt x="2368" y="920"/>
                  </a:lnTo>
                  <a:lnTo>
                    <a:pt x="2370" y="920"/>
                  </a:lnTo>
                  <a:lnTo>
                    <a:pt x="2370" y="920"/>
                  </a:lnTo>
                  <a:lnTo>
                    <a:pt x="2370" y="920"/>
                  </a:lnTo>
                  <a:lnTo>
                    <a:pt x="2370" y="922"/>
                  </a:lnTo>
                  <a:lnTo>
                    <a:pt x="2370" y="922"/>
                  </a:lnTo>
                  <a:lnTo>
                    <a:pt x="2368" y="928"/>
                  </a:lnTo>
                  <a:lnTo>
                    <a:pt x="2368" y="930"/>
                  </a:lnTo>
                  <a:lnTo>
                    <a:pt x="2368" y="932"/>
                  </a:lnTo>
                  <a:lnTo>
                    <a:pt x="2368" y="932"/>
                  </a:lnTo>
                  <a:lnTo>
                    <a:pt x="2368" y="934"/>
                  </a:lnTo>
                  <a:lnTo>
                    <a:pt x="2368" y="936"/>
                  </a:lnTo>
                  <a:lnTo>
                    <a:pt x="2368" y="936"/>
                  </a:lnTo>
                  <a:lnTo>
                    <a:pt x="2368" y="938"/>
                  </a:lnTo>
                  <a:lnTo>
                    <a:pt x="2368" y="938"/>
                  </a:lnTo>
                  <a:lnTo>
                    <a:pt x="2368" y="940"/>
                  </a:lnTo>
                  <a:lnTo>
                    <a:pt x="2370" y="940"/>
                  </a:lnTo>
                  <a:lnTo>
                    <a:pt x="2370" y="940"/>
                  </a:lnTo>
                  <a:lnTo>
                    <a:pt x="2370" y="940"/>
                  </a:lnTo>
                  <a:lnTo>
                    <a:pt x="2372" y="942"/>
                  </a:lnTo>
                  <a:lnTo>
                    <a:pt x="2372" y="942"/>
                  </a:lnTo>
                  <a:lnTo>
                    <a:pt x="2372" y="942"/>
                  </a:lnTo>
                  <a:lnTo>
                    <a:pt x="2376" y="942"/>
                  </a:lnTo>
                  <a:lnTo>
                    <a:pt x="2378" y="942"/>
                  </a:lnTo>
                  <a:lnTo>
                    <a:pt x="2382" y="944"/>
                  </a:lnTo>
                  <a:lnTo>
                    <a:pt x="2384" y="944"/>
                  </a:lnTo>
                  <a:lnTo>
                    <a:pt x="2386" y="944"/>
                  </a:lnTo>
                  <a:lnTo>
                    <a:pt x="2388" y="946"/>
                  </a:lnTo>
                  <a:lnTo>
                    <a:pt x="2388" y="946"/>
                  </a:lnTo>
                  <a:lnTo>
                    <a:pt x="2390" y="950"/>
                  </a:lnTo>
                  <a:lnTo>
                    <a:pt x="2392" y="954"/>
                  </a:lnTo>
                  <a:lnTo>
                    <a:pt x="2394" y="956"/>
                  </a:lnTo>
                  <a:lnTo>
                    <a:pt x="2394" y="956"/>
                  </a:lnTo>
                  <a:lnTo>
                    <a:pt x="2394" y="956"/>
                  </a:lnTo>
                  <a:lnTo>
                    <a:pt x="2396" y="958"/>
                  </a:lnTo>
                  <a:lnTo>
                    <a:pt x="2396" y="958"/>
                  </a:lnTo>
                  <a:lnTo>
                    <a:pt x="2398" y="960"/>
                  </a:lnTo>
                  <a:lnTo>
                    <a:pt x="2400" y="962"/>
                  </a:lnTo>
                  <a:lnTo>
                    <a:pt x="2406" y="964"/>
                  </a:lnTo>
                  <a:lnTo>
                    <a:pt x="2408" y="966"/>
                  </a:lnTo>
                  <a:lnTo>
                    <a:pt x="2408" y="966"/>
                  </a:lnTo>
                  <a:lnTo>
                    <a:pt x="2408" y="966"/>
                  </a:lnTo>
                  <a:lnTo>
                    <a:pt x="2410" y="966"/>
                  </a:lnTo>
                  <a:lnTo>
                    <a:pt x="2410" y="966"/>
                  </a:lnTo>
                  <a:lnTo>
                    <a:pt x="2410" y="966"/>
                  </a:lnTo>
                  <a:lnTo>
                    <a:pt x="2412" y="966"/>
                  </a:lnTo>
                  <a:lnTo>
                    <a:pt x="2412" y="966"/>
                  </a:lnTo>
                  <a:lnTo>
                    <a:pt x="2414" y="966"/>
                  </a:lnTo>
                  <a:lnTo>
                    <a:pt x="2416" y="966"/>
                  </a:lnTo>
                  <a:lnTo>
                    <a:pt x="2416" y="966"/>
                  </a:lnTo>
                  <a:lnTo>
                    <a:pt x="2416" y="966"/>
                  </a:lnTo>
                  <a:lnTo>
                    <a:pt x="2418" y="964"/>
                  </a:lnTo>
                  <a:lnTo>
                    <a:pt x="2418" y="964"/>
                  </a:lnTo>
                  <a:lnTo>
                    <a:pt x="2418" y="962"/>
                  </a:lnTo>
                  <a:lnTo>
                    <a:pt x="2418" y="960"/>
                  </a:lnTo>
                  <a:lnTo>
                    <a:pt x="2418" y="958"/>
                  </a:lnTo>
                  <a:lnTo>
                    <a:pt x="2418" y="956"/>
                  </a:lnTo>
                  <a:lnTo>
                    <a:pt x="2418" y="950"/>
                  </a:lnTo>
                  <a:lnTo>
                    <a:pt x="2418" y="948"/>
                  </a:lnTo>
                  <a:lnTo>
                    <a:pt x="2418" y="948"/>
                  </a:lnTo>
                  <a:lnTo>
                    <a:pt x="2418" y="946"/>
                  </a:lnTo>
                  <a:lnTo>
                    <a:pt x="2420" y="944"/>
                  </a:lnTo>
                  <a:lnTo>
                    <a:pt x="2422" y="940"/>
                  </a:lnTo>
                  <a:lnTo>
                    <a:pt x="2426" y="934"/>
                  </a:lnTo>
                  <a:lnTo>
                    <a:pt x="2428" y="930"/>
                  </a:lnTo>
                  <a:close/>
                  <a:moveTo>
                    <a:pt x="802" y="818"/>
                  </a:moveTo>
                  <a:lnTo>
                    <a:pt x="802" y="818"/>
                  </a:lnTo>
                  <a:lnTo>
                    <a:pt x="802" y="816"/>
                  </a:lnTo>
                  <a:lnTo>
                    <a:pt x="800" y="816"/>
                  </a:lnTo>
                  <a:lnTo>
                    <a:pt x="798" y="814"/>
                  </a:lnTo>
                  <a:lnTo>
                    <a:pt x="798" y="812"/>
                  </a:lnTo>
                  <a:lnTo>
                    <a:pt x="798" y="810"/>
                  </a:lnTo>
                  <a:lnTo>
                    <a:pt x="800" y="808"/>
                  </a:lnTo>
                  <a:lnTo>
                    <a:pt x="802" y="806"/>
                  </a:lnTo>
                  <a:lnTo>
                    <a:pt x="802" y="806"/>
                  </a:lnTo>
                  <a:lnTo>
                    <a:pt x="802" y="808"/>
                  </a:lnTo>
                  <a:lnTo>
                    <a:pt x="802" y="812"/>
                  </a:lnTo>
                  <a:lnTo>
                    <a:pt x="802" y="814"/>
                  </a:lnTo>
                  <a:lnTo>
                    <a:pt x="802" y="818"/>
                  </a:lnTo>
                  <a:close/>
                  <a:moveTo>
                    <a:pt x="846" y="808"/>
                  </a:moveTo>
                  <a:lnTo>
                    <a:pt x="846" y="810"/>
                  </a:lnTo>
                  <a:lnTo>
                    <a:pt x="846" y="810"/>
                  </a:lnTo>
                  <a:lnTo>
                    <a:pt x="846" y="810"/>
                  </a:lnTo>
                  <a:lnTo>
                    <a:pt x="844" y="808"/>
                  </a:lnTo>
                  <a:lnTo>
                    <a:pt x="842" y="806"/>
                  </a:lnTo>
                  <a:lnTo>
                    <a:pt x="840" y="804"/>
                  </a:lnTo>
                  <a:lnTo>
                    <a:pt x="838" y="802"/>
                  </a:lnTo>
                  <a:lnTo>
                    <a:pt x="836" y="800"/>
                  </a:lnTo>
                  <a:lnTo>
                    <a:pt x="836" y="798"/>
                  </a:lnTo>
                  <a:lnTo>
                    <a:pt x="836" y="796"/>
                  </a:lnTo>
                  <a:lnTo>
                    <a:pt x="836" y="794"/>
                  </a:lnTo>
                  <a:lnTo>
                    <a:pt x="836" y="794"/>
                  </a:lnTo>
                  <a:lnTo>
                    <a:pt x="834" y="792"/>
                  </a:lnTo>
                  <a:lnTo>
                    <a:pt x="834" y="790"/>
                  </a:lnTo>
                  <a:lnTo>
                    <a:pt x="834" y="788"/>
                  </a:lnTo>
                  <a:lnTo>
                    <a:pt x="832" y="786"/>
                  </a:lnTo>
                  <a:lnTo>
                    <a:pt x="830" y="782"/>
                  </a:lnTo>
                  <a:lnTo>
                    <a:pt x="834" y="782"/>
                  </a:lnTo>
                  <a:lnTo>
                    <a:pt x="834" y="784"/>
                  </a:lnTo>
                  <a:lnTo>
                    <a:pt x="836" y="784"/>
                  </a:lnTo>
                  <a:lnTo>
                    <a:pt x="838" y="786"/>
                  </a:lnTo>
                  <a:lnTo>
                    <a:pt x="842" y="788"/>
                  </a:lnTo>
                  <a:lnTo>
                    <a:pt x="840" y="788"/>
                  </a:lnTo>
                  <a:lnTo>
                    <a:pt x="844" y="792"/>
                  </a:lnTo>
                  <a:lnTo>
                    <a:pt x="844" y="794"/>
                  </a:lnTo>
                  <a:lnTo>
                    <a:pt x="846" y="798"/>
                  </a:lnTo>
                  <a:lnTo>
                    <a:pt x="846" y="800"/>
                  </a:lnTo>
                  <a:lnTo>
                    <a:pt x="846" y="806"/>
                  </a:lnTo>
                  <a:lnTo>
                    <a:pt x="846" y="808"/>
                  </a:lnTo>
                  <a:close/>
                  <a:moveTo>
                    <a:pt x="928" y="686"/>
                  </a:moveTo>
                  <a:lnTo>
                    <a:pt x="928" y="690"/>
                  </a:lnTo>
                  <a:lnTo>
                    <a:pt x="928" y="692"/>
                  </a:lnTo>
                  <a:lnTo>
                    <a:pt x="926" y="698"/>
                  </a:lnTo>
                  <a:lnTo>
                    <a:pt x="926" y="702"/>
                  </a:lnTo>
                  <a:lnTo>
                    <a:pt x="926" y="704"/>
                  </a:lnTo>
                  <a:lnTo>
                    <a:pt x="926" y="706"/>
                  </a:lnTo>
                  <a:lnTo>
                    <a:pt x="924" y="706"/>
                  </a:lnTo>
                  <a:lnTo>
                    <a:pt x="924" y="706"/>
                  </a:lnTo>
                  <a:lnTo>
                    <a:pt x="924" y="706"/>
                  </a:lnTo>
                  <a:lnTo>
                    <a:pt x="922" y="706"/>
                  </a:lnTo>
                  <a:lnTo>
                    <a:pt x="920" y="706"/>
                  </a:lnTo>
                  <a:lnTo>
                    <a:pt x="918" y="704"/>
                  </a:lnTo>
                  <a:lnTo>
                    <a:pt x="916" y="704"/>
                  </a:lnTo>
                  <a:lnTo>
                    <a:pt x="916" y="704"/>
                  </a:lnTo>
                  <a:lnTo>
                    <a:pt x="914" y="702"/>
                  </a:lnTo>
                  <a:lnTo>
                    <a:pt x="914" y="702"/>
                  </a:lnTo>
                  <a:lnTo>
                    <a:pt x="914" y="700"/>
                  </a:lnTo>
                  <a:lnTo>
                    <a:pt x="914" y="696"/>
                  </a:lnTo>
                  <a:lnTo>
                    <a:pt x="914" y="694"/>
                  </a:lnTo>
                  <a:lnTo>
                    <a:pt x="914" y="692"/>
                  </a:lnTo>
                  <a:lnTo>
                    <a:pt x="914" y="690"/>
                  </a:lnTo>
                  <a:lnTo>
                    <a:pt x="916" y="690"/>
                  </a:lnTo>
                  <a:lnTo>
                    <a:pt x="916" y="690"/>
                  </a:lnTo>
                  <a:lnTo>
                    <a:pt x="920" y="688"/>
                  </a:lnTo>
                  <a:lnTo>
                    <a:pt x="924" y="686"/>
                  </a:lnTo>
                  <a:lnTo>
                    <a:pt x="926" y="684"/>
                  </a:lnTo>
                  <a:lnTo>
                    <a:pt x="928" y="684"/>
                  </a:lnTo>
                  <a:lnTo>
                    <a:pt x="928" y="684"/>
                  </a:lnTo>
                  <a:lnTo>
                    <a:pt x="928" y="684"/>
                  </a:lnTo>
                  <a:lnTo>
                    <a:pt x="928" y="684"/>
                  </a:lnTo>
                  <a:lnTo>
                    <a:pt x="928" y="686"/>
                  </a:lnTo>
                  <a:close/>
                  <a:moveTo>
                    <a:pt x="1674" y="492"/>
                  </a:moveTo>
                  <a:lnTo>
                    <a:pt x="1674" y="494"/>
                  </a:lnTo>
                  <a:lnTo>
                    <a:pt x="1674" y="494"/>
                  </a:lnTo>
                  <a:lnTo>
                    <a:pt x="1674" y="494"/>
                  </a:lnTo>
                  <a:lnTo>
                    <a:pt x="1674" y="494"/>
                  </a:lnTo>
                  <a:lnTo>
                    <a:pt x="1676" y="496"/>
                  </a:lnTo>
                  <a:lnTo>
                    <a:pt x="1676" y="496"/>
                  </a:lnTo>
                  <a:lnTo>
                    <a:pt x="1676" y="496"/>
                  </a:lnTo>
                  <a:lnTo>
                    <a:pt x="1678" y="496"/>
                  </a:lnTo>
                  <a:lnTo>
                    <a:pt x="1678" y="496"/>
                  </a:lnTo>
                  <a:lnTo>
                    <a:pt x="1680" y="494"/>
                  </a:lnTo>
                  <a:lnTo>
                    <a:pt x="1680" y="494"/>
                  </a:lnTo>
                  <a:lnTo>
                    <a:pt x="1680" y="494"/>
                  </a:lnTo>
                  <a:lnTo>
                    <a:pt x="1682" y="494"/>
                  </a:lnTo>
                  <a:lnTo>
                    <a:pt x="1682" y="494"/>
                  </a:lnTo>
                  <a:lnTo>
                    <a:pt x="1684" y="494"/>
                  </a:lnTo>
                  <a:lnTo>
                    <a:pt x="1686" y="492"/>
                  </a:lnTo>
                  <a:lnTo>
                    <a:pt x="1686" y="492"/>
                  </a:lnTo>
                  <a:lnTo>
                    <a:pt x="1688" y="492"/>
                  </a:lnTo>
                  <a:lnTo>
                    <a:pt x="1690" y="490"/>
                  </a:lnTo>
                  <a:lnTo>
                    <a:pt x="1690" y="490"/>
                  </a:lnTo>
                  <a:lnTo>
                    <a:pt x="1690" y="488"/>
                  </a:lnTo>
                  <a:lnTo>
                    <a:pt x="1692" y="486"/>
                  </a:lnTo>
                  <a:lnTo>
                    <a:pt x="1692" y="486"/>
                  </a:lnTo>
                  <a:lnTo>
                    <a:pt x="1692" y="486"/>
                  </a:lnTo>
                  <a:lnTo>
                    <a:pt x="1694" y="482"/>
                  </a:lnTo>
                  <a:lnTo>
                    <a:pt x="1694" y="482"/>
                  </a:lnTo>
                  <a:lnTo>
                    <a:pt x="1694" y="482"/>
                  </a:lnTo>
                  <a:lnTo>
                    <a:pt x="1692" y="478"/>
                  </a:lnTo>
                  <a:lnTo>
                    <a:pt x="1692" y="478"/>
                  </a:lnTo>
                  <a:lnTo>
                    <a:pt x="1692" y="478"/>
                  </a:lnTo>
                  <a:lnTo>
                    <a:pt x="1690" y="474"/>
                  </a:lnTo>
                  <a:lnTo>
                    <a:pt x="1690" y="474"/>
                  </a:lnTo>
                  <a:lnTo>
                    <a:pt x="1690" y="472"/>
                  </a:lnTo>
                  <a:lnTo>
                    <a:pt x="1688" y="468"/>
                  </a:lnTo>
                  <a:lnTo>
                    <a:pt x="1686" y="466"/>
                  </a:lnTo>
                  <a:lnTo>
                    <a:pt x="1686" y="464"/>
                  </a:lnTo>
                  <a:lnTo>
                    <a:pt x="1686" y="464"/>
                  </a:lnTo>
                  <a:lnTo>
                    <a:pt x="1686" y="464"/>
                  </a:lnTo>
                  <a:lnTo>
                    <a:pt x="1686" y="462"/>
                  </a:lnTo>
                  <a:lnTo>
                    <a:pt x="1686" y="462"/>
                  </a:lnTo>
                  <a:lnTo>
                    <a:pt x="1684" y="462"/>
                  </a:lnTo>
                  <a:lnTo>
                    <a:pt x="1684" y="460"/>
                  </a:lnTo>
                  <a:lnTo>
                    <a:pt x="1684" y="460"/>
                  </a:lnTo>
                  <a:lnTo>
                    <a:pt x="1682" y="460"/>
                  </a:lnTo>
                  <a:lnTo>
                    <a:pt x="1680" y="462"/>
                  </a:lnTo>
                  <a:lnTo>
                    <a:pt x="1680" y="462"/>
                  </a:lnTo>
                  <a:lnTo>
                    <a:pt x="1680" y="462"/>
                  </a:lnTo>
                  <a:lnTo>
                    <a:pt x="1680" y="462"/>
                  </a:lnTo>
                  <a:lnTo>
                    <a:pt x="1680" y="464"/>
                  </a:lnTo>
                  <a:lnTo>
                    <a:pt x="1678" y="466"/>
                  </a:lnTo>
                  <a:lnTo>
                    <a:pt x="1678" y="468"/>
                  </a:lnTo>
                  <a:lnTo>
                    <a:pt x="1676" y="474"/>
                  </a:lnTo>
                  <a:lnTo>
                    <a:pt x="1676" y="478"/>
                  </a:lnTo>
                  <a:lnTo>
                    <a:pt x="1674" y="484"/>
                  </a:lnTo>
                  <a:lnTo>
                    <a:pt x="1674" y="486"/>
                  </a:lnTo>
                  <a:lnTo>
                    <a:pt x="1672" y="488"/>
                  </a:lnTo>
                  <a:lnTo>
                    <a:pt x="1672" y="488"/>
                  </a:lnTo>
                  <a:lnTo>
                    <a:pt x="1672" y="490"/>
                  </a:lnTo>
                  <a:lnTo>
                    <a:pt x="1674" y="492"/>
                  </a:lnTo>
                  <a:close/>
                  <a:moveTo>
                    <a:pt x="1690" y="552"/>
                  </a:moveTo>
                  <a:lnTo>
                    <a:pt x="1688" y="550"/>
                  </a:lnTo>
                  <a:lnTo>
                    <a:pt x="1688" y="550"/>
                  </a:lnTo>
                  <a:lnTo>
                    <a:pt x="1688" y="550"/>
                  </a:lnTo>
                  <a:lnTo>
                    <a:pt x="1686" y="550"/>
                  </a:lnTo>
                  <a:lnTo>
                    <a:pt x="1686" y="550"/>
                  </a:lnTo>
                  <a:lnTo>
                    <a:pt x="1684" y="548"/>
                  </a:lnTo>
                  <a:lnTo>
                    <a:pt x="1682" y="548"/>
                  </a:lnTo>
                  <a:lnTo>
                    <a:pt x="1682" y="548"/>
                  </a:lnTo>
                  <a:lnTo>
                    <a:pt x="1680" y="548"/>
                  </a:lnTo>
                  <a:lnTo>
                    <a:pt x="1676" y="552"/>
                  </a:lnTo>
                  <a:lnTo>
                    <a:pt x="1676" y="552"/>
                  </a:lnTo>
                  <a:lnTo>
                    <a:pt x="1676" y="552"/>
                  </a:lnTo>
                  <a:lnTo>
                    <a:pt x="1676" y="554"/>
                  </a:lnTo>
                  <a:lnTo>
                    <a:pt x="1676" y="554"/>
                  </a:lnTo>
                  <a:lnTo>
                    <a:pt x="1676" y="554"/>
                  </a:lnTo>
                  <a:lnTo>
                    <a:pt x="1674" y="556"/>
                  </a:lnTo>
                  <a:lnTo>
                    <a:pt x="1674" y="556"/>
                  </a:lnTo>
                  <a:lnTo>
                    <a:pt x="1674" y="556"/>
                  </a:lnTo>
                  <a:lnTo>
                    <a:pt x="1674" y="558"/>
                  </a:lnTo>
                  <a:lnTo>
                    <a:pt x="1674" y="558"/>
                  </a:lnTo>
                  <a:lnTo>
                    <a:pt x="1674" y="558"/>
                  </a:lnTo>
                  <a:lnTo>
                    <a:pt x="1676" y="560"/>
                  </a:lnTo>
                  <a:lnTo>
                    <a:pt x="1676" y="560"/>
                  </a:lnTo>
                  <a:lnTo>
                    <a:pt x="1676" y="560"/>
                  </a:lnTo>
                  <a:lnTo>
                    <a:pt x="1676" y="562"/>
                  </a:lnTo>
                  <a:lnTo>
                    <a:pt x="1678" y="564"/>
                  </a:lnTo>
                  <a:lnTo>
                    <a:pt x="1680" y="566"/>
                  </a:lnTo>
                  <a:lnTo>
                    <a:pt x="1680" y="566"/>
                  </a:lnTo>
                  <a:lnTo>
                    <a:pt x="1680" y="566"/>
                  </a:lnTo>
                  <a:lnTo>
                    <a:pt x="1684" y="568"/>
                  </a:lnTo>
                  <a:lnTo>
                    <a:pt x="1686" y="570"/>
                  </a:lnTo>
                  <a:lnTo>
                    <a:pt x="1690" y="572"/>
                  </a:lnTo>
                  <a:lnTo>
                    <a:pt x="1690" y="572"/>
                  </a:lnTo>
                  <a:lnTo>
                    <a:pt x="1690" y="572"/>
                  </a:lnTo>
                  <a:lnTo>
                    <a:pt x="1692" y="572"/>
                  </a:lnTo>
                  <a:lnTo>
                    <a:pt x="1692" y="572"/>
                  </a:lnTo>
                  <a:lnTo>
                    <a:pt x="1694" y="572"/>
                  </a:lnTo>
                  <a:lnTo>
                    <a:pt x="1694" y="572"/>
                  </a:lnTo>
                  <a:lnTo>
                    <a:pt x="1694" y="572"/>
                  </a:lnTo>
                  <a:lnTo>
                    <a:pt x="1696" y="572"/>
                  </a:lnTo>
                  <a:lnTo>
                    <a:pt x="1698" y="570"/>
                  </a:lnTo>
                  <a:lnTo>
                    <a:pt x="1698" y="570"/>
                  </a:lnTo>
                  <a:lnTo>
                    <a:pt x="1698" y="568"/>
                  </a:lnTo>
                  <a:lnTo>
                    <a:pt x="1700" y="566"/>
                  </a:lnTo>
                  <a:lnTo>
                    <a:pt x="1700" y="566"/>
                  </a:lnTo>
                  <a:lnTo>
                    <a:pt x="1700" y="566"/>
                  </a:lnTo>
                  <a:lnTo>
                    <a:pt x="1702" y="562"/>
                  </a:lnTo>
                  <a:lnTo>
                    <a:pt x="1702" y="562"/>
                  </a:lnTo>
                  <a:lnTo>
                    <a:pt x="1700" y="560"/>
                  </a:lnTo>
                  <a:lnTo>
                    <a:pt x="1700" y="560"/>
                  </a:lnTo>
                  <a:lnTo>
                    <a:pt x="1700" y="558"/>
                  </a:lnTo>
                  <a:lnTo>
                    <a:pt x="1696" y="558"/>
                  </a:lnTo>
                  <a:lnTo>
                    <a:pt x="1694" y="556"/>
                  </a:lnTo>
                  <a:lnTo>
                    <a:pt x="1694" y="556"/>
                  </a:lnTo>
                  <a:lnTo>
                    <a:pt x="1692" y="554"/>
                  </a:lnTo>
                  <a:lnTo>
                    <a:pt x="1690" y="552"/>
                  </a:lnTo>
                  <a:close/>
                  <a:moveTo>
                    <a:pt x="2298" y="710"/>
                  </a:moveTo>
                  <a:lnTo>
                    <a:pt x="2298" y="710"/>
                  </a:lnTo>
                  <a:lnTo>
                    <a:pt x="2298" y="710"/>
                  </a:lnTo>
                  <a:lnTo>
                    <a:pt x="2298" y="712"/>
                  </a:lnTo>
                  <a:lnTo>
                    <a:pt x="2298" y="712"/>
                  </a:lnTo>
                  <a:lnTo>
                    <a:pt x="2300" y="712"/>
                  </a:lnTo>
                  <a:lnTo>
                    <a:pt x="2300" y="714"/>
                  </a:lnTo>
                  <a:lnTo>
                    <a:pt x="2300" y="714"/>
                  </a:lnTo>
                  <a:lnTo>
                    <a:pt x="2302" y="714"/>
                  </a:lnTo>
                  <a:lnTo>
                    <a:pt x="2304" y="716"/>
                  </a:lnTo>
                  <a:lnTo>
                    <a:pt x="2304" y="716"/>
                  </a:lnTo>
                  <a:lnTo>
                    <a:pt x="2304" y="716"/>
                  </a:lnTo>
                  <a:lnTo>
                    <a:pt x="2306" y="716"/>
                  </a:lnTo>
                  <a:lnTo>
                    <a:pt x="2310" y="716"/>
                  </a:lnTo>
                  <a:lnTo>
                    <a:pt x="2312" y="716"/>
                  </a:lnTo>
                  <a:lnTo>
                    <a:pt x="2320" y="716"/>
                  </a:lnTo>
                  <a:lnTo>
                    <a:pt x="2322" y="716"/>
                  </a:lnTo>
                  <a:lnTo>
                    <a:pt x="2324" y="714"/>
                  </a:lnTo>
                  <a:lnTo>
                    <a:pt x="2328" y="714"/>
                  </a:lnTo>
                  <a:lnTo>
                    <a:pt x="2328" y="714"/>
                  </a:lnTo>
                  <a:lnTo>
                    <a:pt x="2328" y="714"/>
                  </a:lnTo>
                  <a:lnTo>
                    <a:pt x="2332" y="712"/>
                  </a:lnTo>
                  <a:lnTo>
                    <a:pt x="2334" y="710"/>
                  </a:lnTo>
                  <a:lnTo>
                    <a:pt x="2336" y="708"/>
                  </a:lnTo>
                  <a:lnTo>
                    <a:pt x="2338" y="708"/>
                  </a:lnTo>
                  <a:lnTo>
                    <a:pt x="2340" y="708"/>
                  </a:lnTo>
                  <a:lnTo>
                    <a:pt x="2344" y="706"/>
                  </a:lnTo>
                  <a:lnTo>
                    <a:pt x="2348" y="704"/>
                  </a:lnTo>
                  <a:lnTo>
                    <a:pt x="2350" y="704"/>
                  </a:lnTo>
                  <a:lnTo>
                    <a:pt x="2352" y="702"/>
                  </a:lnTo>
                  <a:lnTo>
                    <a:pt x="2352" y="702"/>
                  </a:lnTo>
                  <a:lnTo>
                    <a:pt x="2352" y="702"/>
                  </a:lnTo>
                  <a:lnTo>
                    <a:pt x="2352" y="700"/>
                  </a:lnTo>
                  <a:lnTo>
                    <a:pt x="2352" y="700"/>
                  </a:lnTo>
                  <a:lnTo>
                    <a:pt x="2354" y="698"/>
                  </a:lnTo>
                  <a:lnTo>
                    <a:pt x="2354" y="698"/>
                  </a:lnTo>
                  <a:lnTo>
                    <a:pt x="2354" y="698"/>
                  </a:lnTo>
                  <a:lnTo>
                    <a:pt x="2354" y="696"/>
                  </a:lnTo>
                  <a:lnTo>
                    <a:pt x="2354" y="696"/>
                  </a:lnTo>
                  <a:lnTo>
                    <a:pt x="2354" y="696"/>
                  </a:lnTo>
                  <a:lnTo>
                    <a:pt x="2354" y="694"/>
                  </a:lnTo>
                  <a:lnTo>
                    <a:pt x="2352" y="690"/>
                  </a:lnTo>
                  <a:lnTo>
                    <a:pt x="2352" y="690"/>
                  </a:lnTo>
                  <a:lnTo>
                    <a:pt x="2352" y="690"/>
                  </a:lnTo>
                  <a:lnTo>
                    <a:pt x="2348" y="686"/>
                  </a:lnTo>
                  <a:lnTo>
                    <a:pt x="2348" y="684"/>
                  </a:lnTo>
                  <a:lnTo>
                    <a:pt x="2346" y="684"/>
                  </a:lnTo>
                  <a:lnTo>
                    <a:pt x="2344" y="682"/>
                  </a:lnTo>
                  <a:lnTo>
                    <a:pt x="2340" y="680"/>
                  </a:lnTo>
                  <a:lnTo>
                    <a:pt x="2338" y="680"/>
                  </a:lnTo>
                  <a:lnTo>
                    <a:pt x="2334" y="678"/>
                  </a:lnTo>
                  <a:lnTo>
                    <a:pt x="2332" y="678"/>
                  </a:lnTo>
                  <a:lnTo>
                    <a:pt x="2328" y="676"/>
                  </a:lnTo>
                  <a:lnTo>
                    <a:pt x="2324" y="676"/>
                  </a:lnTo>
                  <a:lnTo>
                    <a:pt x="2324" y="676"/>
                  </a:lnTo>
                  <a:lnTo>
                    <a:pt x="2324" y="676"/>
                  </a:lnTo>
                  <a:lnTo>
                    <a:pt x="2320" y="676"/>
                  </a:lnTo>
                  <a:lnTo>
                    <a:pt x="2320" y="676"/>
                  </a:lnTo>
                  <a:lnTo>
                    <a:pt x="2320" y="676"/>
                  </a:lnTo>
                  <a:lnTo>
                    <a:pt x="2318" y="678"/>
                  </a:lnTo>
                  <a:lnTo>
                    <a:pt x="2318" y="678"/>
                  </a:lnTo>
                  <a:lnTo>
                    <a:pt x="2318" y="678"/>
                  </a:lnTo>
                  <a:lnTo>
                    <a:pt x="2314" y="680"/>
                  </a:lnTo>
                  <a:lnTo>
                    <a:pt x="2312" y="682"/>
                  </a:lnTo>
                  <a:lnTo>
                    <a:pt x="2308" y="684"/>
                  </a:lnTo>
                  <a:lnTo>
                    <a:pt x="2306" y="686"/>
                  </a:lnTo>
                  <a:lnTo>
                    <a:pt x="2304" y="690"/>
                  </a:lnTo>
                  <a:lnTo>
                    <a:pt x="2302" y="692"/>
                  </a:lnTo>
                  <a:lnTo>
                    <a:pt x="2300" y="694"/>
                  </a:lnTo>
                  <a:lnTo>
                    <a:pt x="2300" y="694"/>
                  </a:lnTo>
                  <a:lnTo>
                    <a:pt x="2300" y="694"/>
                  </a:lnTo>
                  <a:lnTo>
                    <a:pt x="2298" y="696"/>
                  </a:lnTo>
                  <a:lnTo>
                    <a:pt x="2298" y="698"/>
                  </a:lnTo>
                  <a:lnTo>
                    <a:pt x="2298" y="698"/>
                  </a:lnTo>
                  <a:lnTo>
                    <a:pt x="2298" y="700"/>
                  </a:lnTo>
                  <a:lnTo>
                    <a:pt x="2298" y="704"/>
                  </a:lnTo>
                  <a:lnTo>
                    <a:pt x="2298" y="706"/>
                  </a:lnTo>
                  <a:lnTo>
                    <a:pt x="2298" y="706"/>
                  </a:lnTo>
                  <a:lnTo>
                    <a:pt x="2298" y="708"/>
                  </a:lnTo>
                  <a:lnTo>
                    <a:pt x="2298" y="710"/>
                  </a:lnTo>
                  <a:close/>
                  <a:moveTo>
                    <a:pt x="1702" y="482"/>
                  </a:moveTo>
                  <a:lnTo>
                    <a:pt x="1702" y="486"/>
                  </a:lnTo>
                  <a:lnTo>
                    <a:pt x="1702" y="490"/>
                  </a:lnTo>
                  <a:lnTo>
                    <a:pt x="1702" y="492"/>
                  </a:lnTo>
                  <a:lnTo>
                    <a:pt x="1702" y="496"/>
                  </a:lnTo>
                  <a:lnTo>
                    <a:pt x="1702" y="498"/>
                  </a:lnTo>
                  <a:lnTo>
                    <a:pt x="1702" y="502"/>
                  </a:lnTo>
                  <a:lnTo>
                    <a:pt x="1702" y="502"/>
                  </a:lnTo>
                  <a:lnTo>
                    <a:pt x="1702" y="502"/>
                  </a:lnTo>
                  <a:lnTo>
                    <a:pt x="1702" y="506"/>
                  </a:lnTo>
                  <a:lnTo>
                    <a:pt x="1702" y="506"/>
                  </a:lnTo>
                  <a:lnTo>
                    <a:pt x="1702" y="506"/>
                  </a:lnTo>
                  <a:lnTo>
                    <a:pt x="1704" y="508"/>
                  </a:lnTo>
                  <a:lnTo>
                    <a:pt x="1704" y="510"/>
                  </a:lnTo>
                  <a:lnTo>
                    <a:pt x="1704" y="510"/>
                  </a:lnTo>
                  <a:lnTo>
                    <a:pt x="1704" y="510"/>
                  </a:lnTo>
                  <a:lnTo>
                    <a:pt x="1706" y="512"/>
                  </a:lnTo>
                  <a:lnTo>
                    <a:pt x="1708" y="514"/>
                  </a:lnTo>
                  <a:lnTo>
                    <a:pt x="1710" y="516"/>
                  </a:lnTo>
                  <a:lnTo>
                    <a:pt x="1714" y="518"/>
                  </a:lnTo>
                  <a:lnTo>
                    <a:pt x="1720" y="522"/>
                  </a:lnTo>
                  <a:lnTo>
                    <a:pt x="1722" y="524"/>
                  </a:lnTo>
                  <a:lnTo>
                    <a:pt x="1724" y="526"/>
                  </a:lnTo>
                  <a:lnTo>
                    <a:pt x="1728" y="528"/>
                  </a:lnTo>
                  <a:lnTo>
                    <a:pt x="1730" y="530"/>
                  </a:lnTo>
                  <a:lnTo>
                    <a:pt x="1732" y="530"/>
                  </a:lnTo>
                  <a:lnTo>
                    <a:pt x="1732" y="530"/>
                  </a:lnTo>
                  <a:lnTo>
                    <a:pt x="1732" y="530"/>
                  </a:lnTo>
                  <a:lnTo>
                    <a:pt x="1734" y="532"/>
                  </a:lnTo>
                  <a:lnTo>
                    <a:pt x="1734" y="532"/>
                  </a:lnTo>
                  <a:lnTo>
                    <a:pt x="1734" y="532"/>
                  </a:lnTo>
                  <a:lnTo>
                    <a:pt x="1736" y="532"/>
                  </a:lnTo>
                  <a:lnTo>
                    <a:pt x="1736" y="532"/>
                  </a:lnTo>
                  <a:lnTo>
                    <a:pt x="1736" y="532"/>
                  </a:lnTo>
                  <a:lnTo>
                    <a:pt x="1738" y="530"/>
                  </a:lnTo>
                  <a:lnTo>
                    <a:pt x="1738" y="530"/>
                  </a:lnTo>
                  <a:lnTo>
                    <a:pt x="1738" y="530"/>
                  </a:lnTo>
                  <a:lnTo>
                    <a:pt x="1740" y="528"/>
                  </a:lnTo>
                  <a:lnTo>
                    <a:pt x="1740" y="528"/>
                  </a:lnTo>
                  <a:lnTo>
                    <a:pt x="1740" y="526"/>
                  </a:lnTo>
                  <a:lnTo>
                    <a:pt x="1740" y="524"/>
                  </a:lnTo>
                  <a:lnTo>
                    <a:pt x="1740" y="522"/>
                  </a:lnTo>
                  <a:lnTo>
                    <a:pt x="1738" y="520"/>
                  </a:lnTo>
                  <a:lnTo>
                    <a:pt x="1738" y="518"/>
                  </a:lnTo>
                  <a:lnTo>
                    <a:pt x="1738" y="516"/>
                  </a:lnTo>
                  <a:lnTo>
                    <a:pt x="1738" y="516"/>
                  </a:lnTo>
                  <a:lnTo>
                    <a:pt x="1738" y="516"/>
                  </a:lnTo>
                  <a:lnTo>
                    <a:pt x="1740" y="516"/>
                  </a:lnTo>
                  <a:lnTo>
                    <a:pt x="1742" y="516"/>
                  </a:lnTo>
                  <a:lnTo>
                    <a:pt x="1744" y="516"/>
                  </a:lnTo>
                  <a:lnTo>
                    <a:pt x="1750" y="516"/>
                  </a:lnTo>
                  <a:lnTo>
                    <a:pt x="1752" y="518"/>
                  </a:lnTo>
                  <a:lnTo>
                    <a:pt x="1754" y="518"/>
                  </a:lnTo>
                  <a:lnTo>
                    <a:pt x="1754" y="518"/>
                  </a:lnTo>
                  <a:lnTo>
                    <a:pt x="1754" y="518"/>
                  </a:lnTo>
                  <a:lnTo>
                    <a:pt x="1756" y="516"/>
                  </a:lnTo>
                  <a:lnTo>
                    <a:pt x="1756" y="516"/>
                  </a:lnTo>
                  <a:lnTo>
                    <a:pt x="1758" y="516"/>
                  </a:lnTo>
                  <a:lnTo>
                    <a:pt x="1758" y="516"/>
                  </a:lnTo>
                  <a:lnTo>
                    <a:pt x="1762" y="514"/>
                  </a:lnTo>
                  <a:lnTo>
                    <a:pt x="1766" y="514"/>
                  </a:lnTo>
                  <a:lnTo>
                    <a:pt x="1766" y="514"/>
                  </a:lnTo>
                  <a:lnTo>
                    <a:pt x="1768" y="514"/>
                  </a:lnTo>
                  <a:lnTo>
                    <a:pt x="1768" y="514"/>
                  </a:lnTo>
                  <a:lnTo>
                    <a:pt x="1768" y="514"/>
                  </a:lnTo>
                  <a:lnTo>
                    <a:pt x="1770" y="516"/>
                  </a:lnTo>
                  <a:lnTo>
                    <a:pt x="1772" y="518"/>
                  </a:lnTo>
                  <a:lnTo>
                    <a:pt x="1772" y="518"/>
                  </a:lnTo>
                  <a:lnTo>
                    <a:pt x="1772" y="520"/>
                  </a:lnTo>
                  <a:lnTo>
                    <a:pt x="1774" y="520"/>
                  </a:lnTo>
                  <a:lnTo>
                    <a:pt x="1774" y="520"/>
                  </a:lnTo>
                  <a:lnTo>
                    <a:pt x="1774" y="520"/>
                  </a:lnTo>
                  <a:lnTo>
                    <a:pt x="1776" y="522"/>
                  </a:lnTo>
                  <a:lnTo>
                    <a:pt x="1776" y="522"/>
                  </a:lnTo>
                  <a:lnTo>
                    <a:pt x="1776" y="522"/>
                  </a:lnTo>
                  <a:lnTo>
                    <a:pt x="1778" y="524"/>
                  </a:lnTo>
                  <a:lnTo>
                    <a:pt x="1778" y="524"/>
                  </a:lnTo>
                  <a:lnTo>
                    <a:pt x="1780" y="524"/>
                  </a:lnTo>
                  <a:lnTo>
                    <a:pt x="1784" y="524"/>
                  </a:lnTo>
                  <a:lnTo>
                    <a:pt x="1784" y="524"/>
                  </a:lnTo>
                  <a:lnTo>
                    <a:pt x="1784" y="524"/>
                  </a:lnTo>
                  <a:lnTo>
                    <a:pt x="1788" y="524"/>
                  </a:lnTo>
                  <a:lnTo>
                    <a:pt x="1788" y="524"/>
                  </a:lnTo>
                  <a:lnTo>
                    <a:pt x="1788" y="522"/>
                  </a:lnTo>
                  <a:lnTo>
                    <a:pt x="1790" y="522"/>
                  </a:lnTo>
                  <a:lnTo>
                    <a:pt x="1790" y="522"/>
                  </a:lnTo>
                  <a:lnTo>
                    <a:pt x="1792" y="522"/>
                  </a:lnTo>
                  <a:lnTo>
                    <a:pt x="1792" y="520"/>
                  </a:lnTo>
                  <a:lnTo>
                    <a:pt x="1792" y="520"/>
                  </a:lnTo>
                  <a:lnTo>
                    <a:pt x="1792" y="520"/>
                  </a:lnTo>
                  <a:lnTo>
                    <a:pt x="1794" y="518"/>
                  </a:lnTo>
                  <a:lnTo>
                    <a:pt x="1794" y="518"/>
                  </a:lnTo>
                  <a:lnTo>
                    <a:pt x="1794" y="518"/>
                  </a:lnTo>
                  <a:lnTo>
                    <a:pt x="1794" y="514"/>
                  </a:lnTo>
                  <a:lnTo>
                    <a:pt x="1796" y="510"/>
                  </a:lnTo>
                  <a:lnTo>
                    <a:pt x="1796" y="510"/>
                  </a:lnTo>
                  <a:lnTo>
                    <a:pt x="1796" y="510"/>
                  </a:lnTo>
                  <a:lnTo>
                    <a:pt x="1798" y="510"/>
                  </a:lnTo>
                  <a:lnTo>
                    <a:pt x="1798" y="510"/>
                  </a:lnTo>
                  <a:lnTo>
                    <a:pt x="1802" y="510"/>
                  </a:lnTo>
                  <a:lnTo>
                    <a:pt x="1804" y="508"/>
                  </a:lnTo>
                  <a:lnTo>
                    <a:pt x="1804" y="508"/>
                  </a:lnTo>
                  <a:lnTo>
                    <a:pt x="1806" y="508"/>
                  </a:lnTo>
                  <a:lnTo>
                    <a:pt x="1806" y="508"/>
                  </a:lnTo>
                  <a:lnTo>
                    <a:pt x="1806" y="508"/>
                  </a:lnTo>
                  <a:lnTo>
                    <a:pt x="1808" y="508"/>
                  </a:lnTo>
                  <a:lnTo>
                    <a:pt x="1808" y="506"/>
                  </a:lnTo>
                  <a:lnTo>
                    <a:pt x="1808" y="506"/>
                  </a:lnTo>
                  <a:lnTo>
                    <a:pt x="1808" y="506"/>
                  </a:lnTo>
                  <a:lnTo>
                    <a:pt x="1810" y="504"/>
                  </a:lnTo>
                  <a:lnTo>
                    <a:pt x="1812" y="502"/>
                  </a:lnTo>
                  <a:lnTo>
                    <a:pt x="1814" y="498"/>
                  </a:lnTo>
                  <a:lnTo>
                    <a:pt x="1816" y="494"/>
                  </a:lnTo>
                  <a:lnTo>
                    <a:pt x="1816" y="492"/>
                  </a:lnTo>
                  <a:lnTo>
                    <a:pt x="1818" y="490"/>
                  </a:lnTo>
                  <a:lnTo>
                    <a:pt x="1820" y="486"/>
                  </a:lnTo>
                  <a:lnTo>
                    <a:pt x="1824" y="484"/>
                  </a:lnTo>
                  <a:lnTo>
                    <a:pt x="1824" y="482"/>
                  </a:lnTo>
                  <a:lnTo>
                    <a:pt x="1824" y="482"/>
                  </a:lnTo>
                  <a:lnTo>
                    <a:pt x="1824" y="482"/>
                  </a:lnTo>
                  <a:lnTo>
                    <a:pt x="1826" y="480"/>
                  </a:lnTo>
                  <a:lnTo>
                    <a:pt x="1826" y="480"/>
                  </a:lnTo>
                  <a:lnTo>
                    <a:pt x="1826" y="480"/>
                  </a:lnTo>
                  <a:lnTo>
                    <a:pt x="1826" y="478"/>
                  </a:lnTo>
                  <a:lnTo>
                    <a:pt x="1826" y="478"/>
                  </a:lnTo>
                  <a:lnTo>
                    <a:pt x="1828" y="478"/>
                  </a:lnTo>
                  <a:lnTo>
                    <a:pt x="1828" y="476"/>
                  </a:lnTo>
                  <a:lnTo>
                    <a:pt x="1828" y="476"/>
                  </a:lnTo>
                  <a:lnTo>
                    <a:pt x="1826" y="474"/>
                  </a:lnTo>
                  <a:lnTo>
                    <a:pt x="1826" y="474"/>
                  </a:lnTo>
                  <a:lnTo>
                    <a:pt x="1826" y="474"/>
                  </a:lnTo>
                  <a:lnTo>
                    <a:pt x="1826" y="472"/>
                  </a:lnTo>
                  <a:lnTo>
                    <a:pt x="1824" y="472"/>
                  </a:lnTo>
                  <a:lnTo>
                    <a:pt x="1824" y="472"/>
                  </a:lnTo>
                  <a:lnTo>
                    <a:pt x="1824" y="472"/>
                  </a:lnTo>
                  <a:lnTo>
                    <a:pt x="1822" y="470"/>
                  </a:lnTo>
                  <a:lnTo>
                    <a:pt x="1820" y="468"/>
                  </a:lnTo>
                  <a:lnTo>
                    <a:pt x="1814" y="466"/>
                  </a:lnTo>
                  <a:lnTo>
                    <a:pt x="1812" y="466"/>
                  </a:lnTo>
                  <a:lnTo>
                    <a:pt x="1812" y="464"/>
                  </a:lnTo>
                  <a:lnTo>
                    <a:pt x="1808" y="462"/>
                  </a:lnTo>
                  <a:lnTo>
                    <a:pt x="1806" y="460"/>
                  </a:lnTo>
                  <a:lnTo>
                    <a:pt x="1802" y="458"/>
                  </a:lnTo>
                  <a:lnTo>
                    <a:pt x="1800" y="456"/>
                  </a:lnTo>
                  <a:lnTo>
                    <a:pt x="1800" y="456"/>
                  </a:lnTo>
                  <a:lnTo>
                    <a:pt x="1798" y="454"/>
                  </a:lnTo>
                  <a:lnTo>
                    <a:pt x="1796" y="454"/>
                  </a:lnTo>
                  <a:lnTo>
                    <a:pt x="1796" y="454"/>
                  </a:lnTo>
                  <a:lnTo>
                    <a:pt x="1794" y="454"/>
                  </a:lnTo>
                  <a:lnTo>
                    <a:pt x="1790" y="454"/>
                  </a:lnTo>
                  <a:lnTo>
                    <a:pt x="1786" y="452"/>
                  </a:lnTo>
                  <a:lnTo>
                    <a:pt x="1784" y="452"/>
                  </a:lnTo>
                  <a:lnTo>
                    <a:pt x="1784" y="452"/>
                  </a:lnTo>
                  <a:lnTo>
                    <a:pt x="1782" y="450"/>
                  </a:lnTo>
                  <a:lnTo>
                    <a:pt x="1780" y="448"/>
                  </a:lnTo>
                  <a:lnTo>
                    <a:pt x="1778" y="446"/>
                  </a:lnTo>
                  <a:lnTo>
                    <a:pt x="1778" y="446"/>
                  </a:lnTo>
                  <a:lnTo>
                    <a:pt x="1778" y="446"/>
                  </a:lnTo>
                  <a:lnTo>
                    <a:pt x="1776" y="444"/>
                  </a:lnTo>
                  <a:lnTo>
                    <a:pt x="1776" y="444"/>
                  </a:lnTo>
                  <a:lnTo>
                    <a:pt x="1776" y="444"/>
                  </a:lnTo>
                  <a:lnTo>
                    <a:pt x="1772" y="442"/>
                  </a:lnTo>
                  <a:lnTo>
                    <a:pt x="1768" y="440"/>
                  </a:lnTo>
                  <a:lnTo>
                    <a:pt x="1768" y="440"/>
                  </a:lnTo>
                  <a:lnTo>
                    <a:pt x="1766" y="440"/>
                  </a:lnTo>
                  <a:lnTo>
                    <a:pt x="1762" y="440"/>
                  </a:lnTo>
                  <a:lnTo>
                    <a:pt x="1762" y="440"/>
                  </a:lnTo>
                  <a:lnTo>
                    <a:pt x="1762" y="440"/>
                  </a:lnTo>
                  <a:lnTo>
                    <a:pt x="1760" y="440"/>
                  </a:lnTo>
                  <a:lnTo>
                    <a:pt x="1760" y="440"/>
                  </a:lnTo>
                  <a:lnTo>
                    <a:pt x="1760" y="440"/>
                  </a:lnTo>
                  <a:lnTo>
                    <a:pt x="1758" y="440"/>
                  </a:lnTo>
                  <a:lnTo>
                    <a:pt x="1758" y="440"/>
                  </a:lnTo>
                  <a:lnTo>
                    <a:pt x="1758" y="440"/>
                  </a:lnTo>
                  <a:lnTo>
                    <a:pt x="1756" y="442"/>
                  </a:lnTo>
                  <a:lnTo>
                    <a:pt x="1756" y="442"/>
                  </a:lnTo>
                  <a:lnTo>
                    <a:pt x="1756" y="442"/>
                  </a:lnTo>
                  <a:lnTo>
                    <a:pt x="1756" y="444"/>
                  </a:lnTo>
                  <a:lnTo>
                    <a:pt x="1756" y="444"/>
                  </a:lnTo>
                  <a:lnTo>
                    <a:pt x="1754" y="444"/>
                  </a:lnTo>
                  <a:lnTo>
                    <a:pt x="1754" y="448"/>
                  </a:lnTo>
                  <a:lnTo>
                    <a:pt x="1754" y="448"/>
                  </a:lnTo>
                  <a:lnTo>
                    <a:pt x="1754" y="448"/>
                  </a:lnTo>
                  <a:lnTo>
                    <a:pt x="1754" y="452"/>
                  </a:lnTo>
                  <a:lnTo>
                    <a:pt x="1754" y="454"/>
                  </a:lnTo>
                  <a:lnTo>
                    <a:pt x="1754" y="456"/>
                  </a:lnTo>
                  <a:lnTo>
                    <a:pt x="1754" y="460"/>
                  </a:lnTo>
                  <a:lnTo>
                    <a:pt x="1754" y="462"/>
                  </a:lnTo>
                  <a:lnTo>
                    <a:pt x="1754" y="462"/>
                  </a:lnTo>
                  <a:lnTo>
                    <a:pt x="1752" y="458"/>
                  </a:lnTo>
                  <a:lnTo>
                    <a:pt x="1748" y="454"/>
                  </a:lnTo>
                  <a:lnTo>
                    <a:pt x="1746" y="450"/>
                  </a:lnTo>
                  <a:lnTo>
                    <a:pt x="1744" y="448"/>
                  </a:lnTo>
                  <a:lnTo>
                    <a:pt x="1740" y="442"/>
                  </a:lnTo>
                  <a:lnTo>
                    <a:pt x="1736" y="438"/>
                  </a:lnTo>
                  <a:lnTo>
                    <a:pt x="1734" y="436"/>
                  </a:lnTo>
                  <a:lnTo>
                    <a:pt x="1732" y="434"/>
                  </a:lnTo>
                  <a:lnTo>
                    <a:pt x="1732" y="434"/>
                  </a:lnTo>
                  <a:lnTo>
                    <a:pt x="1732" y="434"/>
                  </a:lnTo>
                  <a:lnTo>
                    <a:pt x="1730" y="432"/>
                  </a:lnTo>
                  <a:lnTo>
                    <a:pt x="1730" y="432"/>
                  </a:lnTo>
                  <a:lnTo>
                    <a:pt x="1730" y="432"/>
                  </a:lnTo>
                  <a:lnTo>
                    <a:pt x="1728" y="432"/>
                  </a:lnTo>
                  <a:lnTo>
                    <a:pt x="1728" y="432"/>
                  </a:lnTo>
                  <a:lnTo>
                    <a:pt x="1726" y="432"/>
                  </a:lnTo>
                  <a:lnTo>
                    <a:pt x="1726" y="432"/>
                  </a:lnTo>
                  <a:lnTo>
                    <a:pt x="1726" y="432"/>
                  </a:lnTo>
                  <a:lnTo>
                    <a:pt x="1724" y="434"/>
                  </a:lnTo>
                  <a:lnTo>
                    <a:pt x="1724" y="434"/>
                  </a:lnTo>
                  <a:lnTo>
                    <a:pt x="1724" y="434"/>
                  </a:lnTo>
                  <a:lnTo>
                    <a:pt x="1722" y="434"/>
                  </a:lnTo>
                  <a:lnTo>
                    <a:pt x="1722" y="436"/>
                  </a:lnTo>
                  <a:lnTo>
                    <a:pt x="1722" y="436"/>
                  </a:lnTo>
                  <a:lnTo>
                    <a:pt x="1722" y="436"/>
                  </a:lnTo>
                  <a:lnTo>
                    <a:pt x="1720" y="438"/>
                  </a:lnTo>
                  <a:lnTo>
                    <a:pt x="1718" y="442"/>
                  </a:lnTo>
                  <a:lnTo>
                    <a:pt x="1718" y="442"/>
                  </a:lnTo>
                  <a:lnTo>
                    <a:pt x="1718" y="444"/>
                  </a:lnTo>
                  <a:lnTo>
                    <a:pt x="1716" y="446"/>
                  </a:lnTo>
                  <a:lnTo>
                    <a:pt x="1714" y="446"/>
                  </a:lnTo>
                  <a:lnTo>
                    <a:pt x="1712" y="448"/>
                  </a:lnTo>
                  <a:lnTo>
                    <a:pt x="1712" y="448"/>
                  </a:lnTo>
                  <a:lnTo>
                    <a:pt x="1710" y="448"/>
                  </a:lnTo>
                  <a:lnTo>
                    <a:pt x="1708" y="450"/>
                  </a:lnTo>
                  <a:lnTo>
                    <a:pt x="1708" y="452"/>
                  </a:lnTo>
                  <a:lnTo>
                    <a:pt x="1708" y="452"/>
                  </a:lnTo>
                  <a:lnTo>
                    <a:pt x="1706" y="454"/>
                  </a:lnTo>
                  <a:lnTo>
                    <a:pt x="1706" y="454"/>
                  </a:lnTo>
                  <a:lnTo>
                    <a:pt x="1706" y="454"/>
                  </a:lnTo>
                  <a:lnTo>
                    <a:pt x="1704" y="454"/>
                  </a:lnTo>
                  <a:lnTo>
                    <a:pt x="1704" y="454"/>
                  </a:lnTo>
                  <a:lnTo>
                    <a:pt x="1704" y="454"/>
                  </a:lnTo>
                  <a:lnTo>
                    <a:pt x="1704" y="456"/>
                  </a:lnTo>
                  <a:lnTo>
                    <a:pt x="1704" y="456"/>
                  </a:lnTo>
                  <a:lnTo>
                    <a:pt x="1704" y="456"/>
                  </a:lnTo>
                  <a:lnTo>
                    <a:pt x="1702" y="458"/>
                  </a:lnTo>
                  <a:lnTo>
                    <a:pt x="1702" y="458"/>
                  </a:lnTo>
                  <a:lnTo>
                    <a:pt x="1702" y="458"/>
                  </a:lnTo>
                  <a:lnTo>
                    <a:pt x="1702" y="460"/>
                  </a:lnTo>
                  <a:lnTo>
                    <a:pt x="1702" y="464"/>
                  </a:lnTo>
                  <a:lnTo>
                    <a:pt x="1702" y="468"/>
                  </a:lnTo>
                  <a:lnTo>
                    <a:pt x="1702" y="472"/>
                  </a:lnTo>
                  <a:lnTo>
                    <a:pt x="1702" y="476"/>
                  </a:lnTo>
                  <a:lnTo>
                    <a:pt x="1702" y="482"/>
                  </a:lnTo>
                  <a:close/>
                  <a:moveTo>
                    <a:pt x="1832" y="498"/>
                  </a:moveTo>
                  <a:lnTo>
                    <a:pt x="1832" y="500"/>
                  </a:lnTo>
                  <a:lnTo>
                    <a:pt x="1832" y="500"/>
                  </a:lnTo>
                  <a:lnTo>
                    <a:pt x="1832" y="500"/>
                  </a:lnTo>
                  <a:lnTo>
                    <a:pt x="1834" y="502"/>
                  </a:lnTo>
                  <a:lnTo>
                    <a:pt x="1836" y="504"/>
                  </a:lnTo>
                  <a:lnTo>
                    <a:pt x="1838" y="506"/>
                  </a:lnTo>
                  <a:lnTo>
                    <a:pt x="1842" y="508"/>
                  </a:lnTo>
                  <a:lnTo>
                    <a:pt x="1844" y="510"/>
                  </a:lnTo>
                  <a:lnTo>
                    <a:pt x="1850" y="514"/>
                  </a:lnTo>
                  <a:lnTo>
                    <a:pt x="1852" y="516"/>
                  </a:lnTo>
                  <a:lnTo>
                    <a:pt x="1854" y="516"/>
                  </a:lnTo>
                  <a:lnTo>
                    <a:pt x="1856" y="518"/>
                  </a:lnTo>
                  <a:lnTo>
                    <a:pt x="1858" y="518"/>
                  </a:lnTo>
                  <a:lnTo>
                    <a:pt x="1856" y="518"/>
                  </a:lnTo>
                  <a:lnTo>
                    <a:pt x="1858" y="520"/>
                  </a:lnTo>
                  <a:lnTo>
                    <a:pt x="1860" y="522"/>
                  </a:lnTo>
                  <a:lnTo>
                    <a:pt x="1860" y="522"/>
                  </a:lnTo>
                  <a:lnTo>
                    <a:pt x="1860" y="522"/>
                  </a:lnTo>
                  <a:lnTo>
                    <a:pt x="1862" y="522"/>
                  </a:lnTo>
                  <a:lnTo>
                    <a:pt x="1862" y="522"/>
                  </a:lnTo>
                  <a:lnTo>
                    <a:pt x="1862" y="522"/>
                  </a:lnTo>
                  <a:lnTo>
                    <a:pt x="1864" y="524"/>
                  </a:lnTo>
                  <a:lnTo>
                    <a:pt x="1866" y="524"/>
                  </a:lnTo>
                  <a:lnTo>
                    <a:pt x="1870" y="524"/>
                  </a:lnTo>
                  <a:lnTo>
                    <a:pt x="1876" y="524"/>
                  </a:lnTo>
                  <a:lnTo>
                    <a:pt x="1878" y="524"/>
                  </a:lnTo>
                  <a:lnTo>
                    <a:pt x="1882" y="524"/>
                  </a:lnTo>
                  <a:lnTo>
                    <a:pt x="1884" y="524"/>
                  </a:lnTo>
                  <a:lnTo>
                    <a:pt x="1884" y="524"/>
                  </a:lnTo>
                  <a:lnTo>
                    <a:pt x="1886" y="524"/>
                  </a:lnTo>
                  <a:lnTo>
                    <a:pt x="1886" y="524"/>
                  </a:lnTo>
                  <a:lnTo>
                    <a:pt x="1886" y="524"/>
                  </a:lnTo>
                  <a:lnTo>
                    <a:pt x="1888" y="522"/>
                  </a:lnTo>
                  <a:lnTo>
                    <a:pt x="1890" y="522"/>
                  </a:lnTo>
                  <a:lnTo>
                    <a:pt x="1890" y="522"/>
                  </a:lnTo>
                  <a:lnTo>
                    <a:pt x="1890" y="520"/>
                  </a:lnTo>
                  <a:lnTo>
                    <a:pt x="1890" y="520"/>
                  </a:lnTo>
                  <a:lnTo>
                    <a:pt x="1890" y="520"/>
                  </a:lnTo>
                  <a:lnTo>
                    <a:pt x="1890" y="518"/>
                  </a:lnTo>
                  <a:lnTo>
                    <a:pt x="1892" y="516"/>
                  </a:lnTo>
                  <a:lnTo>
                    <a:pt x="1892" y="512"/>
                  </a:lnTo>
                  <a:lnTo>
                    <a:pt x="1892" y="512"/>
                  </a:lnTo>
                  <a:lnTo>
                    <a:pt x="1894" y="510"/>
                  </a:lnTo>
                  <a:lnTo>
                    <a:pt x="1894" y="510"/>
                  </a:lnTo>
                  <a:lnTo>
                    <a:pt x="1900" y="510"/>
                  </a:lnTo>
                  <a:lnTo>
                    <a:pt x="1902" y="512"/>
                  </a:lnTo>
                  <a:lnTo>
                    <a:pt x="1904" y="512"/>
                  </a:lnTo>
                  <a:lnTo>
                    <a:pt x="1904" y="512"/>
                  </a:lnTo>
                  <a:lnTo>
                    <a:pt x="1904" y="512"/>
                  </a:lnTo>
                  <a:lnTo>
                    <a:pt x="1906" y="510"/>
                  </a:lnTo>
                  <a:lnTo>
                    <a:pt x="1906" y="510"/>
                  </a:lnTo>
                  <a:lnTo>
                    <a:pt x="1908" y="510"/>
                  </a:lnTo>
                  <a:lnTo>
                    <a:pt x="1908" y="510"/>
                  </a:lnTo>
                  <a:lnTo>
                    <a:pt x="1908" y="510"/>
                  </a:lnTo>
                  <a:lnTo>
                    <a:pt x="1908" y="506"/>
                  </a:lnTo>
                  <a:lnTo>
                    <a:pt x="1908" y="506"/>
                  </a:lnTo>
                  <a:lnTo>
                    <a:pt x="1908" y="506"/>
                  </a:lnTo>
                  <a:lnTo>
                    <a:pt x="1908" y="504"/>
                  </a:lnTo>
                  <a:lnTo>
                    <a:pt x="1906" y="504"/>
                  </a:lnTo>
                  <a:lnTo>
                    <a:pt x="1904" y="502"/>
                  </a:lnTo>
                  <a:lnTo>
                    <a:pt x="1902" y="500"/>
                  </a:lnTo>
                  <a:lnTo>
                    <a:pt x="1896" y="496"/>
                  </a:lnTo>
                  <a:lnTo>
                    <a:pt x="1892" y="494"/>
                  </a:lnTo>
                  <a:lnTo>
                    <a:pt x="1890" y="494"/>
                  </a:lnTo>
                  <a:lnTo>
                    <a:pt x="1890" y="494"/>
                  </a:lnTo>
                  <a:lnTo>
                    <a:pt x="1890" y="494"/>
                  </a:lnTo>
                  <a:lnTo>
                    <a:pt x="1884" y="492"/>
                  </a:lnTo>
                  <a:lnTo>
                    <a:pt x="1880" y="492"/>
                  </a:lnTo>
                  <a:lnTo>
                    <a:pt x="1876" y="492"/>
                  </a:lnTo>
                  <a:lnTo>
                    <a:pt x="1874" y="490"/>
                  </a:lnTo>
                  <a:lnTo>
                    <a:pt x="1874" y="490"/>
                  </a:lnTo>
                  <a:lnTo>
                    <a:pt x="1872" y="490"/>
                  </a:lnTo>
                  <a:lnTo>
                    <a:pt x="1872" y="490"/>
                  </a:lnTo>
                  <a:lnTo>
                    <a:pt x="1872" y="490"/>
                  </a:lnTo>
                  <a:lnTo>
                    <a:pt x="1870" y="486"/>
                  </a:lnTo>
                  <a:lnTo>
                    <a:pt x="1868" y="484"/>
                  </a:lnTo>
                  <a:lnTo>
                    <a:pt x="1868" y="484"/>
                  </a:lnTo>
                  <a:lnTo>
                    <a:pt x="1868" y="482"/>
                  </a:lnTo>
                  <a:lnTo>
                    <a:pt x="1868" y="482"/>
                  </a:lnTo>
                  <a:lnTo>
                    <a:pt x="1868" y="482"/>
                  </a:lnTo>
                  <a:lnTo>
                    <a:pt x="1868" y="482"/>
                  </a:lnTo>
                  <a:lnTo>
                    <a:pt x="1866" y="480"/>
                  </a:lnTo>
                  <a:lnTo>
                    <a:pt x="1866" y="480"/>
                  </a:lnTo>
                  <a:lnTo>
                    <a:pt x="1866" y="480"/>
                  </a:lnTo>
                  <a:lnTo>
                    <a:pt x="1862" y="478"/>
                  </a:lnTo>
                  <a:lnTo>
                    <a:pt x="1862" y="478"/>
                  </a:lnTo>
                  <a:lnTo>
                    <a:pt x="1862" y="478"/>
                  </a:lnTo>
                  <a:lnTo>
                    <a:pt x="1858" y="478"/>
                  </a:lnTo>
                  <a:lnTo>
                    <a:pt x="1858" y="478"/>
                  </a:lnTo>
                  <a:lnTo>
                    <a:pt x="1858" y="478"/>
                  </a:lnTo>
                  <a:lnTo>
                    <a:pt x="1854" y="478"/>
                  </a:lnTo>
                  <a:lnTo>
                    <a:pt x="1852" y="480"/>
                  </a:lnTo>
                  <a:lnTo>
                    <a:pt x="1852" y="480"/>
                  </a:lnTo>
                  <a:lnTo>
                    <a:pt x="1852" y="480"/>
                  </a:lnTo>
                  <a:lnTo>
                    <a:pt x="1850" y="480"/>
                  </a:lnTo>
                  <a:lnTo>
                    <a:pt x="1850" y="480"/>
                  </a:lnTo>
                  <a:lnTo>
                    <a:pt x="1850" y="480"/>
                  </a:lnTo>
                  <a:lnTo>
                    <a:pt x="1848" y="482"/>
                  </a:lnTo>
                  <a:lnTo>
                    <a:pt x="1846" y="484"/>
                  </a:lnTo>
                  <a:lnTo>
                    <a:pt x="1846" y="484"/>
                  </a:lnTo>
                  <a:lnTo>
                    <a:pt x="1844" y="484"/>
                  </a:lnTo>
                  <a:lnTo>
                    <a:pt x="1844" y="482"/>
                  </a:lnTo>
                  <a:lnTo>
                    <a:pt x="1842" y="480"/>
                  </a:lnTo>
                  <a:lnTo>
                    <a:pt x="1842" y="478"/>
                  </a:lnTo>
                  <a:lnTo>
                    <a:pt x="1840" y="476"/>
                  </a:lnTo>
                  <a:lnTo>
                    <a:pt x="1840" y="476"/>
                  </a:lnTo>
                  <a:lnTo>
                    <a:pt x="1840" y="476"/>
                  </a:lnTo>
                  <a:lnTo>
                    <a:pt x="1840" y="476"/>
                  </a:lnTo>
                  <a:lnTo>
                    <a:pt x="1840" y="476"/>
                  </a:lnTo>
                  <a:lnTo>
                    <a:pt x="1836" y="476"/>
                  </a:lnTo>
                  <a:lnTo>
                    <a:pt x="1836" y="476"/>
                  </a:lnTo>
                  <a:lnTo>
                    <a:pt x="1836" y="476"/>
                  </a:lnTo>
                  <a:lnTo>
                    <a:pt x="1834" y="478"/>
                  </a:lnTo>
                  <a:lnTo>
                    <a:pt x="1834" y="478"/>
                  </a:lnTo>
                  <a:lnTo>
                    <a:pt x="1834" y="478"/>
                  </a:lnTo>
                  <a:lnTo>
                    <a:pt x="1834" y="478"/>
                  </a:lnTo>
                  <a:lnTo>
                    <a:pt x="1834" y="480"/>
                  </a:lnTo>
                  <a:lnTo>
                    <a:pt x="1832" y="482"/>
                  </a:lnTo>
                  <a:lnTo>
                    <a:pt x="1832" y="486"/>
                  </a:lnTo>
                  <a:lnTo>
                    <a:pt x="1832" y="488"/>
                  </a:lnTo>
                  <a:lnTo>
                    <a:pt x="1832" y="490"/>
                  </a:lnTo>
                  <a:lnTo>
                    <a:pt x="1832" y="492"/>
                  </a:lnTo>
                  <a:lnTo>
                    <a:pt x="1832" y="494"/>
                  </a:lnTo>
                  <a:lnTo>
                    <a:pt x="1832" y="494"/>
                  </a:lnTo>
                  <a:lnTo>
                    <a:pt x="1830" y="494"/>
                  </a:lnTo>
                  <a:lnTo>
                    <a:pt x="1830" y="496"/>
                  </a:lnTo>
                  <a:lnTo>
                    <a:pt x="1830" y="496"/>
                  </a:lnTo>
                  <a:lnTo>
                    <a:pt x="1830" y="496"/>
                  </a:lnTo>
                  <a:lnTo>
                    <a:pt x="1832" y="498"/>
                  </a:lnTo>
                  <a:lnTo>
                    <a:pt x="1832" y="498"/>
                  </a:lnTo>
                  <a:lnTo>
                    <a:pt x="1832" y="498"/>
                  </a:lnTo>
                  <a:lnTo>
                    <a:pt x="1832" y="498"/>
                  </a:lnTo>
                  <a:close/>
                  <a:moveTo>
                    <a:pt x="1758" y="584"/>
                  </a:moveTo>
                  <a:lnTo>
                    <a:pt x="1758" y="584"/>
                  </a:lnTo>
                  <a:lnTo>
                    <a:pt x="1756" y="586"/>
                  </a:lnTo>
                  <a:lnTo>
                    <a:pt x="1752" y="586"/>
                  </a:lnTo>
                  <a:lnTo>
                    <a:pt x="1750" y="586"/>
                  </a:lnTo>
                  <a:lnTo>
                    <a:pt x="1748" y="586"/>
                  </a:lnTo>
                  <a:lnTo>
                    <a:pt x="1746" y="586"/>
                  </a:lnTo>
                  <a:lnTo>
                    <a:pt x="1746" y="586"/>
                  </a:lnTo>
                  <a:lnTo>
                    <a:pt x="1744" y="588"/>
                  </a:lnTo>
                  <a:lnTo>
                    <a:pt x="1744" y="588"/>
                  </a:lnTo>
                  <a:lnTo>
                    <a:pt x="1744" y="588"/>
                  </a:lnTo>
                  <a:lnTo>
                    <a:pt x="1744" y="590"/>
                  </a:lnTo>
                  <a:lnTo>
                    <a:pt x="1744" y="590"/>
                  </a:lnTo>
                  <a:lnTo>
                    <a:pt x="1746" y="592"/>
                  </a:lnTo>
                  <a:lnTo>
                    <a:pt x="1746" y="592"/>
                  </a:lnTo>
                  <a:lnTo>
                    <a:pt x="1746" y="592"/>
                  </a:lnTo>
                  <a:lnTo>
                    <a:pt x="1746" y="592"/>
                  </a:lnTo>
                  <a:lnTo>
                    <a:pt x="1748" y="592"/>
                  </a:lnTo>
                  <a:lnTo>
                    <a:pt x="1750" y="594"/>
                  </a:lnTo>
                  <a:lnTo>
                    <a:pt x="1754" y="594"/>
                  </a:lnTo>
                  <a:lnTo>
                    <a:pt x="1758" y="594"/>
                  </a:lnTo>
                  <a:lnTo>
                    <a:pt x="1760" y="594"/>
                  </a:lnTo>
                  <a:lnTo>
                    <a:pt x="1762" y="594"/>
                  </a:lnTo>
                  <a:lnTo>
                    <a:pt x="1764" y="596"/>
                  </a:lnTo>
                  <a:lnTo>
                    <a:pt x="1766" y="596"/>
                  </a:lnTo>
                  <a:lnTo>
                    <a:pt x="1768" y="600"/>
                  </a:lnTo>
                  <a:lnTo>
                    <a:pt x="1772" y="602"/>
                  </a:lnTo>
                  <a:lnTo>
                    <a:pt x="1772" y="602"/>
                  </a:lnTo>
                  <a:lnTo>
                    <a:pt x="1772" y="602"/>
                  </a:lnTo>
                  <a:lnTo>
                    <a:pt x="1774" y="604"/>
                  </a:lnTo>
                  <a:lnTo>
                    <a:pt x="1774" y="604"/>
                  </a:lnTo>
                  <a:lnTo>
                    <a:pt x="1776" y="604"/>
                  </a:lnTo>
                  <a:lnTo>
                    <a:pt x="1778" y="604"/>
                  </a:lnTo>
                  <a:lnTo>
                    <a:pt x="1778" y="604"/>
                  </a:lnTo>
                  <a:lnTo>
                    <a:pt x="1778" y="604"/>
                  </a:lnTo>
                  <a:lnTo>
                    <a:pt x="1780" y="604"/>
                  </a:lnTo>
                  <a:lnTo>
                    <a:pt x="1784" y="606"/>
                  </a:lnTo>
                  <a:lnTo>
                    <a:pt x="1790" y="606"/>
                  </a:lnTo>
                  <a:lnTo>
                    <a:pt x="1794" y="604"/>
                  </a:lnTo>
                  <a:lnTo>
                    <a:pt x="1798" y="604"/>
                  </a:lnTo>
                  <a:lnTo>
                    <a:pt x="1798" y="604"/>
                  </a:lnTo>
                  <a:lnTo>
                    <a:pt x="1798" y="604"/>
                  </a:lnTo>
                  <a:lnTo>
                    <a:pt x="1800" y="602"/>
                  </a:lnTo>
                  <a:lnTo>
                    <a:pt x="1800" y="602"/>
                  </a:lnTo>
                  <a:lnTo>
                    <a:pt x="1800" y="602"/>
                  </a:lnTo>
                  <a:lnTo>
                    <a:pt x="1802" y="600"/>
                  </a:lnTo>
                  <a:lnTo>
                    <a:pt x="1802" y="600"/>
                  </a:lnTo>
                  <a:lnTo>
                    <a:pt x="1802" y="600"/>
                  </a:lnTo>
                  <a:lnTo>
                    <a:pt x="1804" y="598"/>
                  </a:lnTo>
                  <a:lnTo>
                    <a:pt x="1804" y="598"/>
                  </a:lnTo>
                  <a:lnTo>
                    <a:pt x="1804" y="596"/>
                  </a:lnTo>
                  <a:lnTo>
                    <a:pt x="1802" y="594"/>
                  </a:lnTo>
                  <a:lnTo>
                    <a:pt x="1802" y="594"/>
                  </a:lnTo>
                  <a:lnTo>
                    <a:pt x="1802" y="594"/>
                  </a:lnTo>
                  <a:lnTo>
                    <a:pt x="1802" y="592"/>
                  </a:lnTo>
                  <a:lnTo>
                    <a:pt x="1800" y="588"/>
                  </a:lnTo>
                  <a:lnTo>
                    <a:pt x="1796" y="582"/>
                  </a:lnTo>
                  <a:lnTo>
                    <a:pt x="1796" y="580"/>
                  </a:lnTo>
                  <a:lnTo>
                    <a:pt x="1794" y="578"/>
                  </a:lnTo>
                  <a:lnTo>
                    <a:pt x="1792" y="574"/>
                  </a:lnTo>
                  <a:lnTo>
                    <a:pt x="1792" y="572"/>
                  </a:lnTo>
                  <a:lnTo>
                    <a:pt x="1790" y="570"/>
                  </a:lnTo>
                  <a:lnTo>
                    <a:pt x="1788" y="568"/>
                  </a:lnTo>
                  <a:lnTo>
                    <a:pt x="1786" y="566"/>
                  </a:lnTo>
                  <a:lnTo>
                    <a:pt x="1784" y="564"/>
                  </a:lnTo>
                  <a:lnTo>
                    <a:pt x="1784" y="564"/>
                  </a:lnTo>
                  <a:lnTo>
                    <a:pt x="1784" y="564"/>
                  </a:lnTo>
                  <a:lnTo>
                    <a:pt x="1780" y="562"/>
                  </a:lnTo>
                  <a:lnTo>
                    <a:pt x="1780" y="562"/>
                  </a:lnTo>
                  <a:lnTo>
                    <a:pt x="1780" y="562"/>
                  </a:lnTo>
                  <a:lnTo>
                    <a:pt x="1778" y="562"/>
                  </a:lnTo>
                  <a:lnTo>
                    <a:pt x="1778" y="562"/>
                  </a:lnTo>
                  <a:lnTo>
                    <a:pt x="1776" y="562"/>
                  </a:lnTo>
                  <a:lnTo>
                    <a:pt x="1776" y="562"/>
                  </a:lnTo>
                  <a:lnTo>
                    <a:pt x="1774" y="562"/>
                  </a:lnTo>
                  <a:lnTo>
                    <a:pt x="1770" y="564"/>
                  </a:lnTo>
                  <a:lnTo>
                    <a:pt x="1770" y="564"/>
                  </a:lnTo>
                  <a:lnTo>
                    <a:pt x="1768" y="564"/>
                  </a:lnTo>
                  <a:lnTo>
                    <a:pt x="1764" y="566"/>
                  </a:lnTo>
                  <a:lnTo>
                    <a:pt x="1764" y="566"/>
                  </a:lnTo>
                  <a:lnTo>
                    <a:pt x="1764" y="566"/>
                  </a:lnTo>
                  <a:lnTo>
                    <a:pt x="1762" y="566"/>
                  </a:lnTo>
                  <a:lnTo>
                    <a:pt x="1762" y="566"/>
                  </a:lnTo>
                  <a:lnTo>
                    <a:pt x="1762" y="566"/>
                  </a:lnTo>
                  <a:lnTo>
                    <a:pt x="1760" y="568"/>
                  </a:lnTo>
                  <a:lnTo>
                    <a:pt x="1760" y="568"/>
                  </a:lnTo>
                  <a:lnTo>
                    <a:pt x="1760" y="568"/>
                  </a:lnTo>
                  <a:lnTo>
                    <a:pt x="1760" y="570"/>
                  </a:lnTo>
                  <a:lnTo>
                    <a:pt x="1760" y="570"/>
                  </a:lnTo>
                  <a:lnTo>
                    <a:pt x="1758" y="572"/>
                  </a:lnTo>
                  <a:lnTo>
                    <a:pt x="1758" y="574"/>
                  </a:lnTo>
                  <a:lnTo>
                    <a:pt x="1758" y="574"/>
                  </a:lnTo>
                  <a:lnTo>
                    <a:pt x="1758" y="574"/>
                  </a:lnTo>
                  <a:lnTo>
                    <a:pt x="1758" y="578"/>
                  </a:lnTo>
                  <a:lnTo>
                    <a:pt x="1758" y="584"/>
                  </a:lnTo>
                  <a:lnTo>
                    <a:pt x="1758" y="582"/>
                  </a:lnTo>
                  <a:lnTo>
                    <a:pt x="1758" y="584"/>
                  </a:lnTo>
                  <a:lnTo>
                    <a:pt x="1758" y="584"/>
                  </a:lnTo>
                  <a:close/>
                  <a:moveTo>
                    <a:pt x="1022" y="72"/>
                  </a:moveTo>
                  <a:lnTo>
                    <a:pt x="1024" y="74"/>
                  </a:lnTo>
                  <a:lnTo>
                    <a:pt x="1024" y="74"/>
                  </a:lnTo>
                  <a:lnTo>
                    <a:pt x="1024" y="74"/>
                  </a:lnTo>
                  <a:lnTo>
                    <a:pt x="1024" y="78"/>
                  </a:lnTo>
                  <a:lnTo>
                    <a:pt x="1026" y="80"/>
                  </a:lnTo>
                  <a:lnTo>
                    <a:pt x="1026" y="80"/>
                  </a:lnTo>
                  <a:lnTo>
                    <a:pt x="1026" y="80"/>
                  </a:lnTo>
                  <a:lnTo>
                    <a:pt x="1028" y="82"/>
                  </a:lnTo>
                  <a:lnTo>
                    <a:pt x="1028" y="82"/>
                  </a:lnTo>
                  <a:lnTo>
                    <a:pt x="1028" y="82"/>
                  </a:lnTo>
                  <a:lnTo>
                    <a:pt x="1032" y="84"/>
                  </a:lnTo>
                  <a:lnTo>
                    <a:pt x="1032" y="84"/>
                  </a:lnTo>
                  <a:lnTo>
                    <a:pt x="1032" y="84"/>
                  </a:lnTo>
                  <a:lnTo>
                    <a:pt x="1034" y="86"/>
                  </a:lnTo>
                  <a:lnTo>
                    <a:pt x="1034" y="86"/>
                  </a:lnTo>
                  <a:lnTo>
                    <a:pt x="1034" y="86"/>
                  </a:lnTo>
                  <a:lnTo>
                    <a:pt x="1036" y="86"/>
                  </a:lnTo>
                  <a:lnTo>
                    <a:pt x="1036" y="86"/>
                  </a:lnTo>
                  <a:lnTo>
                    <a:pt x="1038" y="88"/>
                  </a:lnTo>
                  <a:lnTo>
                    <a:pt x="1040" y="86"/>
                  </a:lnTo>
                  <a:lnTo>
                    <a:pt x="1044" y="86"/>
                  </a:lnTo>
                  <a:lnTo>
                    <a:pt x="1044" y="86"/>
                  </a:lnTo>
                  <a:lnTo>
                    <a:pt x="1044" y="86"/>
                  </a:lnTo>
                  <a:lnTo>
                    <a:pt x="1048" y="86"/>
                  </a:lnTo>
                  <a:lnTo>
                    <a:pt x="1048" y="86"/>
                  </a:lnTo>
                  <a:lnTo>
                    <a:pt x="1048" y="86"/>
                  </a:lnTo>
                  <a:lnTo>
                    <a:pt x="1050" y="84"/>
                  </a:lnTo>
                  <a:lnTo>
                    <a:pt x="1050" y="84"/>
                  </a:lnTo>
                  <a:lnTo>
                    <a:pt x="1050" y="84"/>
                  </a:lnTo>
                  <a:lnTo>
                    <a:pt x="1052" y="84"/>
                  </a:lnTo>
                  <a:lnTo>
                    <a:pt x="1052" y="84"/>
                  </a:lnTo>
                  <a:lnTo>
                    <a:pt x="1052" y="82"/>
                  </a:lnTo>
                  <a:lnTo>
                    <a:pt x="1052" y="80"/>
                  </a:lnTo>
                  <a:lnTo>
                    <a:pt x="1054" y="80"/>
                  </a:lnTo>
                  <a:lnTo>
                    <a:pt x="1054" y="80"/>
                  </a:lnTo>
                  <a:lnTo>
                    <a:pt x="1054" y="78"/>
                  </a:lnTo>
                  <a:lnTo>
                    <a:pt x="1054" y="74"/>
                  </a:lnTo>
                  <a:lnTo>
                    <a:pt x="1054" y="74"/>
                  </a:lnTo>
                  <a:lnTo>
                    <a:pt x="1054" y="72"/>
                  </a:lnTo>
                  <a:lnTo>
                    <a:pt x="1054" y="72"/>
                  </a:lnTo>
                  <a:lnTo>
                    <a:pt x="1054" y="72"/>
                  </a:lnTo>
                  <a:lnTo>
                    <a:pt x="1054" y="70"/>
                  </a:lnTo>
                  <a:lnTo>
                    <a:pt x="1054" y="70"/>
                  </a:lnTo>
                  <a:lnTo>
                    <a:pt x="1054" y="68"/>
                  </a:lnTo>
                  <a:lnTo>
                    <a:pt x="1052" y="66"/>
                  </a:lnTo>
                  <a:lnTo>
                    <a:pt x="1052" y="66"/>
                  </a:lnTo>
                  <a:lnTo>
                    <a:pt x="1052" y="66"/>
                  </a:lnTo>
                  <a:lnTo>
                    <a:pt x="1052" y="64"/>
                  </a:lnTo>
                  <a:lnTo>
                    <a:pt x="1052" y="64"/>
                  </a:lnTo>
                  <a:lnTo>
                    <a:pt x="1050" y="64"/>
                  </a:lnTo>
                  <a:lnTo>
                    <a:pt x="1048" y="64"/>
                  </a:lnTo>
                  <a:lnTo>
                    <a:pt x="1048" y="64"/>
                  </a:lnTo>
                  <a:lnTo>
                    <a:pt x="1048" y="64"/>
                  </a:lnTo>
                  <a:lnTo>
                    <a:pt x="1044" y="64"/>
                  </a:lnTo>
                  <a:lnTo>
                    <a:pt x="1042" y="64"/>
                  </a:lnTo>
                  <a:lnTo>
                    <a:pt x="1038" y="64"/>
                  </a:lnTo>
                  <a:lnTo>
                    <a:pt x="1034" y="64"/>
                  </a:lnTo>
                  <a:lnTo>
                    <a:pt x="1030" y="64"/>
                  </a:lnTo>
                  <a:lnTo>
                    <a:pt x="1028" y="64"/>
                  </a:lnTo>
                  <a:lnTo>
                    <a:pt x="1028" y="64"/>
                  </a:lnTo>
                  <a:lnTo>
                    <a:pt x="1028" y="64"/>
                  </a:lnTo>
                  <a:lnTo>
                    <a:pt x="1026" y="66"/>
                  </a:lnTo>
                  <a:lnTo>
                    <a:pt x="1026" y="66"/>
                  </a:lnTo>
                  <a:lnTo>
                    <a:pt x="1024" y="66"/>
                  </a:lnTo>
                  <a:lnTo>
                    <a:pt x="1024" y="66"/>
                  </a:lnTo>
                  <a:lnTo>
                    <a:pt x="1024" y="66"/>
                  </a:lnTo>
                  <a:lnTo>
                    <a:pt x="1024" y="68"/>
                  </a:lnTo>
                  <a:lnTo>
                    <a:pt x="1024" y="70"/>
                  </a:lnTo>
                  <a:lnTo>
                    <a:pt x="1024" y="70"/>
                  </a:lnTo>
                  <a:lnTo>
                    <a:pt x="1022" y="70"/>
                  </a:lnTo>
                  <a:lnTo>
                    <a:pt x="1022" y="72"/>
                  </a:lnTo>
                  <a:lnTo>
                    <a:pt x="1022" y="72"/>
                  </a:lnTo>
                  <a:close/>
                  <a:moveTo>
                    <a:pt x="1050" y="140"/>
                  </a:moveTo>
                  <a:lnTo>
                    <a:pt x="1048" y="142"/>
                  </a:lnTo>
                  <a:lnTo>
                    <a:pt x="1048" y="144"/>
                  </a:lnTo>
                  <a:lnTo>
                    <a:pt x="1048" y="144"/>
                  </a:lnTo>
                  <a:lnTo>
                    <a:pt x="1046" y="146"/>
                  </a:lnTo>
                  <a:lnTo>
                    <a:pt x="1046" y="148"/>
                  </a:lnTo>
                  <a:lnTo>
                    <a:pt x="1046" y="148"/>
                  </a:lnTo>
                  <a:lnTo>
                    <a:pt x="1046" y="148"/>
                  </a:lnTo>
                  <a:lnTo>
                    <a:pt x="1046" y="150"/>
                  </a:lnTo>
                  <a:lnTo>
                    <a:pt x="1046" y="150"/>
                  </a:lnTo>
                  <a:lnTo>
                    <a:pt x="1048" y="152"/>
                  </a:lnTo>
                  <a:lnTo>
                    <a:pt x="1048" y="152"/>
                  </a:lnTo>
                  <a:lnTo>
                    <a:pt x="1048" y="152"/>
                  </a:lnTo>
                  <a:lnTo>
                    <a:pt x="1048" y="154"/>
                  </a:lnTo>
                  <a:lnTo>
                    <a:pt x="1050" y="154"/>
                  </a:lnTo>
                  <a:lnTo>
                    <a:pt x="1050" y="154"/>
                  </a:lnTo>
                  <a:lnTo>
                    <a:pt x="1050" y="154"/>
                  </a:lnTo>
                  <a:lnTo>
                    <a:pt x="1052" y="156"/>
                  </a:lnTo>
                  <a:lnTo>
                    <a:pt x="1056" y="158"/>
                  </a:lnTo>
                  <a:lnTo>
                    <a:pt x="1058" y="158"/>
                  </a:lnTo>
                  <a:lnTo>
                    <a:pt x="1060" y="160"/>
                  </a:lnTo>
                  <a:lnTo>
                    <a:pt x="1064" y="164"/>
                  </a:lnTo>
                  <a:lnTo>
                    <a:pt x="1070" y="168"/>
                  </a:lnTo>
                  <a:lnTo>
                    <a:pt x="1074" y="174"/>
                  </a:lnTo>
                  <a:lnTo>
                    <a:pt x="1078" y="176"/>
                  </a:lnTo>
                  <a:lnTo>
                    <a:pt x="1076" y="178"/>
                  </a:lnTo>
                  <a:lnTo>
                    <a:pt x="1074" y="180"/>
                  </a:lnTo>
                  <a:lnTo>
                    <a:pt x="1074" y="182"/>
                  </a:lnTo>
                  <a:lnTo>
                    <a:pt x="1072" y="184"/>
                  </a:lnTo>
                  <a:lnTo>
                    <a:pt x="1072" y="184"/>
                  </a:lnTo>
                  <a:lnTo>
                    <a:pt x="1070" y="186"/>
                  </a:lnTo>
                  <a:lnTo>
                    <a:pt x="1068" y="188"/>
                  </a:lnTo>
                  <a:lnTo>
                    <a:pt x="1068" y="188"/>
                  </a:lnTo>
                  <a:lnTo>
                    <a:pt x="1068" y="190"/>
                  </a:lnTo>
                  <a:lnTo>
                    <a:pt x="1068" y="190"/>
                  </a:lnTo>
                  <a:lnTo>
                    <a:pt x="1062" y="166"/>
                  </a:lnTo>
                  <a:lnTo>
                    <a:pt x="1062" y="162"/>
                  </a:lnTo>
                  <a:lnTo>
                    <a:pt x="1058" y="162"/>
                  </a:lnTo>
                  <a:lnTo>
                    <a:pt x="1052" y="162"/>
                  </a:lnTo>
                  <a:lnTo>
                    <a:pt x="1048" y="162"/>
                  </a:lnTo>
                  <a:lnTo>
                    <a:pt x="1048" y="162"/>
                  </a:lnTo>
                  <a:lnTo>
                    <a:pt x="1048" y="162"/>
                  </a:lnTo>
                  <a:lnTo>
                    <a:pt x="1046" y="164"/>
                  </a:lnTo>
                  <a:lnTo>
                    <a:pt x="1046" y="164"/>
                  </a:lnTo>
                  <a:lnTo>
                    <a:pt x="1044" y="164"/>
                  </a:lnTo>
                  <a:lnTo>
                    <a:pt x="1044" y="164"/>
                  </a:lnTo>
                  <a:lnTo>
                    <a:pt x="1044" y="164"/>
                  </a:lnTo>
                  <a:lnTo>
                    <a:pt x="1042" y="166"/>
                  </a:lnTo>
                  <a:lnTo>
                    <a:pt x="1042" y="166"/>
                  </a:lnTo>
                  <a:lnTo>
                    <a:pt x="1042" y="166"/>
                  </a:lnTo>
                  <a:lnTo>
                    <a:pt x="1042" y="168"/>
                  </a:lnTo>
                  <a:lnTo>
                    <a:pt x="1040" y="170"/>
                  </a:lnTo>
                  <a:lnTo>
                    <a:pt x="1040" y="172"/>
                  </a:lnTo>
                  <a:lnTo>
                    <a:pt x="1038" y="176"/>
                  </a:lnTo>
                  <a:lnTo>
                    <a:pt x="1038" y="178"/>
                  </a:lnTo>
                  <a:lnTo>
                    <a:pt x="1038" y="180"/>
                  </a:lnTo>
                  <a:lnTo>
                    <a:pt x="1038" y="180"/>
                  </a:lnTo>
                  <a:lnTo>
                    <a:pt x="1038" y="180"/>
                  </a:lnTo>
                  <a:lnTo>
                    <a:pt x="1038" y="184"/>
                  </a:lnTo>
                  <a:lnTo>
                    <a:pt x="1038" y="184"/>
                  </a:lnTo>
                  <a:lnTo>
                    <a:pt x="1038" y="184"/>
                  </a:lnTo>
                  <a:lnTo>
                    <a:pt x="1040" y="188"/>
                  </a:lnTo>
                  <a:lnTo>
                    <a:pt x="1040" y="188"/>
                  </a:lnTo>
                  <a:lnTo>
                    <a:pt x="1040" y="188"/>
                  </a:lnTo>
                  <a:lnTo>
                    <a:pt x="1042" y="192"/>
                  </a:lnTo>
                  <a:lnTo>
                    <a:pt x="1042" y="192"/>
                  </a:lnTo>
                  <a:lnTo>
                    <a:pt x="1042" y="192"/>
                  </a:lnTo>
                  <a:lnTo>
                    <a:pt x="1042" y="194"/>
                  </a:lnTo>
                  <a:lnTo>
                    <a:pt x="1042" y="194"/>
                  </a:lnTo>
                  <a:lnTo>
                    <a:pt x="1044" y="194"/>
                  </a:lnTo>
                  <a:lnTo>
                    <a:pt x="1044" y="194"/>
                  </a:lnTo>
                  <a:lnTo>
                    <a:pt x="1044" y="194"/>
                  </a:lnTo>
                  <a:lnTo>
                    <a:pt x="1046" y="196"/>
                  </a:lnTo>
                  <a:lnTo>
                    <a:pt x="1048" y="196"/>
                  </a:lnTo>
                  <a:lnTo>
                    <a:pt x="1048" y="196"/>
                  </a:lnTo>
                  <a:lnTo>
                    <a:pt x="1048" y="196"/>
                  </a:lnTo>
                  <a:lnTo>
                    <a:pt x="1052" y="196"/>
                  </a:lnTo>
                  <a:lnTo>
                    <a:pt x="1056" y="196"/>
                  </a:lnTo>
                  <a:lnTo>
                    <a:pt x="1058" y="196"/>
                  </a:lnTo>
                  <a:lnTo>
                    <a:pt x="1064" y="198"/>
                  </a:lnTo>
                  <a:lnTo>
                    <a:pt x="1068" y="200"/>
                  </a:lnTo>
                  <a:lnTo>
                    <a:pt x="1070" y="202"/>
                  </a:lnTo>
                  <a:lnTo>
                    <a:pt x="1072" y="208"/>
                  </a:lnTo>
                  <a:lnTo>
                    <a:pt x="1072" y="210"/>
                  </a:lnTo>
                  <a:lnTo>
                    <a:pt x="1074" y="212"/>
                  </a:lnTo>
                  <a:lnTo>
                    <a:pt x="1076" y="214"/>
                  </a:lnTo>
                  <a:lnTo>
                    <a:pt x="1076" y="214"/>
                  </a:lnTo>
                  <a:lnTo>
                    <a:pt x="1076" y="214"/>
                  </a:lnTo>
                  <a:lnTo>
                    <a:pt x="1076" y="216"/>
                  </a:lnTo>
                  <a:lnTo>
                    <a:pt x="1080" y="218"/>
                  </a:lnTo>
                  <a:lnTo>
                    <a:pt x="1084" y="220"/>
                  </a:lnTo>
                  <a:lnTo>
                    <a:pt x="1084" y="222"/>
                  </a:lnTo>
                  <a:lnTo>
                    <a:pt x="1086" y="222"/>
                  </a:lnTo>
                  <a:lnTo>
                    <a:pt x="1086" y="224"/>
                  </a:lnTo>
                  <a:lnTo>
                    <a:pt x="1086" y="224"/>
                  </a:lnTo>
                  <a:lnTo>
                    <a:pt x="1086" y="228"/>
                  </a:lnTo>
                  <a:lnTo>
                    <a:pt x="1084" y="230"/>
                  </a:lnTo>
                  <a:lnTo>
                    <a:pt x="1084" y="230"/>
                  </a:lnTo>
                  <a:lnTo>
                    <a:pt x="1084" y="230"/>
                  </a:lnTo>
                  <a:lnTo>
                    <a:pt x="1086" y="234"/>
                  </a:lnTo>
                  <a:lnTo>
                    <a:pt x="1086" y="234"/>
                  </a:lnTo>
                  <a:lnTo>
                    <a:pt x="1086" y="234"/>
                  </a:lnTo>
                  <a:lnTo>
                    <a:pt x="1086" y="236"/>
                  </a:lnTo>
                  <a:lnTo>
                    <a:pt x="1086" y="238"/>
                  </a:lnTo>
                  <a:lnTo>
                    <a:pt x="1088" y="242"/>
                  </a:lnTo>
                  <a:lnTo>
                    <a:pt x="1088" y="244"/>
                  </a:lnTo>
                  <a:lnTo>
                    <a:pt x="1088" y="246"/>
                  </a:lnTo>
                  <a:lnTo>
                    <a:pt x="1088" y="246"/>
                  </a:lnTo>
                  <a:lnTo>
                    <a:pt x="1088" y="246"/>
                  </a:lnTo>
                  <a:lnTo>
                    <a:pt x="1090" y="248"/>
                  </a:lnTo>
                  <a:lnTo>
                    <a:pt x="1090" y="248"/>
                  </a:lnTo>
                  <a:lnTo>
                    <a:pt x="1090" y="248"/>
                  </a:lnTo>
                  <a:lnTo>
                    <a:pt x="1090" y="250"/>
                  </a:lnTo>
                  <a:lnTo>
                    <a:pt x="1090" y="250"/>
                  </a:lnTo>
                  <a:lnTo>
                    <a:pt x="1092" y="250"/>
                  </a:lnTo>
                  <a:lnTo>
                    <a:pt x="1094" y="250"/>
                  </a:lnTo>
                  <a:lnTo>
                    <a:pt x="1094" y="250"/>
                  </a:lnTo>
                  <a:lnTo>
                    <a:pt x="1094" y="250"/>
                  </a:lnTo>
                  <a:lnTo>
                    <a:pt x="1096" y="250"/>
                  </a:lnTo>
                  <a:lnTo>
                    <a:pt x="1096" y="250"/>
                  </a:lnTo>
                  <a:lnTo>
                    <a:pt x="1096" y="250"/>
                  </a:lnTo>
                  <a:lnTo>
                    <a:pt x="1098" y="248"/>
                  </a:lnTo>
                  <a:lnTo>
                    <a:pt x="1100" y="246"/>
                  </a:lnTo>
                  <a:lnTo>
                    <a:pt x="1100" y="246"/>
                  </a:lnTo>
                  <a:lnTo>
                    <a:pt x="1102" y="246"/>
                  </a:lnTo>
                  <a:lnTo>
                    <a:pt x="1102" y="246"/>
                  </a:lnTo>
                  <a:lnTo>
                    <a:pt x="1102" y="246"/>
                  </a:lnTo>
                  <a:lnTo>
                    <a:pt x="1104" y="248"/>
                  </a:lnTo>
                  <a:lnTo>
                    <a:pt x="1106" y="250"/>
                  </a:lnTo>
                  <a:lnTo>
                    <a:pt x="1108" y="250"/>
                  </a:lnTo>
                  <a:lnTo>
                    <a:pt x="1108" y="250"/>
                  </a:lnTo>
                  <a:lnTo>
                    <a:pt x="1108" y="250"/>
                  </a:lnTo>
                  <a:lnTo>
                    <a:pt x="1110" y="250"/>
                  </a:lnTo>
                  <a:lnTo>
                    <a:pt x="1110" y="250"/>
                  </a:lnTo>
                  <a:lnTo>
                    <a:pt x="1112" y="252"/>
                  </a:lnTo>
                  <a:lnTo>
                    <a:pt x="1114" y="252"/>
                  </a:lnTo>
                  <a:lnTo>
                    <a:pt x="1118" y="252"/>
                  </a:lnTo>
                  <a:lnTo>
                    <a:pt x="1122" y="252"/>
                  </a:lnTo>
                  <a:lnTo>
                    <a:pt x="1122" y="252"/>
                  </a:lnTo>
                  <a:lnTo>
                    <a:pt x="1122" y="252"/>
                  </a:lnTo>
                  <a:lnTo>
                    <a:pt x="1124" y="252"/>
                  </a:lnTo>
                  <a:lnTo>
                    <a:pt x="1124" y="254"/>
                  </a:lnTo>
                  <a:lnTo>
                    <a:pt x="1124" y="258"/>
                  </a:lnTo>
                  <a:lnTo>
                    <a:pt x="1126" y="260"/>
                  </a:lnTo>
                  <a:lnTo>
                    <a:pt x="1126" y="264"/>
                  </a:lnTo>
                  <a:lnTo>
                    <a:pt x="1126" y="264"/>
                  </a:lnTo>
                  <a:lnTo>
                    <a:pt x="1126" y="264"/>
                  </a:lnTo>
                  <a:lnTo>
                    <a:pt x="1128" y="266"/>
                  </a:lnTo>
                  <a:lnTo>
                    <a:pt x="1128" y="266"/>
                  </a:lnTo>
                  <a:lnTo>
                    <a:pt x="1128" y="266"/>
                  </a:lnTo>
                  <a:lnTo>
                    <a:pt x="1130" y="268"/>
                  </a:lnTo>
                  <a:lnTo>
                    <a:pt x="1130" y="268"/>
                  </a:lnTo>
                  <a:lnTo>
                    <a:pt x="1132" y="268"/>
                  </a:lnTo>
                  <a:lnTo>
                    <a:pt x="1134" y="268"/>
                  </a:lnTo>
                  <a:lnTo>
                    <a:pt x="1134" y="268"/>
                  </a:lnTo>
                  <a:lnTo>
                    <a:pt x="1134" y="268"/>
                  </a:lnTo>
                  <a:lnTo>
                    <a:pt x="1138" y="268"/>
                  </a:lnTo>
                  <a:lnTo>
                    <a:pt x="1140" y="268"/>
                  </a:lnTo>
                  <a:lnTo>
                    <a:pt x="1144" y="268"/>
                  </a:lnTo>
                  <a:lnTo>
                    <a:pt x="1148" y="266"/>
                  </a:lnTo>
                  <a:lnTo>
                    <a:pt x="1152" y="266"/>
                  </a:lnTo>
                  <a:lnTo>
                    <a:pt x="1156" y="266"/>
                  </a:lnTo>
                  <a:lnTo>
                    <a:pt x="1158" y="264"/>
                  </a:lnTo>
                  <a:lnTo>
                    <a:pt x="1162" y="264"/>
                  </a:lnTo>
                  <a:lnTo>
                    <a:pt x="1166" y="264"/>
                  </a:lnTo>
                  <a:lnTo>
                    <a:pt x="1166" y="264"/>
                  </a:lnTo>
                  <a:lnTo>
                    <a:pt x="1166" y="264"/>
                  </a:lnTo>
                  <a:lnTo>
                    <a:pt x="1170" y="262"/>
                  </a:lnTo>
                  <a:lnTo>
                    <a:pt x="1170" y="262"/>
                  </a:lnTo>
                  <a:lnTo>
                    <a:pt x="1170" y="260"/>
                  </a:lnTo>
                  <a:lnTo>
                    <a:pt x="1170" y="260"/>
                  </a:lnTo>
                  <a:lnTo>
                    <a:pt x="1170" y="260"/>
                  </a:lnTo>
                  <a:lnTo>
                    <a:pt x="1172" y="258"/>
                  </a:lnTo>
                  <a:lnTo>
                    <a:pt x="1172" y="258"/>
                  </a:lnTo>
                  <a:lnTo>
                    <a:pt x="1172" y="258"/>
                  </a:lnTo>
                  <a:lnTo>
                    <a:pt x="1172" y="256"/>
                  </a:lnTo>
                  <a:lnTo>
                    <a:pt x="1172" y="254"/>
                  </a:lnTo>
                  <a:lnTo>
                    <a:pt x="1172" y="254"/>
                  </a:lnTo>
                  <a:lnTo>
                    <a:pt x="1172" y="254"/>
                  </a:lnTo>
                  <a:lnTo>
                    <a:pt x="1172" y="252"/>
                  </a:lnTo>
                  <a:lnTo>
                    <a:pt x="1170" y="246"/>
                  </a:lnTo>
                  <a:lnTo>
                    <a:pt x="1168" y="238"/>
                  </a:lnTo>
                  <a:lnTo>
                    <a:pt x="1168" y="236"/>
                  </a:lnTo>
                  <a:lnTo>
                    <a:pt x="1168" y="234"/>
                  </a:lnTo>
                  <a:lnTo>
                    <a:pt x="1168" y="230"/>
                  </a:lnTo>
                  <a:lnTo>
                    <a:pt x="1168" y="228"/>
                  </a:lnTo>
                  <a:lnTo>
                    <a:pt x="1168" y="220"/>
                  </a:lnTo>
                  <a:lnTo>
                    <a:pt x="1168" y="212"/>
                  </a:lnTo>
                  <a:lnTo>
                    <a:pt x="1168" y="210"/>
                  </a:lnTo>
                  <a:lnTo>
                    <a:pt x="1168" y="206"/>
                  </a:lnTo>
                  <a:lnTo>
                    <a:pt x="1170" y="202"/>
                  </a:lnTo>
                  <a:lnTo>
                    <a:pt x="1170" y="198"/>
                  </a:lnTo>
                  <a:lnTo>
                    <a:pt x="1170" y="194"/>
                  </a:lnTo>
                  <a:lnTo>
                    <a:pt x="1168" y="190"/>
                  </a:lnTo>
                  <a:lnTo>
                    <a:pt x="1168" y="186"/>
                  </a:lnTo>
                  <a:lnTo>
                    <a:pt x="1168" y="182"/>
                  </a:lnTo>
                  <a:lnTo>
                    <a:pt x="1166" y="176"/>
                  </a:lnTo>
                  <a:lnTo>
                    <a:pt x="1166" y="176"/>
                  </a:lnTo>
                  <a:lnTo>
                    <a:pt x="1166" y="176"/>
                  </a:lnTo>
                  <a:lnTo>
                    <a:pt x="1164" y="172"/>
                  </a:lnTo>
                  <a:lnTo>
                    <a:pt x="1162" y="170"/>
                  </a:lnTo>
                  <a:lnTo>
                    <a:pt x="1158" y="166"/>
                  </a:lnTo>
                  <a:lnTo>
                    <a:pt x="1158" y="164"/>
                  </a:lnTo>
                  <a:lnTo>
                    <a:pt x="1158" y="164"/>
                  </a:lnTo>
                  <a:lnTo>
                    <a:pt x="1156" y="164"/>
                  </a:lnTo>
                  <a:lnTo>
                    <a:pt x="1156" y="164"/>
                  </a:lnTo>
                  <a:lnTo>
                    <a:pt x="1156" y="164"/>
                  </a:lnTo>
                  <a:lnTo>
                    <a:pt x="1154" y="164"/>
                  </a:lnTo>
                  <a:lnTo>
                    <a:pt x="1154" y="162"/>
                  </a:lnTo>
                  <a:lnTo>
                    <a:pt x="1154" y="162"/>
                  </a:lnTo>
                  <a:lnTo>
                    <a:pt x="1152" y="162"/>
                  </a:lnTo>
                  <a:lnTo>
                    <a:pt x="1152" y="162"/>
                  </a:lnTo>
                  <a:lnTo>
                    <a:pt x="1152" y="166"/>
                  </a:lnTo>
                  <a:lnTo>
                    <a:pt x="1152" y="166"/>
                  </a:lnTo>
                  <a:lnTo>
                    <a:pt x="1152" y="166"/>
                  </a:lnTo>
                  <a:lnTo>
                    <a:pt x="1146" y="162"/>
                  </a:lnTo>
                  <a:lnTo>
                    <a:pt x="1146" y="162"/>
                  </a:lnTo>
                  <a:lnTo>
                    <a:pt x="1142" y="160"/>
                  </a:lnTo>
                  <a:lnTo>
                    <a:pt x="1138" y="158"/>
                  </a:lnTo>
                  <a:lnTo>
                    <a:pt x="1138" y="158"/>
                  </a:lnTo>
                  <a:lnTo>
                    <a:pt x="1138" y="158"/>
                  </a:lnTo>
                  <a:lnTo>
                    <a:pt x="1138" y="158"/>
                  </a:lnTo>
                  <a:lnTo>
                    <a:pt x="1130" y="152"/>
                  </a:lnTo>
                  <a:lnTo>
                    <a:pt x="1130" y="148"/>
                  </a:lnTo>
                  <a:lnTo>
                    <a:pt x="1132" y="144"/>
                  </a:lnTo>
                  <a:lnTo>
                    <a:pt x="1132" y="140"/>
                  </a:lnTo>
                  <a:lnTo>
                    <a:pt x="1132" y="140"/>
                  </a:lnTo>
                  <a:lnTo>
                    <a:pt x="1132" y="138"/>
                  </a:lnTo>
                  <a:lnTo>
                    <a:pt x="1132" y="136"/>
                  </a:lnTo>
                  <a:lnTo>
                    <a:pt x="1132" y="134"/>
                  </a:lnTo>
                  <a:lnTo>
                    <a:pt x="1130" y="132"/>
                  </a:lnTo>
                  <a:lnTo>
                    <a:pt x="1128" y="128"/>
                  </a:lnTo>
                  <a:lnTo>
                    <a:pt x="1128" y="126"/>
                  </a:lnTo>
                  <a:lnTo>
                    <a:pt x="1128" y="126"/>
                  </a:lnTo>
                  <a:lnTo>
                    <a:pt x="1130" y="126"/>
                  </a:lnTo>
                  <a:lnTo>
                    <a:pt x="1130" y="126"/>
                  </a:lnTo>
                  <a:lnTo>
                    <a:pt x="1132" y="124"/>
                  </a:lnTo>
                  <a:lnTo>
                    <a:pt x="1132" y="124"/>
                  </a:lnTo>
                  <a:lnTo>
                    <a:pt x="1134" y="122"/>
                  </a:lnTo>
                  <a:lnTo>
                    <a:pt x="1136" y="120"/>
                  </a:lnTo>
                  <a:lnTo>
                    <a:pt x="1136" y="120"/>
                  </a:lnTo>
                  <a:lnTo>
                    <a:pt x="1136" y="120"/>
                  </a:lnTo>
                  <a:lnTo>
                    <a:pt x="1138" y="120"/>
                  </a:lnTo>
                  <a:lnTo>
                    <a:pt x="1138" y="120"/>
                  </a:lnTo>
                  <a:lnTo>
                    <a:pt x="1138" y="118"/>
                  </a:lnTo>
                  <a:lnTo>
                    <a:pt x="1140" y="118"/>
                  </a:lnTo>
                  <a:lnTo>
                    <a:pt x="1140" y="118"/>
                  </a:lnTo>
                  <a:lnTo>
                    <a:pt x="1140" y="116"/>
                  </a:lnTo>
                  <a:lnTo>
                    <a:pt x="1140" y="114"/>
                  </a:lnTo>
                  <a:lnTo>
                    <a:pt x="1140" y="114"/>
                  </a:lnTo>
                  <a:lnTo>
                    <a:pt x="1140" y="114"/>
                  </a:lnTo>
                  <a:lnTo>
                    <a:pt x="1140" y="112"/>
                  </a:lnTo>
                  <a:lnTo>
                    <a:pt x="1140" y="112"/>
                  </a:lnTo>
                  <a:lnTo>
                    <a:pt x="1140" y="112"/>
                  </a:lnTo>
                  <a:lnTo>
                    <a:pt x="1138" y="108"/>
                  </a:lnTo>
                  <a:lnTo>
                    <a:pt x="1136" y="104"/>
                  </a:lnTo>
                  <a:lnTo>
                    <a:pt x="1134" y="100"/>
                  </a:lnTo>
                  <a:lnTo>
                    <a:pt x="1132" y="96"/>
                  </a:lnTo>
                  <a:lnTo>
                    <a:pt x="1130" y="94"/>
                  </a:lnTo>
                  <a:lnTo>
                    <a:pt x="1128" y="88"/>
                  </a:lnTo>
                  <a:lnTo>
                    <a:pt x="1122" y="80"/>
                  </a:lnTo>
                  <a:lnTo>
                    <a:pt x="1122" y="80"/>
                  </a:lnTo>
                  <a:lnTo>
                    <a:pt x="1120" y="78"/>
                  </a:lnTo>
                  <a:lnTo>
                    <a:pt x="1120" y="74"/>
                  </a:lnTo>
                  <a:lnTo>
                    <a:pt x="1118" y="72"/>
                  </a:lnTo>
                  <a:lnTo>
                    <a:pt x="1118" y="72"/>
                  </a:lnTo>
                  <a:lnTo>
                    <a:pt x="1118" y="72"/>
                  </a:lnTo>
                  <a:lnTo>
                    <a:pt x="1116" y="68"/>
                  </a:lnTo>
                  <a:lnTo>
                    <a:pt x="1116" y="68"/>
                  </a:lnTo>
                  <a:lnTo>
                    <a:pt x="1116" y="68"/>
                  </a:lnTo>
                  <a:lnTo>
                    <a:pt x="1116" y="66"/>
                  </a:lnTo>
                  <a:lnTo>
                    <a:pt x="1114" y="66"/>
                  </a:lnTo>
                  <a:lnTo>
                    <a:pt x="1110" y="62"/>
                  </a:lnTo>
                  <a:lnTo>
                    <a:pt x="1108" y="60"/>
                  </a:lnTo>
                  <a:lnTo>
                    <a:pt x="1106" y="60"/>
                  </a:lnTo>
                  <a:lnTo>
                    <a:pt x="1106" y="60"/>
                  </a:lnTo>
                  <a:lnTo>
                    <a:pt x="1106" y="60"/>
                  </a:lnTo>
                  <a:lnTo>
                    <a:pt x="1104" y="58"/>
                  </a:lnTo>
                  <a:lnTo>
                    <a:pt x="1104" y="58"/>
                  </a:lnTo>
                  <a:lnTo>
                    <a:pt x="1104" y="58"/>
                  </a:lnTo>
                  <a:lnTo>
                    <a:pt x="1102" y="58"/>
                  </a:lnTo>
                  <a:lnTo>
                    <a:pt x="1102" y="58"/>
                  </a:lnTo>
                  <a:lnTo>
                    <a:pt x="1100" y="58"/>
                  </a:lnTo>
                  <a:lnTo>
                    <a:pt x="1098" y="60"/>
                  </a:lnTo>
                  <a:lnTo>
                    <a:pt x="1098" y="60"/>
                  </a:lnTo>
                  <a:lnTo>
                    <a:pt x="1098" y="60"/>
                  </a:lnTo>
                  <a:lnTo>
                    <a:pt x="1096" y="62"/>
                  </a:lnTo>
                  <a:lnTo>
                    <a:pt x="1094" y="64"/>
                  </a:lnTo>
                  <a:lnTo>
                    <a:pt x="1092" y="68"/>
                  </a:lnTo>
                  <a:lnTo>
                    <a:pt x="1088" y="72"/>
                  </a:lnTo>
                  <a:lnTo>
                    <a:pt x="1086" y="74"/>
                  </a:lnTo>
                  <a:lnTo>
                    <a:pt x="1086" y="76"/>
                  </a:lnTo>
                  <a:lnTo>
                    <a:pt x="1084" y="78"/>
                  </a:lnTo>
                  <a:lnTo>
                    <a:pt x="1082" y="78"/>
                  </a:lnTo>
                  <a:lnTo>
                    <a:pt x="1078" y="80"/>
                  </a:lnTo>
                  <a:lnTo>
                    <a:pt x="1074" y="80"/>
                  </a:lnTo>
                  <a:lnTo>
                    <a:pt x="1074" y="80"/>
                  </a:lnTo>
                  <a:lnTo>
                    <a:pt x="1074" y="80"/>
                  </a:lnTo>
                  <a:lnTo>
                    <a:pt x="1072" y="82"/>
                  </a:lnTo>
                  <a:lnTo>
                    <a:pt x="1072" y="82"/>
                  </a:lnTo>
                  <a:lnTo>
                    <a:pt x="1072" y="82"/>
                  </a:lnTo>
                  <a:lnTo>
                    <a:pt x="1070" y="82"/>
                  </a:lnTo>
                  <a:lnTo>
                    <a:pt x="1070" y="82"/>
                  </a:lnTo>
                  <a:lnTo>
                    <a:pt x="1070" y="84"/>
                  </a:lnTo>
                  <a:lnTo>
                    <a:pt x="1070" y="84"/>
                  </a:lnTo>
                  <a:lnTo>
                    <a:pt x="1070" y="84"/>
                  </a:lnTo>
                  <a:lnTo>
                    <a:pt x="1068" y="86"/>
                  </a:lnTo>
                  <a:lnTo>
                    <a:pt x="1068" y="86"/>
                  </a:lnTo>
                  <a:lnTo>
                    <a:pt x="1068" y="86"/>
                  </a:lnTo>
                  <a:lnTo>
                    <a:pt x="1068" y="88"/>
                  </a:lnTo>
                  <a:lnTo>
                    <a:pt x="1068" y="90"/>
                  </a:lnTo>
                  <a:lnTo>
                    <a:pt x="1070" y="92"/>
                  </a:lnTo>
                  <a:lnTo>
                    <a:pt x="1070" y="96"/>
                  </a:lnTo>
                  <a:lnTo>
                    <a:pt x="1070" y="98"/>
                  </a:lnTo>
                  <a:lnTo>
                    <a:pt x="1070" y="100"/>
                  </a:lnTo>
                  <a:lnTo>
                    <a:pt x="1068" y="106"/>
                  </a:lnTo>
                  <a:lnTo>
                    <a:pt x="1068" y="110"/>
                  </a:lnTo>
                  <a:lnTo>
                    <a:pt x="1068" y="112"/>
                  </a:lnTo>
                  <a:lnTo>
                    <a:pt x="1068" y="114"/>
                  </a:lnTo>
                  <a:lnTo>
                    <a:pt x="1066" y="114"/>
                  </a:lnTo>
                  <a:lnTo>
                    <a:pt x="1064" y="116"/>
                  </a:lnTo>
                  <a:lnTo>
                    <a:pt x="1064" y="120"/>
                  </a:lnTo>
                  <a:lnTo>
                    <a:pt x="1062" y="124"/>
                  </a:lnTo>
                  <a:lnTo>
                    <a:pt x="1062" y="128"/>
                  </a:lnTo>
                  <a:lnTo>
                    <a:pt x="1060" y="130"/>
                  </a:lnTo>
                  <a:lnTo>
                    <a:pt x="1058" y="132"/>
                  </a:lnTo>
                  <a:lnTo>
                    <a:pt x="1054" y="136"/>
                  </a:lnTo>
                  <a:lnTo>
                    <a:pt x="1050" y="140"/>
                  </a:lnTo>
                  <a:close/>
                  <a:moveTo>
                    <a:pt x="1070" y="122"/>
                  </a:moveTo>
                  <a:lnTo>
                    <a:pt x="1070" y="118"/>
                  </a:lnTo>
                  <a:lnTo>
                    <a:pt x="1070" y="116"/>
                  </a:lnTo>
                  <a:lnTo>
                    <a:pt x="1124" y="150"/>
                  </a:lnTo>
                  <a:lnTo>
                    <a:pt x="1124" y="150"/>
                  </a:lnTo>
                  <a:lnTo>
                    <a:pt x="1122" y="154"/>
                  </a:lnTo>
                  <a:lnTo>
                    <a:pt x="1120" y="154"/>
                  </a:lnTo>
                  <a:lnTo>
                    <a:pt x="1118" y="156"/>
                  </a:lnTo>
                  <a:lnTo>
                    <a:pt x="1116" y="158"/>
                  </a:lnTo>
                  <a:lnTo>
                    <a:pt x="1112" y="158"/>
                  </a:lnTo>
                  <a:lnTo>
                    <a:pt x="1110" y="158"/>
                  </a:lnTo>
                  <a:lnTo>
                    <a:pt x="1106" y="158"/>
                  </a:lnTo>
                  <a:lnTo>
                    <a:pt x="1102" y="158"/>
                  </a:lnTo>
                  <a:lnTo>
                    <a:pt x="1098" y="158"/>
                  </a:lnTo>
                  <a:lnTo>
                    <a:pt x="1096" y="158"/>
                  </a:lnTo>
                  <a:lnTo>
                    <a:pt x="1092" y="158"/>
                  </a:lnTo>
                  <a:lnTo>
                    <a:pt x="1092" y="158"/>
                  </a:lnTo>
                  <a:lnTo>
                    <a:pt x="1092" y="158"/>
                  </a:lnTo>
                  <a:lnTo>
                    <a:pt x="1090" y="158"/>
                  </a:lnTo>
                  <a:lnTo>
                    <a:pt x="1090" y="158"/>
                  </a:lnTo>
                  <a:lnTo>
                    <a:pt x="1088" y="158"/>
                  </a:lnTo>
                  <a:lnTo>
                    <a:pt x="1086" y="160"/>
                  </a:lnTo>
                  <a:lnTo>
                    <a:pt x="1086" y="160"/>
                  </a:lnTo>
                  <a:lnTo>
                    <a:pt x="1086" y="160"/>
                  </a:lnTo>
                  <a:lnTo>
                    <a:pt x="1086" y="162"/>
                  </a:lnTo>
                  <a:lnTo>
                    <a:pt x="1086" y="162"/>
                  </a:lnTo>
                  <a:lnTo>
                    <a:pt x="1084" y="162"/>
                  </a:lnTo>
                  <a:lnTo>
                    <a:pt x="1084" y="164"/>
                  </a:lnTo>
                  <a:lnTo>
                    <a:pt x="1084" y="164"/>
                  </a:lnTo>
                  <a:lnTo>
                    <a:pt x="1082" y="164"/>
                  </a:lnTo>
                  <a:lnTo>
                    <a:pt x="1082" y="166"/>
                  </a:lnTo>
                  <a:lnTo>
                    <a:pt x="1080" y="168"/>
                  </a:lnTo>
                  <a:lnTo>
                    <a:pt x="1070" y="122"/>
                  </a:lnTo>
                  <a:lnTo>
                    <a:pt x="1070" y="122"/>
                  </a:lnTo>
                  <a:close/>
                  <a:moveTo>
                    <a:pt x="1170" y="286"/>
                  </a:moveTo>
                  <a:lnTo>
                    <a:pt x="1170" y="286"/>
                  </a:lnTo>
                  <a:lnTo>
                    <a:pt x="1170" y="286"/>
                  </a:lnTo>
                  <a:lnTo>
                    <a:pt x="1170" y="290"/>
                  </a:lnTo>
                  <a:lnTo>
                    <a:pt x="1170" y="290"/>
                  </a:lnTo>
                  <a:lnTo>
                    <a:pt x="1170" y="290"/>
                  </a:lnTo>
                  <a:lnTo>
                    <a:pt x="1170" y="292"/>
                  </a:lnTo>
                  <a:lnTo>
                    <a:pt x="1170" y="296"/>
                  </a:lnTo>
                  <a:lnTo>
                    <a:pt x="1170" y="298"/>
                  </a:lnTo>
                  <a:lnTo>
                    <a:pt x="1168" y="300"/>
                  </a:lnTo>
                  <a:lnTo>
                    <a:pt x="1168" y="304"/>
                  </a:lnTo>
                  <a:lnTo>
                    <a:pt x="1166" y="308"/>
                  </a:lnTo>
                  <a:lnTo>
                    <a:pt x="1164" y="312"/>
                  </a:lnTo>
                  <a:lnTo>
                    <a:pt x="1162" y="314"/>
                  </a:lnTo>
                  <a:lnTo>
                    <a:pt x="1162" y="316"/>
                  </a:lnTo>
                  <a:lnTo>
                    <a:pt x="1162" y="316"/>
                  </a:lnTo>
                  <a:lnTo>
                    <a:pt x="1162" y="316"/>
                  </a:lnTo>
                  <a:lnTo>
                    <a:pt x="1162" y="322"/>
                  </a:lnTo>
                  <a:lnTo>
                    <a:pt x="1162" y="324"/>
                  </a:lnTo>
                  <a:lnTo>
                    <a:pt x="1164" y="326"/>
                  </a:lnTo>
                  <a:lnTo>
                    <a:pt x="1164" y="326"/>
                  </a:lnTo>
                  <a:lnTo>
                    <a:pt x="1164" y="328"/>
                  </a:lnTo>
                  <a:lnTo>
                    <a:pt x="1164" y="328"/>
                  </a:lnTo>
                  <a:lnTo>
                    <a:pt x="1164" y="328"/>
                  </a:lnTo>
                  <a:lnTo>
                    <a:pt x="1164" y="330"/>
                  </a:lnTo>
                  <a:lnTo>
                    <a:pt x="1166" y="330"/>
                  </a:lnTo>
                  <a:lnTo>
                    <a:pt x="1166" y="330"/>
                  </a:lnTo>
                  <a:lnTo>
                    <a:pt x="1168" y="330"/>
                  </a:lnTo>
                  <a:lnTo>
                    <a:pt x="1170" y="330"/>
                  </a:lnTo>
                  <a:lnTo>
                    <a:pt x="1170" y="330"/>
                  </a:lnTo>
                  <a:lnTo>
                    <a:pt x="1170" y="330"/>
                  </a:lnTo>
                  <a:lnTo>
                    <a:pt x="1172" y="328"/>
                  </a:lnTo>
                  <a:lnTo>
                    <a:pt x="1174" y="326"/>
                  </a:lnTo>
                  <a:lnTo>
                    <a:pt x="1176" y="324"/>
                  </a:lnTo>
                  <a:lnTo>
                    <a:pt x="1180" y="320"/>
                  </a:lnTo>
                  <a:lnTo>
                    <a:pt x="1180" y="318"/>
                  </a:lnTo>
                  <a:lnTo>
                    <a:pt x="1182" y="318"/>
                  </a:lnTo>
                  <a:lnTo>
                    <a:pt x="1190" y="314"/>
                  </a:lnTo>
                  <a:lnTo>
                    <a:pt x="1196" y="310"/>
                  </a:lnTo>
                  <a:lnTo>
                    <a:pt x="1200" y="308"/>
                  </a:lnTo>
                  <a:lnTo>
                    <a:pt x="1202" y="308"/>
                  </a:lnTo>
                  <a:lnTo>
                    <a:pt x="1206" y="308"/>
                  </a:lnTo>
                  <a:lnTo>
                    <a:pt x="1208" y="308"/>
                  </a:lnTo>
                  <a:lnTo>
                    <a:pt x="1212" y="306"/>
                  </a:lnTo>
                  <a:lnTo>
                    <a:pt x="1216" y="308"/>
                  </a:lnTo>
                  <a:lnTo>
                    <a:pt x="1220" y="308"/>
                  </a:lnTo>
                  <a:lnTo>
                    <a:pt x="1224" y="308"/>
                  </a:lnTo>
                  <a:lnTo>
                    <a:pt x="1228" y="306"/>
                  </a:lnTo>
                  <a:lnTo>
                    <a:pt x="1232" y="306"/>
                  </a:lnTo>
                  <a:lnTo>
                    <a:pt x="1236" y="306"/>
                  </a:lnTo>
                  <a:lnTo>
                    <a:pt x="1238" y="306"/>
                  </a:lnTo>
                  <a:lnTo>
                    <a:pt x="1238" y="306"/>
                  </a:lnTo>
                  <a:lnTo>
                    <a:pt x="1238" y="306"/>
                  </a:lnTo>
                  <a:lnTo>
                    <a:pt x="1240" y="304"/>
                  </a:lnTo>
                  <a:lnTo>
                    <a:pt x="1240" y="304"/>
                  </a:lnTo>
                  <a:lnTo>
                    <a:pt x="1240" y="304"/>
                  </a:lnTo>
                  <a:lnTo>
                    <a:pt x="1242" y="302"/>
                  </a:lnTo>
                  <a:lnTo>
                    <a:pt x="1242" y="302"/>
                  </a:lnTo>
                  <a:lnTo>
                    <a:pt x="1242" y="302"/>
                  </a:lnTo>
                  <a:lnTo>
                    <a:pt x="1244" y="300"/>
                  </a:lnTo>
                  <a:lnTo>
                    <a:pt x="1246" y="296"/>
                  </a:lnTo>
                  <a:lnTo>
                    <a:pt x="1246" y="294"/>
                  </a:lnTo>
                  <a:lnTo>
                    <a:pt x="1248" y="290"/>
                  </a:lnTo>
                  <a:lnTo>
                    <a:pt x="1250" y="284"/>
                  </a:lnTo>
                  <a:lnTo>
                    <a:pt x="1250" y="280"/>
                  </a:lnTo>
                  <a:lnTo>
                    <a:pt x="1250" y="278"/>
                  </a:lnTo>
                  <a:lnTo>
                    <a:pt x="1250" y="278"/>
                  </a:lnTo>
                  <a:lnTo>
                    <a:pt x="1250" y="276"/>
                  </a:lnTo>
                  <a:lnTo>
                    <a:pt x="1250" y="272"/>
                  </a:lnTo>
                  <a:lnTo>
                    <a:pt x="1250" y="272"/>
                  </a:lnTo>
                  <a:lnTo>
                    <a:pt x="1250" y="272"/>
                  </a:lnTo>
                  <a:lnTo>
                    <a:pt x="1248" y="268"/>
                  </a:lnTo>
                  <a:lnTo>
                    <a:pt x="1246" y="264"/>
                  </a:lnTo>
                  <a:lnTo>
                    <a:pt x="1244" y="260"/>
                  </a:lnTo>
                  <a:lnTo>
                    <a:pt x="1244" y="256"/>
                  </a:lnTo>
                  <a:lnTo>
                    <a:pt x="1242" y="254"/>
                  </a:lnTo>
                  <a:lnTo>
                    <a:pt x="1238" y="248"/>
                  </a:lnTo>
                  <a:lnTo>
                    <a:pt x="1236" y="246"/>
                  </a:lnTo>
                  <a:lnTo>
                    <a:pt x="1234" y="244"/>
                  </a:lnTo>
                  <a:lnTo>
                    <a:pt x="1234" y="244"/>
                  </a:lnTo>
                  <a:lnTo>
                    <a:pt x="1234" y="242"/>
                  </a:lnTo>
                  <a:lnTo>
                    <a:pt x="1232" y="242"/>
                  </a:lnTo>
                  <a:lnTo>
                    <a:pt x="1232" y="242"/>
                  </a:lnTo>
                  <a:lnTo>
                    <a:pt x="1230" y="240"/>
                  </a:lnTo>
                  <a:lnTo>
                    <a:pt x="1228" y="240"/>
                  </a:lnTo>
                  <a:lnTo>
                    <a:pt x="1228" y="240"/>
                  </a:lnTo>
                  <a:lnTo>
                    <a:pt x="1228" y="240"/>
                  </a:lnTo>
                  <a:lnTo>
                    <a:pt x="1226" y="240"/>
                  </a:lnTo>
                  <a:lnTo>
                    <a:pt x="1226" y="240"/>
                  </a:lnTo>
                  <a:lnTo>
                    <a:pt x="1226" y="240"/>
                  </a:lnTo>
                  <a:lnTo>
                    <a:pt x="1224" y="240"/>
                  </a:lnTo>
                  <a:lnTo>
                    <a:pt x="1224" y="240"/>
                  </a:lnTo>
                  <a:lnTo>
                    <a:pt x="1224" y="240"/>
                  </a:lnTo>
                  <a:lnTo>
                    <a:pt x="1220" y="242"/>
                  </a:lnTo>
                  <a:lnTo>
                    <a:pt x="1218" y="244"/>
                  </a:lnTo>
                  <a:lnTo>
                    <a:pt x="1214" y="246"/>
                  </a:lnTo>
                  <a:lnTo>
                    <a:pt x="1210" y="250"/>
                  </a:lnTo>
                  <a:lnTo>
                    <a:pt x="1208" y="252"/>
                  </a:lnTo>
                  <a:lnTo>
                    <a:pt x="1208" y="252"/>
                  </a:lnTo>
                  <a:lnTo>
                    <a:pt x="1208" y="250"/>
                  </a:lnTo>
                  <a:lnTo>
                    <a:pt x="1208" y="246"/>
                  </a:lnTo>
                  <a:lnTo>
                    <a:pt x="1210" y="242"/>
                  </a:lnTo>
                  <a:lnTo>
                    <a:pt x="1210" y="240"/>
                  </a:lnTo>
                  <a:lnTo>
                    <a:pt x="1210" y="240"/>
                  </a:lnTo>
                  <a:lnTo>
                    <a:pt x="1212" y="238"/>
                  </a:lnTo>
                  <a:lnTo>
                    <a:pt x="1214" y="236"/>
                  </a:lnTo>
                  <a:lnTo>
                    <a:pt x="1216" y="232"/>
                  </a:lnTo>
                  <a:lnTo>
                    <a:pt x="1216" y="232"/>
                  </a:lnTo>
                  <a:lnTo>
                    <a:pt x="1216" y="232"/>
                  </a:lnTo>
                  <a:lnTo>
                    <a:pt x="1216" y="230"/>
                  </a:lnTo>
                  <a:lnTo>
                    <a:pt x="1216" y="230"/>
                  </a:lnTo>
                  <a:lnTo>
                    <a:pt x="1216" y="230"/>
                  </a:lnTo>
                  <a:lnTo>
                    <a:pt x="1216" y="228"/>
                  </a:lnTo>
                  <a:lnTo>
                    <a:pt x="1216" y="228"/>
                  </a:lnTo>
                  <a:lnTo>
                    <a:pt x="1216" y="228"/>
                  </a:lnTo>
                  <a:lnTo>
                    <a:pt x="1216" y="226"/>
                  </a:lnTo>
                  <a:lnTo>
                    <a:pt x="1216" y="226"/>
                  </a:lnTo>
                  <a:lnTo>
                    <a:pt x="1216" y="224"/>
                  </a:lnTo>
                  <a:lnTo>
                    <a:pt x="1214" y="222"/>
                  </a:lnTo>
                  <a:lnTo>
                    <a:pt x="1214" y="222"/>
                  </a:lnTo>
                  <a:lnTo>
                    <a:pt x="1214" y="220"/>
                  </a:lnTo>
                  <a:lnTo>
                    <a:pt x="1212" y="218"/>
                  </a:lnTo>
                  <a:lnTo>
                    <a:pt x="1212" y="218"/>
                  </a:lnTo>
                  <a:lnTo>
                    <a:pt x="1212" y="218"/>
                  </a:lnTo>
                  <a:lnTo>
                    <a:pt x="1210" y="218"/>
                  </a:lnTo>
                  <a:lnTo>
                    <a:pt x="1210" y="218"/>
                  </a:lnTo>
                  <a:lnTo>
                    <a:pt x="1210" y="216"/>
                  </a:lnTo>
                  <a:lnTo>
                    <a:pt x="1208" y="216"/>
                  </a:lnTo>
                  <a:lnTo>
                    <a:pt x="1208" y="216"/>
                  </a:lnTo>
                  <a:lnTo>
                    <a:pt x="1208" y="216"/>
                  </a:lnTo>
                  <a:lnTo>
                    <a:pt x="1206" y="218"/>
                  </a:lnTo>
                  <a:lnTo>
                    <a:pt x="1206" y="218"/>
                  </a:lnTo>
                  <a:lnTo>
                    <a:pt x="1204" y="218"/>
                  </a:lnTo>
                  <a:lnTo>
                    <a:pt x="1202" y="218"/>
                  </a:lnTo>
                  <a:lnTo>
                    <a:pt x="1200" y="220"/>
                  </a:lnTo>
                  <a:lnTo>
                    <a:pt x="1196" y="222"/>
                  </a:lnTo>
                  <a:lnTo>
                    <a:pt x="1194" y="224"/>
                  </a:lnTo>
                  <a:lnTo>
                    <a:pt x="1194" y="226"/>
                  </a:lnTo>
                  <a:lnTo>
                    <a:pt x="1190" y="230"/>
                  </a:lnTo>
                  <a:lnTo>
                    <a:pt x="1186" y="234"/>
                  </a:lnTo>
                  <a:lnTo>
                    <a:pt x="1182" y="238"/>
                  </a:lnTo>
                  <a:lnTo>
                    <a:pt x="1182" y="238"/>
                  </a:lnTo>
                  <a:lnTo>
                    <a:pt x="1182" y="238"/>
                  </a:lnTo>
                  <a:lnTo>
                    <a:pt x="1180" y="242"/>
                  </a:lnTo>
                  <a:lnTo>
                    <a:pt x="1180" y="242"/>
                  </a:lnTo>
                  <a:lnTo>
                    <a:pt x="1180" y="244"/>
                  </a:lnTo>
                  <a:lnTo>
                    <a:pt x="1180" y="248"/>
                  </a:lnTo>
                  <a:lnTo>
                    <a:pt x="1180" y="254"/>
                  </a:lnTo>
                  <a:lnTo>
                    <a:pt x="1180" y="258"/>
                  </a:lnTo>
                  <a:lnTo>
                    <a:pt x="1178" y="264"/>
                  </a:lnTo>
                  <a:lnTo>
                    <a:pt x="1176" y="272"/>
                  </a:lnTo>
                  <a:lnTo>
                    <a:pt x="1174" y="274"/>
                  </a:lnTo>
                  <a:lnTo>
                    <a:pt x="1172" y="278"/>
                  </a:lnTo>
                  <a:lnTo>
                    <a:pt x="1170" y="282"/>
                  </a:lnTo>
                  <a:lnTo>
                    <a:pt x="1170" y="286"/>
                  </a:lnTo>
                  <a:close/>
                  <a:moveTo>
                    <a:pt x="1254" y="310"/>
                  </a:moveTo>
                  <a:lnTo>
                    <a:pt x="1254" y="310"/>
                  </a:lnTo>
                  <a:lnTo>
                    <a:pt x="1254" y="310"/>
                  </a:lnTo>
                  <a:lnTo>
                    <a:pt x="1256" y="312"/>
                  </a:lnTo>
                  <a:lnTo>
                    <a:pt x="1258" y="314"/>
                  </a:lnTo>
                  <a:lnTo>
                    <a:pt x="1262" y="316"/>
                  </a:lnTo>
                  <a:lnTo>
                    <a:pt x="1264" y="318"/>
                  </a:lnTo>
                  <a:lnTo>
                    <a:pt x="1266" y="320"/>
                  </a:lnTo>
                  <a:lnTo>
                    <a:pt x="1268" y="320"/>
                  </a:lnTo>
                  <a:lnTo>
                    <a:pt x="1270" y="324"/>
                  </a:lnTo>
                  <a:lnTo>
                    <a:pt x="1272" y="326"/>
                  </a:lnTo>
                  <a:lnTo>
                    <a:pt x="1274" y="328"/>
                  </a:lnTo>
                  <a:lnTo>
                    <a:pt x="1274" y="328"/>
                  </a:lnTo>
                  <a:lnTo>
                    <a:pt x="1274" y="328"/>
                  </a:lnTo>
                  <a:lnTo>
                    <a:pt x="1276" y="328"/>
                  </a:lnTo>
                  <a:lnTo>
                    <a:pt x="1276" y="328"/>
                  </a:lnTo>
                  <a:lnTo>
                    <a:pt x="1276" y="330"/>
                  </a:lnTo>
                  <a:lnTo>
                    <a:pt x="1278" y="330"/>
                  </a:lnTo>
                  <a:lnTo>
                    <a:pt x="1278" y="330"/>
                  </a:lnTo>
                  <a:lnTo>
                    <a:pt x="1280" y="330"/>
                  </a:lnTo>
                  <a:lnTo>
                    <a:pt x="1280" y="328"/>
                  </a:lnTo>
                  <a:lnTo>
                    <a:pt x="1280" y="328"/>
                  </a:lnTo>
                  <a:lnTo>
                    <a:pt x="1282" y="328"/>
                  </a:lnTo>
                  <a:lnTo>
                    <a:pt x="1282" y="326"/>
                  </a:lnTo>
                  <a:lnTo>
                    <a:pt x="1282" y="326"/>
                  </a:lnTo>
                  <a:lnTo>
                    <a:pt x="1284" y="326"/>
                  </a:lnTo>
                  <a:lnTo>
                    <a:pt x="1284" y="324"/>
                  </a:lnTo>
                  <a:lnTo>
                    <a:pt x="1286" y="322"/>
                  </a:lnTo>
                  <a:lnTo>
                    <a:pt x="1286" y="320"/>
                  </a:lnTo>
                  <a:lnTo>
                    <a:pt x="1286" y="316"/>
                  </a:lnTo>
                  <a:lnTo>
                    <a:pt x="1286" y="314"/>
                  </a:lnTo>
                  <a:lnTo>
                    <a:pt x="1286" y="314"/>
                  </a:lnTo>
                  <a:lnTo>
                    <a:pt x="1286" y="314"/>
                  </a:lnTo>
                  <a:lnTo>
                    <a:pt x="1286" y="312"/>
                  </a:lnTo>
                  <a:lnTo>
                    <a:pt x="1286" y="312"/>
                  </a:lnTo>
                  <a:lnTo>
                    <a:pt x="1286" y="310"/>
                  </a:lnTo>
                  <a:lnTo>
                    <a:pt x="1284" y="310"/>
                  </a:lnTo>
                  <a:lnTo>
                    <a:pt x="1284" y="310"/>
                  </a:lnTo>
                  <a:lnTo>
                    <a:pt x="1284" y="310"/>
                  </a:lnTo>
                  <a:lnTo>
                    <a:pt x="1282" y="308"/>
                  </a:lnTo>
                  <a:lnTo>
                    <a:pt x="1280" y="308"/>
                  </a:lnTo>
                  <a:lnTo>
                    <a:pt x="1278" y="306"/>
                  </a:lnTo>
                  <a:lnTo>
                    <a:pt x="1274" y="306"/>
                  </a:lnTo>
                  <a:lnTo>
                    <a:pt x="1272" y="304"/>
                  </a:lnTo>
                  <a:lnTo>
                    <a:pt x="1270" y="304"/>
                  </a:lnTo>
                  <a:lnTo>
                    <a:pt x="1270" y="304"/>
                  </a:lnTo>
                  <a:lnTo>
                    <a:pt x="1270" y="302"/>
                  </a:lnTo>
                  <a:lnTo>
                    <a:pt x="1270" y="298"/>
                  </a:lnTo>
                  <a:lnTo>
                    <a:pt x="1270" y="296"/>
                  </a:lnTo>
                  <a:lnTo>
                    <a:pt x="1270" y="294"/>
                  </a:lnTo>
                  <a:lnTo>
                    <a:pt x="1270" y="292"/>
                  </a:lnTo>
                  <a:lnTo>
                    <a:pt x="1270" y="292"/>
                  </a:lnTo>
                  <a:lnTo>
                    <a:pt x="1268" y="290"/>
                  </a:lnTo>
                  <a:lnTo>
                    <a:pt x="1268" y="290"/>
                  </a:lnTo>
                  <a:lnTo>
                    <a:pt x="1268" y="290"/>
                  </a:lnTo>
                  <a:lnTo>
                    <a:pt x="1266" y="290"/>
                  </a:lnTo>
                  <a:lnTo>
                    <a:pt x="1264" y="290"/>
                  </a:lnTo>
                  <a:lnTo>
                    <a:pt x="1264" y="290"/>
                  </a:lnTo>
                  <a:lnTo>
                    <a:pt x="1264" y="290"/>
                  </a:lnTo>
                  <a:lnTo>
                    <a:pt x="1262" y="292"/>
                  </a:lnTo>
                  <a:lnTo>
                    <a:pt x="1260" y="294"/>
                  </a:lnTo>
                  <a:lnTo>
                    <a:pt x="1258" y="296"/>
                  </a:lnTo>
                  <a:lnTo>
                    <a:pt x="1256" y="300"/>
                  </a:lnTo>
                  <a:lnTo>
                    <a:pt x="1254" y="302"/>
                  </a:lnTo>
                  <a:lnTo>
                    <a:pt x="1254" y="304"/>
                  </a:lnTo>
                  <a:lnTo>
                    <a:pt x="1254" y="304"/>
                  </a:lnTo>
                  <a:lnTo>
                    <a:pt x="1254" y="306"/>
                  </a:lnTo>
                  <a:lnTo>
                    <a:pt x="1254" y="306"/>
                  </a:lnTo>
                  <a:lnTo>
                    <a:pt x="1254" y="306"/>
                  </a:lnTo>
                  <a:lnTo>
                    <a:pt x="1254" y="308"/>
                  </a:lnTo>
                  <a:lnTo>
                    <a:pt x="1254" y="310"/>
                  </a:lnTo>
                  <a:close/>
                  <a:moveTo>
                    <a:pt x="1094" y="394"/>
                  </a:moveTo>
                  <a:lnTo>
                    <a:pt x="1094" y="394"/>
                  </a:lnTo>
                  <a:lnTo>
                    <a:pt x="1096" y="396"/>
                  </a:lnTo>
                  <a:lnTo>
                    <a:pt x="1098" y="396"/>
                  </a:lnTo>
                  <a:lnTo>
                    <a:pt x="1100" y="398"/>
                  </a:lnTo>
                  <a:lnTo>
                    <a:pt x="1102" y="398"/>
                  </a:lnTo>
                  <a:lnTo>
                    <a:pt x="1104" y="400"/>
                  </a:lnTo>
                  <a:lnTo>
                    <a:pt x="1104" y="402"/>
                  </a:lnTo>
                  <a:lnTo>
                    <a:pt x="1106" y="404"/>
                  </a:lnTo>
                  <a:lnTo>
                    <a:pt x="1106" y="404"/>
                  </a:lnTo>
                  <a:lnTo>
                    <a:pt x="1106" y="406"/>
                  </a:lnTo>
                  <a:lnTo>
                    <a:pt x="1106" y="406"/>
                  </a:lnTo>
                  <a:lnTo>
                    <a:pt x="1110" y="404"/>
                  </a:lnTo>
                  <a:lnTo>
                    <a:pt x="1110" y="404"/>
                  </a:lnTo>
                  <a:lnTo>
                    <a:pt x="1112" y="402"/>
                  </a:lnTo>
                  <a:lnTo>
                    <a:pt x="1118" y="402"/>
                  </a:lnTo>
                  <a:lnTo>
                    <a:pt x="1120" y="400"/>
                  </a:lnTo>
                  <a:lnTo>
                    <a:pt x="1122" y="400"/>
                  </a:lnTo>
                  <a:lnTo>
                    <a:pt x="1122" y="400"/>
                  </a:lnTo>
                  <a:lnTo>
                    <a:pt x="1122" y="400"/>
                  </a:lnTo>
                  <a:lnTo>
                    <a:pt x="1124" y="398"/>
                  </a:lnTo>
                  <a:lnTo>
                    <a:pt x="1124" y="398"/>
                  </a:lnTo>
                  <a:lnTo>
                    <a:pt x="1124" y="398"/>
                  </a:lnTo>
                  <a:lnTo>
                    <a:pt x="1126" y="396"/>
                  </a:lnTo>
                  <a:lnTo>
                    <a:pt x="1126" y="396"/>
                  </a:lnTo>
                  <a:lnTo>
                    <a:pt x="1126" y="394"/>
                  </a:lnTo>
                  <a:lnTo>
                    <a:pt x="1126" y="394"/>
                  </a:lnTo>
                  <a:lnTo>
                    <a:pt x="1124" y="392"/>
                  </a:lnTo>
                  <a:lnTo>
                    <a:pt x="1122" y="390"/>
                  </a:lnTo>
                  <a:lnTo>
                    <a:pt x="1122" y="388"/>
                  </a:lnTo>
                  <a:lnTo>
                    <a:pt x="1120" y="388"/>
                  </a:lnTo>
                  <a:lnTo>
                    <a:pt x="1120" y="386"/>
                  </a:lnTo>
                  <a:lnTo>
                    <a:pt x="1122" y="382"/>
                  </a:lnTo>
                  <a:lnTo>
                    <a:pt x="1120" y="380"/>
                  </a:lnTo>
                  <a:lnTo>
                    <a:pt x="1120" y="380"/>
                  </a:lnTo>
                  <a:lnTo>
                    <a:pt x="1120" y="378"/>
                  </a:lnTo>
                  <a:lnTo>
                    <a:pt x="1120" y="376"/>
                  </a:lnTo>
                  <a:lnTo>
                    <a:pt x="1120" y="376"/>
                  </a:lnTo>
                  <a:lnTo>
                    <a:pt x="1118" y="374"/>
                  </a:lnTo>
                  <a:lnTo>
                    <a:pt x="1118" y="374"/>
                  </a:lnTo>
                  <a:lnTo>
                    <a:pt x="1116" y="374"/>
                  </a:lnTo>
                  <a:lnTo>
                    <a:pt x="1114" y="374"/>
                  </a:lnTo>
                  <a:lnTo>
                    <a:pt x="1112" y="376"/>
                  </a:lnTo>
                  <a:lnTo>
                    <a:pt x="1110" y="376"/>
                  </a:lnTo>
                  <a:lnTo>
                    <a:pt x="1110" y="376"/>
                  </a:lnTo>
                  <a:lnTo>
                    <a:pt x="1110" y="376"/>
                  </a:lnTo>
                  <a:lnTo>
                    <a:pt x="1108" y="378"/>
                  </a:lnTo>
                  <a:lnTo>
                    <a:pt x="1108" y="378"/>
                  </a:lnTo>
                  <a:lnTo>
                    <a:pt x="1108" y="378"/>
                  </a:lnTo>
                  <a:lnTo>
                    <a:pt x="1106" y="380"/>
                  </a:lnTo>
                  <a:lnTo>
                    <a:pt x="1106" y="380"/>
                  </a:lnTo>
                  <a:lnTo>
                    <a:pt x="1106" y="380"/>
                  </a:lnTo>
                  <a:lnTo>
                    <a:pt x="1106" y="380"/>
                  </a:lnTo>
                  <a:lnTo>
                    <a:pt x="1106" y="380"/>
                  </a:lnTo>
                  <a:lnTo>
                    <a:pt x="1106" y="380"/>
                  </a:lnTo>
                  <a:lnTo>
                    <a:pt x="1106" y="380"/>
                  </a:lnTo>
                  <a:lnTo>
                    <a:pt x="1104" y="380"/>
                  </a:lnTo>
                  <a:lnTo>
                    <a:pt x="1104" y="380"/>
                  </a:lnTo>
                  <a:lnTo>
                    <a:pt x="1102" y="382"/>
                  </a:lnTo>
                  <a:lnTo>
                    <a:pt x="1100" y="384"/>
                  </a:lnTo>
                  <a:lnTo>
                    <a:pt x="1100" y="384"/>
                  </a:lnTo>
                  <a:lnTo>
                    <a:pt x="1100" y="384"/>
                  </a:lnTo>
                  <a:lnTo>
                    <a:pt x="1100" y="384"/>
                  </a:lnTo>
                  <a:lnTo>
                    <a:pt x="1096" y="384"/>
                  </a:lnTo>
                  <a:lnTo>
                    <a:pt x="1094" y="386"/>
                  </a:lnTo>
                  <a:lnTo>
                    <a:pt x="1094" y="392"/>
                  </a:lnTo>
                  <a:lnTo>
                    <a:pt x="1096" y="392"/>
                  </a:lnTo>
                  <a:lnTo>
                    <a:pt x="1096" y="392"/>
                  </a:lnTo>
                  <a:lnTo>
                    <a:pt x="1094" y="394"/>
                  </a:lnTo>
                  <a:lnTo>
                    <a:pt x="1094" y="394"/>
                  </a:lnTo>
                  <a:close/>
                  <a:moveTo>
                    <a:pt x="2142" y="1224"/>
                  </a:moveTo>
                  <a:lnTo>
                    <a:pt x="2142" y="1224"/>
                  </a:lnTo>
                  <a:lnTo>
                    <a:pt x="2142" y="1224"/>
                  </a:lnTo>
                  <a:lnTo>
                    <a:pt x="2142" y="1222"/>
                  </a:lnTo>
                  <a:lnTo>
                    <a:pt x="2142" y="1222"/>
                  </a:lnTo>
                  <a:lnTo>
                    <a:pt x="2140" y="1220"/>
                  </a:lnTo>
                  <a:lnTo>
                    <a:pt x="2138" y="1220"/>
                  </a:lnTo>
                  <a:lnTo>
                    <a:pt x="2136" y="1218"/>
                  </a:lnTo>
                  <a:lnTo>
                    <a:pt x="2132" y="1216"/>
                  </a:lnTo>
                  <a:lnTo>
                    <a:pt x="2130" y="1214"/>
                  </a:lnTo>
                  <a:lnTo>
                    <a:pt x="2126" y="1214"/>
                  </a:lnTo>
                  <a:lnTo>
                    <a:pt x="2120" y="1212"/>
                  </a:lnTo>
                  <a:lnTo>
                    <a:pt x="2116" y="1210"/>
                  </a:lnTo>
                  <a:lnTo>
                    <a:pt x="2116" y="1210"/>
                  </a:lnTo>
                  <a:lnTo>
                    <a:pt x="2114" y="1212"/>
                  </a:lnTo>
                  <a:lnTo>
                    <a:pt x="2114" y="1212"/>
                  </a:lnTo>
                  <a:lnTo>
                    <a:pt x="2112" y="1214"/>
                  </a:lnTo>
                  <a:lnTo>
                    <a:pt x="2112" y="1218"/>
                  </a:lnTo>
                  <a:lnTo>
                    <a:pt x="2112" y="1220"/>
                  </a:lnTo>
                  <a:lnTo>
                    <a:pt x="2112" y="1222"/>
                  </a:lnTo>
                  <a:lnTo>
                    <a:pt x="2112" y="1224"/>
                  </a:lnTo>
                  <a:lnTo>
                    <a:pt x="2112" y="1228"/>
                  </a:lnTo>
                  <a:lnTo>
                    <a:pt x="2112" y="1230"/>
                  </a:lnTo>
                  <a:lnTo>
                    <a:pt x="2112" y="1230"/>
                  </a:lnTo>
                  <a:lnTo>
                    <a:pt x="2112" y="1230"/>
                  </a:lnTo>
                  <a:lnTo>
                    <a:pt x="2114" y="1232"/>
                  </a:lnTo>
                  <a:lnTo>
                    <a:pt x="2116" y="1236"/>
                  </a:lnTo>
                  <a:lnTo>
                    <a:pt x="2118" y="1238"/>
                  </a:lnTo>
                  <a:lnTo>
                    <a:pt x="2118" y="1240"/>
                  </a:lnTo>
                  <a:lnTo>
                    <a:pt x="2120" y="1242"/>
                  </a:lnTo>
                  <a:lnTo>
                    <a:pt x="2122" y="1246"/>
                  </a:lnTo>
                  <a:lnTo>
                    <a:pt x="2122" y="1246"/>
                  </a:lnTo>
                  <a:lnTo>
                    <a:pt x="2124" y="1246"/>
                  </a:lnTo>
                  <a:lnTo>
                    <a:pt x="2124" y="1246"/>
                  </a:lnTo>
                  <a:lnTo>
                    <a:pt x="2126" y="1246"/>
                  </a:lnTo>
                  <a:lnTo>
                    <a:pt x="2132" y="1244"/>
                  </a:lnTo>
                  <a:lnTo>
                    <a:pt x="2136" y="1240"/>
                  </a:lnTo>
                  <a:lnTo>
                    <a:pt x="2138" y="1238"/>
                  </a:lnTo>
                  <a:lnTo>
                    <a:pt x="2140" y="1234"/>
                  </a:lnTo>
                  <a:lnTo>
                    <a:pt x="2140" y="1234"/>
                  </a:lnTo>
                  <a:lnTo>
                    <a:pt x="2142" y="1234"/>
                  </a:lnTo>
                  <a:lnTo>
                    <a:pt x="2142" y="1232"/>
                  </a:lnTo>
                  <a:lnTo>
                    <a:pt x="2142" y="1232"/>
                  </a:lnTo>
                  <a:lnTo>
                    <a:pt x="2142" y="1232"/>
                  </a:lnTo>
                  <a:lnTo>
                    <a:pt x="2144" y="1230"/>
                  </a:lnTo>
                  <a:lnTo>
                    <a:pt x="2144" y="1230"/>
                  </a:lnTo>
                  <a:lnTo>
                    <a:pt x="2144" y="1228"/>
                  </a:lnTo>
                  <a:lnTo>
                    <a:pt x="2144" y="1226"/>
                  </a:lnTo>
                  <a:lnTo>
                    <a:pt x="2144" y="1226"/>
                  </a:lnTo>
                  <a:lnTo>
                    <a:pt x="2144" y="1226"/>
                  </a:lnTo>
                  <a:lnTo>
                    <a:pt x="2142" y="122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00" name="Freeform 171"/>
            <p:cNvSpPr>
              <a:spLocks/>
            </p:cNvSpPr>
            <p:nvPr>
              <p:custDataLst>
                <p:tags r:id="rId160"/>
              </p:custDataLst>
            </p:nvPr>
          </p:nvSpPr>
          <p:spPr bwMode="gray">
            <a:xfrm>
              <a:off x="2679057" y="2311849"/>
              <a:ext cx="206191" cy="202184"/>
            </a:xfrm>
            <a:custGeom>
              <a:avLst/>
              <a:gdLst/>
              <a:ahLst/>
              <a:cxnLst/>
              <a:rect l="l" t="t" r="r" b="b"/>
              <a:pathLst>
                <a:path w="330050" h="323637">
                  <a:moveTo>
                    <a:pt x="318742" y="280797"/>
                  </a:moveTo>
                  <a:cubicBezTo>
                    <a:pt x="322512" y="280018"/>
                    <a:pt x="327275" y="280404"/>
                    <a:pt x="328069" y="281954"/>
                  </a:cubicBezTo>
                  <a:cubicBezTo>
                    <a:pt x="331241" y="292853"/>
                    <a:pt x="329653" y="303747"/>
                    <a:pt x="329653" y="314646"/>
                  </a:cubicBezTo>
                  <a:cubicBezTo>
                    <a:pt x="325154" y="323205"/>
                    <a:pt x="310605" y="326083"/>
                    <a:pt x="308223" y="321408"/>
                  </a:cubicBezTo>
                  <a:cubicBezTo>
                    <a:pt x="330450" y="318299"/>
                    <a:pt x="312195" y="305301"/>
                    <a:pt x="315368" y="286629"/>
                  </a:cubicBezTo>
                  <a:cubicBezTo>
                    <a:pt x="312194" y="283520"/>
                    <a:pt x="314972" y="281576"/>
                    <a:pt x="318742" y="280797"/>
                  </a:cubicBezTo>
                  <a:close/>
                  <a:moveTo>
                    <a:pt x="177056" y="323"/>
                  </a:moveTo>
                  <a:cubicBezTo>
                    <a:pt x="181620" y="-260"/>
                    <a:pt x="185986" y="-260"/>
                    <a:pt x="189954" y="2071"/>
                  </a:cubicBezTo>
                  <a:cubicBezTo>
                    <a:pt x="205829" y="12950"/>
                    <a:pt x="232817" y="44031"/>
                    <a:pt x="243929" y="61126"/>
                  </a:cubicBezTo>
                  <a:cubicBezTo>
                    <a:pt x="264567" y="73559"/>
                    <a:pt x="293142" y="61126"/>
                    <a:pt x="296317" y="81329"/>
                  </a:cubicBezTo>
                  <a:cubicBezTo>
                    <a:pt x="302667" y="89100"/>
                    <a:pt x="283617" y="98424"/>
                    <a:pt x="282029" y="104640"/>
                  </a:cubicBezTo>
                  <a:cubicBezTo>
                    <a:pt x="280442" y="110857"/>
                    <a:pt x="291554" y="112411"/>
                    <a:pt x="285204" y="123289"/>
                  </a:cubicBezTo>
                  <a:cubicBezTo>
                    <a:pt x="270917" y="127952"/>
                    <a:pt x="239167" y="143492"/>
                    <a:pt x="253454" y="160587"/>
                  </a:cubicBezTo>
                  <a:cubicBezTo>
                    <a:pt x="283617" y="177682"/>
                    <a:pt x="275679" y="168358"/>
                    <a:pt x="277267" y="219642"/>
                  </a:cubicBezTo>
                  <a:cubicBezTo>
                    <a:pt x="302667" y="267819"/>
                    <a:pt x="261392" y="256940"/>
                    <a:pt x="215354" y="258494"/>
                  </a:cubicBezTo>
                  <a:cubicBezTo>
                    <a:pt x="199479" y="256940"/>
                    <a:pt x="193129" y="252278"/>
                    <a:pt x="189954" y="267819"/>
                  </a:cubicBezTo>
                  <a:cubicBezTo>
                    <a:pt x="186779" y="275589"/>
                    <a:pt x="182017" y="281806"/>
                    <a:pt x="177254" y="289576"/>
                  </a:cubicBezTo>
                  <a:cubicBezTo>
                    <a:pt x="172492" y="292684"/>
                    <a:pt x="162967" y="289576"/>
                    <a:pt x="158204" y="286468"/>
                  </a:cubicBezTo>
                  <a:cubicBezTo>
                    <a:pt x="153442" y="283360"/>
                    <a:pt x="156617" y="275589"/>
                    <a:pt x="143917" y="272481"/>
                  </a:cubicBezTo>
                  <a:cubicBezTo>
                    <a:pt x="112167" y="270927"/>
                    <a:pt x="105817" y="274035"/>
                    <a:pt x="85179" y="258494"/>
                  </a:cubicBezTo>
                  <a:cubicBezTo>
                    <a:pt x="66129" y="255386"/>
                    <a:pt x="77242" y="230521"/>
                    <a:pt x="77242" y="214980"/>
                  </a:cubicBezTo>
                  <a:cubicBezTo>
                    <a:pt x="86767" y="210318"/>
                    <a:pt x="89942" y="208764"/>
                    <a:pt x="91529" y="197885"/>
                  </a:cubicBezTo>
                  <a:cubicBezTo>
                    <a:pt x="85179" y="188561"/>
                    <a:pt x="77242" y="183898"/>
                    <a:pt x="72479" y="173020"/>
                  </a:cubicBezTo>
                  <a:cubicBezTo>
                    <a:pt x="64542" y="155925"/>
                    <a:pt x="72479" y="138830"/>
                    <a:pt x="56604" y="127952"/>
                  </a:cubicBezTo>
                  <a:cubicBezTo>
                    <a:pt x="45492" y="126397"/>
                    <a:pt x="32792" y="123289"/>
                    <a:pt x="23267" y="117073"/>
                  </a:cubicBezTo>
                  <a:cubicBezTo>
                    <a:pt x="1042" y="112411"/>
                    <a:pt x="-2133" y="107748"/>
                    <a:pt x="1042" y="84437"/>
                  </a:cubicBezTo>
                  <a:cubicBezTo>
                    <a:pt x="31204" y="79775"/>
                    <a:pt x="28029" y="76667"/>
                    <a:pt x="48667" y="90654"/>
                  </a:cubicBezTo>
                  <a:cubicBezTo>
                    <a:pt x="61367" y="87545"/>
                    <a:pt x="70892" y="87545"/>
                    <a:pt x="75654" y="75113"/>
                  </a:cubicBezTo>
                  <a:cubicBezTo>
                    <a:pt x="70892" y="67342"/>
                    <a:pt x="66129" y="62680"/>
                    <a:pt x="56604" y="58018"/>
                  </a:cubicBezTo>
                  <a:cubicBezTo>
                    <a:pt x="45492" y="56464"/>
                    <a:pt x="43507" y="54133"/>
                    <a:pt x="45492" y="51413"/>
                  </a:cubicBezTo>
                  <a:lnTo>
                    <a:pt x="58192" y="42477"/>
                  </a:lnTo>
                  <a:cubicBezTo>
                    <a:pt x="69304" y="48693"/>
                    <a:pt x="75654" y="56464"/>
                    <a:pt x="85179" y="62680"/>
                  </a:cubicBezTo>
                  <a:cubicBezTo>
                    <a:pt x="148679" y="67342"/>
                    <a:pt x="110579" y="72005"/>
                    <a:pt x="129629" y="47139"/>
                  </a:cubicBezTo>
                  <a:cubicBezTo>
                    <a:pt x="155029" y="33153"/>
                    <a:pt x="132804" y="8287"/>
                    <a:pt x="162967" y="2071"/>
                  </a:cubicBezTo>
                  <a:cubicBezTo>
                    <a:pt x="167729" y="2071"/>
                    <a:pt x="172492" y="906"/>
                    <a:pt x="177056" y="323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201" name="Freeform 172"/>
            <p:cNvSpPr>
              <a:spLocks/>
            </p:cNvSpPr>
            <p:nvPr>
              <p:custDataLst>
                <p:tags r:id="rId161"/>
              </p:custDataLst>
            </p:nvPr>
          </p:nvSpPr>
          <p:spPr bwMode="gray">
            <a:xfrm>
              <a:off x="2847426" y="2403117"/>
              <a:ext cx="173722" cy="194301"/>
            </a:xfrm>
            <a:custGeom>
              <a:avLst/>
              <a:gdLst/>
              <a:ahLst/>
              <a:cxnLst/>
              <a:rect l="l" t="t" r="r" b="b"/>
              <a:pathLst>
                <a:path w="278077" h="311019">
                  <a:moveTo>
                    <a:pt x="42763" y="185722"/>
                  </a:moveTo>
                  <a:cubicBezTo>
                    <a:pt x="50272" y="185101"/>
                    <a:pt x="58295" y="185679"/>
                    <a:pt x="61734" y="188662"/>
                  </a:cubicBezTo>
                  <a:cubicBezTo>
                    <a:pt x="68612" y="194629"/>
                    <a:pt x="66025" y="217687"/>
                    <a:pt x="68150" y="225777"/>
                  </a:cubicBezTo>
                  <a:cubicBezTo>
                    <a:pt x="61802" y="233553"/>
                    <a:pt x="58626" y="239786"/>
                    <a:pt x="55450" y="249118"/>
                  </a:cubicBezTo>
                  <a:cubicBezTo>
                    <a:pt x="48441" y="248550"/>
                    <a:pt x="30843" y="232229"/>
                    <a:pt x="26081" y="222364"/>
                  </a:cubicBezTo>
                  <a:cubicBezTo>
                    <a:pt x="21323" y="212524"/>
                    <a:pt x="21980" y="198485"/>
                    <a:pt x="26874" y="189981"/>
                  </a:cubicBezTo>
                  <a:cubicBezTo>
                    <a:pt x="28258" y="188165"/>
                    <a:pt x="35254" y="186344"/>
                    <a:pt x="42763" y="185722"/>
                  </a:cubicBezTo>
                  <a:close/>
                  <a:moveTo>
                    <a:pt x="34737" y="93844"/>
                  </a:moveTo>
                  <a:lnTo>
                    <a:pt x="12511" y="103195"/>
                  </a:lnTo>
                  <a:lnTo>
                    <a:pt x="22869" y="96731"/>
                  </a:lnTo>
                  <a:cubicBezTo>
                    <a:pt x="27546" y="96686"/>
                    <a:pt x="32592" y="93844"/>
                    <a:pt x="34737" y="93844"/>
                  </a:cubicBezTo>
                  <a:close/>
                  <a:moveTo>
                    <a:pt x="104795" y="94"/>
                  </a:moveTo>
                  <a:cubicBezTo>
                    <a:pt x="113330" y="-297"/>
                    <a:pt x="121268" y="477"/>
                    <a:pt x="126817" y="3589"/>
                  </a:cubicBezTo>
                  <a:cubicBezTo>
                    <a:pt x="145868" y="6716"/>
                    <a:pt x="149043" y="26934"/>
                    <a:pt x="141120" y="42509"/>
                  </a:cubicBezTo>
                  <a:cubicBezTo>
                    <a:pt x="118893" y="50280"/>
                    <a:pt x="125244" y="51828"/>
                    <a:pt x="122069" y="79850"/>
                  </a:cubicBezTo>
                  <a:lnTo>
                    <a:pt x="141120" y="107871"/>
                  </a:lnTo>
                  <a:cubicBezTo>
                    <a:pt x="153820" y="115642"/>
                    <a:pt x="161744" y="128089"/>
                    <a:pt x="168094" y="140536"/>
                  </a:cubicBezTo>
                  <a:cubicBezTo>
                    <a:pt x="176046" y="145212"/>
                    <a:pt x="179222" y="151435"/>
                    <a:pt x="183970" y="159207"/>
                  </a:cubicBezTo>
                  <a:cubicBezTo>
                    <a:pt x="183970" y="159207"/>
                    <a:pt x="203021" y="160755"/>
                    <a:pt x="212547" y="163882"/>
                  </a:cubicBezTo>
                  <a:cubicBezTo>
                    <a:pt x="217324" y="165430"/>
                    <a:pt x="217324" y="173233"/>
                    <a:pt x="222072" y="176329"/>
                  </a:cubicBezTo>
                  <a:cubicBezTo>
                    <a:pt x="234773" y="179457"/>
                    <a:pt x="249075" y="188776"/>
                    <a:pt x="255426" y="199675"/>
                  </a:cubicBezTo>
                  <a:cubicBezTo>
                    <a:pt x="255426" y="199675"/>
                    <a:pt x="274477" y="207446"/>
                    <a:pt x="277652" y="215249"/>
                  </a:cubicBezTo>
                  <a:cubicBezTo>
                    <a:pt x="279225" y="218345"/>
                    <a:pt x="276050" y="219893"/>
                    <a:pt x="274477" y="223021"/>
                  </a:cubicBezTo>
                  <a:cubicBezTo>
                    <a:pt x="256999" y="226117"/>
                    <a:pt x="255426" y="227696"/>
                    <a:pt x="250649" y="209026"/>
                  </a:cubicBezTo>
                  <a:cubicBezTo>
                    <a:pt x="241123" y="204350"/>
                    <a:pt x="236375" y="207446"/>
                    <a:pt x="234773" y="218345"/>
                  </a:cubicBezTo>
                  <a:cubicBezTo>
                    <a:pt x="230024" y="229244"/>
                    <a:pt x="237948" y="230792"/>
                    <a:pt x="244298" y="238564"/>
                  </a:cubicBezTo>
                  <a:cubicBezTo>
                    <a:pt x="239550" y="246367"/>
                    <a:pt x="234773" y="252590"/>
                    <a:pt x="230024" y="260362"/>
                  </a:cubicBezTo>
                  <a:cubicBezTo>
                    <a:pt x="206196" y="274356"/>
                    <a:pt x="214148" y="286835"/>
                    <a:pt x="203021" y="308601"/>
                  </a:cubicBezTo>
                  <a:cubicBezTo>
                    <a:pt x="183970" y="311729"/>
                    <a:pt x="182397" y="313277"/>
                    <a:pt x="168094" y="303926"/>
                  </a:cubicBezTo>
                  <a:cubicBezTo>
                    <a:pt x="158569" y="302378"/>
                    <a:pt x="152219" y="299282"/>
                    <a:pt x="144295" y="294606"/>
                  </a:cubicBezTo>
                  <a:cubicBezTo>
                    <a:pt x="129992" y="291479"/>
                    <a:pt x="129992" y="291479"/>
                    <a:pt x="126817" y="275936"/>
                  </a:cubicBezTo>
                  <a:cubicBezTo>
                    <a:pt x="180795" y="271260"/>
                    <a:pt x="209372" y="289931"/>
                    <a:pt x="212547" y="237016"/>
                  </a:cubicBezTo>
                  <a:cubicBezTo>
                    <a:pt x="210973" y="227696"/>
                    <a:pt x="206196" y="223021"/>
                    <a:pt x="201448" y="215249"/>
                  </a:cubicBezTo>
                  <a:cubicBezTo>
                    <a:pt x="190321" y="213670"/>
                    <a:pt x="193496" y="209026"/>
                    <a:pt x="187145" y="199675"/>
                  </a:cubicBezTo>
                  <a:cubicBezTo>
                    <a:pt x="176046" y="193451"/>
                    <a:pt x="174445" y="182552"/>
                    <a:pt x="163346" y="177877"/>
                  </a:cubicBezTo>
                  <a:cubicBezTo>
                    <a:pt x="147470" y="174781"/>
                    <a:pt x="123642" y="159207"/>
                    <a:pt x="117292" y="145212"/>
                  </a:cubicBezTo>
                  <a:cubicBezTo>
                    <a:pt x="107766" y="137409"/>
                    <a:pt x="106193" y="128089"/>
                    <a:pt x="96667" y="121866"/>
                  </a:cubicBezTo>
                  <a:cubicBezTo>
                    <a:pt x="82365" y="118738"/>
                    <a:pt x="83967" y="112515"/>
                    <a:pt x="82365" y="98520"/>
                  </a:cubicBezTo>
                  <a:cubicBezTo>
                    <a:pt x="76015" y="84525"/>
                    <a:pt x="56964" y="89169"/>
                    <a:pt x="44263" y="87621"/>
                  </a:cubicBezTo>
                  <a:cubicBezTo>
                    <a:pt x="35798" y="88653"/>
                    <a:pt x="29454" y="92463"/>
                    <a:pt x="22869" y="96731"/>
                  </a:cubicBezTo>
                  <a:lnTo>
                    <a:pt x="17288" y="96972"/>
                  </a:lnTo>
                  <a:cubicBezTo>
                    <a:pt x="12511" y="93844"/>
                    <a:pt x="4587" y="82946"/>
                    <a:pt x="1412" y="75174"/>
                  </a:cubicBezTo>
                  <a:cubicBezTo>
                    <a:pt x="-1763" y="67403"/>
                    <a:pt x="1412" y="58052"/>
                    <a:pt x="1412" y="50280"/>
                  </a:cubicBezTo>
                  <a:cubicBezTo>
                    <a:pt x="2986" y="42509"/>
                    <a:pt x="6161" y="36285"/>
                    <a:pt x="7763" y="28482"/>
                  </a:cubicBezTo>
                  <a:cubicBezTo>
                    <a:pt x="17288" y="26934"/>
                    <a:pt x="26814" y="28482"/>
                    <a:pt x="34737" y="22259"/>
                  </a:cubicBezTo>
                  <a:cubicBezTo>
                    <a:pt x="45865" y="17583"/>
                    <a:pt x="63314" y="6716"/>
                    <a:pt x="79190" y="3589"/>
                  </a:cubicBezTo>
                  <a:cubicBezTo>
                    <a:pt x="87128" y="2041"/>
                    <a:pt x="96260" y="485"/>
                    <a:pt x="104795" y="94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202" name="Freeform 56"/>
            <p:cNvSpPr>
              <a:spLocks noEditPoints="1"/>
            </p:cNvSpPr>
            <p:nvPr/>
          </p:nvSpPr>
          <p:spPr bwMode="auto">
            <a:xfrm>
              <a:off x="4111273" y="3076836"/>
              <a:ext cx="696210" cy="249921"/>
            </a:xfrm>
            <a:custGeom>
              <a:avLst/>
              <a:gdLst>
                <a:gd name="T0" fmla="*/ 628 w 702"/>
                <a:gd name="T1" fmla="*/ 114 h 252"/>
                <a:gd name="T2" fmla="*/ 576 w 702"/>
                <a:gd name="T3" fmla="*/ 84 h 252"/>
                <a:gd name="T4" fmla="*/ 542 w 702"/>
                <a:gd name="T5" fmla="*/ 106 h 252"/>
                <a:gd name="T6" fmla="*/ 564 w 702"/>
                <a:gd name="T7" fmla="*/ 122 h 252"/>
                <a:gd name="T8" fmla="*/ 574 w 702"/>
                <a:gd name="T9" fmla="*/ 146 h 252"/>
                <a:gd name="T10" fmla="*/ 646 w 702"/>
                <a:gd name="T11" fmla="*/ 212 h 252"/>
                <a:gd name="T12" fmla="*/ 702 w 702"/>
                <a:gd name="T13" fmla="*/ 218 h 252"/>
                <a:gd name="T14" fmla="*/ 32 w 702"/>
                <a:gd name="T15" fmla="*/ 56 h 252"/>
                <a:gd name="T16" fmla="*/ 50 w 702"/>
                <a:gd name="T17" fmla="*/ 80 h 252"/>
                <a:gd name="T18" fmla="*/ 50 w 702"/>
                <a:gd name="T19" fmla="*/ 100 h 252"/>
                <a:gd name="T20" fmla="*/ 74 w 702"/>
                <a:gd name="T21" fmla="*/ 96 h 252"/>
                <a:gd name="T22" fmla="*/ 530 w 702"/>
                <a:gd name="T23" fmla="*/ 222 h 252"/>
                <a:gd name="T24" fmla="*/ 556 w 702"/>
                <a:gd name="T25" fmla="*/ 200 h 252"/>
                <a:gd name="T26" fmla="*/ 274 w 702"/>
                <a:gd name="T27" fmla="*/ 198 h 252"/>
                <a:gd name="T28" fmla="*/ 232 w 702"/>
                <a:gd name="T29" fmla="*/ 182 h 252"/>
                <a:gd name="T30" fmla="*/ 170 w 702"/>
                <a:gd name="T31" fmla="*/ 168 h 252"/>
                <a:gd name="T32" fmla="*/ 196 w 702"/>
                <a:gd name="T33" fmla="*/ 204 h 252"/>
                <a:gd name="T34" fmla="*/ 296 w 702"/>
                <a:gd name="T35" fmla="*/ 208 h 252"/>
                <a:gd name="T36" fmla="*/ 612 w 702"/>
                <a:gd name="T37" fmla="*/ 172 h 252"/>
                <a:gd name="T38" fmla="*/ 206 w 702"/>
                <a:gd name="T39" fmla="*/ 144 h 252"/>
                <a:gd name="T40" fmla="*/ 188 w 702"/>
                <a:gd name="T41" fmla="*/ 122 h 252"/>
                <a:gd name="T42" fmla="*/ 382 w 702"/>
                <a:gd name="T43" fmla="*/ 228 h 252"/>
                <a:gd name="T44" fmla="*/ 388 w 702"/>
                <a:gd name="T45" fmla="*/ 252 h 252"/>
                <a:gd name="T46" fmla="*/ 458 w 702"/>
                <a:gd name="T47" fmla="*/ 208 h 252"/>
                <a:gd name="T48" fmla="*/ 450 w 702"/>
                <a:gd name="T49" fmla="*/ 244 h 252"/>
                <a:gd name="T50" fmla="*/ 224 w 702"/>
                <a:gd name="T51" fmla="*/ 106 h 252"/>
                <a:gd name="T52" fmla="*/ 254 w 702"/>
                <a:gd name="T53" fmla="*/ 138 h 252"/>
                <a:gd name="T54" fmla="*/ 326 w 702"/>
                <a:gd name="T55" fmla="*/ 136 h 252"/>
                <a:gd name="T56" fmla="*/ 352 w 702"/>
                <a:gd name="T57" fmla="*/ 80 h 252"/>
                <a:gd name="T58" fmla="*/ 352 w 702"/>
                <a:gd name="T59" fmla="*/ 54 h 252"/>
                <a:gd name="T60" fmla="*/ 350 w 702"/>
                <a:gd name="T61" fmla="*/ 20 h 252"/>
                <a:gd name="T62" fmla="*/ 262 w 702"/>
                <a:gd name="T63" fmla="*/ 56 h 252"/>
                <a:gd name="T64" fmla="*/ 204 w 702"/>
                <a:gd name="T65" fmla="*/ 66 h 252"/>
                <a:gd name="T66" fmla="*/ 172 w 702"/>
                <a:gd name="T67" fmla="*/ 134 h 252"/>
                <a:gd name="T68" fmla="*/ 182 w 702"/>
                <a:gd name="T69" fmla="*/ 124 h 252"/>
                <a:gd name="T70" fmla="*/ 152 w 702"/>
                <a:gd name="T71" fmla="*/ 114 h 252"/>
                <a:gd name="T72" fmla="*/ 124 w 702"/>
                <a:gd name="T73" fmla="*/ 76 h 252"/>
                <a:gd name="T74" fmla="*/ 34 w 702"/>
                <a:gd name="T75" fmla="*/ 8 h 252"/>
                <a:gd name="T76" fmla="*/ 2 w 702"/>
                <a:gd name="T77" fmla="*/ 14 h 252"/>
                <a:gd name="T78" fmla="*/ 60 w 702"/>
                <a:gd name="T79" fmla="*/ 80 h 252"/>
                <a:gd name="T80" fmla="*/ 158 w 702"/>
                <a:gd name="T81" fmla="*/ 174 h 252"/>
                <a:gd name="T82" fmla="*/ 324 w 702"/>
                <a:gd name="T83" fmla="*/ 208 h 252"/>
                <a:gd name="T84" fmla="*/ 334 w 702"/>
                <a:gd name="T85" fmla="*/ 232 h 252"/>
                <a:gd name="T86" fmla="*/ 442 w 702"/>
                <a:gd name="T87" fmla="*/ 210 h 252"/>
                <a:gd name="T88" fmla="*/ 368 w 702"/>
                <a:gd name="T89" fmla="*/ 138 h 252"/>
                <a:gd name="T90" fmla="*/ 382 w 702"/>
                <a:gd name="T91" fmla="*/ 164 h 252"/>
                <a:gd name="T92" fmla="*/ 388 w 702"/>
                <a:gd name="T93" fmla="*/ 138 h 252"/>
                <a:gd name="T94" fmla="*/ 416 w 702"/>
                <a:gd name="T95" fmla="*/ 172 h 252"/>
                <a:gd name="T96" fmla="*/ 430 w 702"/>
                <a:gd name="T97" fmla="*/ 154 h 252"/>
                <a:gd name="T98" fmla="*/ 404 w 702"/>
                <a:gd name="T99" fmla="*/ 116 h 252"/>
                <a:gd name="T100" fmla="*/ 426 w 702"/>
                <a:gd name="T101" fmla="*/ 96 h 252"/>
                <a:gd name="T102" fmla="*/ 390 w 702"/>
                <a:gd name="T103" fmla="*/ 82 h 252"/>
                <a:gd name="T104" fmla="*/ 454 w 702"/>
                <a:gd name="T105" fmla="*/ 56 h 252"/>
                <a:gd name="T106" fmla="*/ 386 w 702"/>
                <a:gd name="T107" fmla="*/ 76 h 252"/>
                <a:gd name="T108" fmla="*/ 494 w 702"/>
                <a:gd name="T109" fmla="*/ 90 h 252"/>
                <a:gd name="T110" fmla="*/ 508 w 702"/>
                <a:gd name="T111" fmla="*/ 98 h 252"/>
                <a:gd name="T112" fmla="*/ 508 w 702"/>
                <a:gd name="T113" fmla="*/ 58 h 252"/>
                <a:gd name="T114" fmla="*/ 496 w 702"/>
                <a:gd name="T115" fmla="*/ 48 h 252"/>
                <a:gd name="T116" fmla="*/ 494 w 702"/>
                <a:gd name="T117" fmla="*/ 90 h 252"/>
                <a:gd name="T118" fmla="*/ 488 w 702"/>
                <a:gd name="T119" fmla="*/ 156 h 252"/>
                <a:gd name="T120" fmla="*/ 544 w 702"/>
                <a:gd name="T121" fmla="*/ 146 h 252"/>
                <a:gd name="T122" fmla="*/ 528 w 702"/>
                <a:gd name="T123" fmla="*/ 122 h 252"/>
                <a:gd name="T124" fmla="*/ 544 w 702"/>
                <a:gd name="T125" fmla="*/ 146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02" h="252">
                  <a:moveTo>
                    <a:pt x="700" y="124"/>
                  </a:moveTo>
                  <a:lnTo>
                    <a:pt x="698" y="124"/>
                  </a:lnTo>
                  <a:lnTo>
                    <a:pt x="700" y="122"/>
                  </a:lnTo>
                  <a:lnTo>
                    <a:pt x="650" y="104"/>
                  </a:lnTo>
                  <a:lnTo>
                    <a:pt x="650" y="104"/>
                  </a:lnTo>
                  <a:lnTo>
                    <a:pt x="648" y="104"/>
                  </a:lnTo>
                  <a:lnTo>
                    <a:pt x="628" y="114"/>
                  </a:lnTo>
                  <a:lnTo>
                    <a:pt x="628" y="114"/>
                  </a:lnTo>
                  <a:lnTo>
                    <a:pt x="628" y="114"/>
                  </a:lnTo>
                  <a:lnTo>
                    <a:pt x="612" y="130"/>
                  </a:lnTo>
                  <a:lnTo>
                    <a:pt x="594" y="114"/>
                  </a:lnTo>
                  <a:lnTo>
                    <a:pt x="594" y="98"/>
                  </a:lnTo>
                  <a:lnTo>
                    <a:pt x="594" y="98"/>
                  </a:lnTo>
                  <a:lnTo>
                    <a:pt x="594" y="96"/>
                  </a:lnTo>
                  <a:lnTo>
                    <a:pt x="576" y="84"/>
                  </a:lnTo>
                  <a:lnTo>
                    <a:pt x="576" y="84"/>
                  </a:lnTo>
                  <a:lnTo>
                    <a:pt x="574" y="84"/>
                  </a:lnTo>
                  <a:lnTo>
                    <a:pt x="564" y="84"/>
                  </a:lnTo>
                  <a:lnTo>
                    <a:pt x="564" y="84"/>
                  </a:lnTo>
                  <a:lnTo>
                    <a:pt x="562" y="86"/>
                  </a:lnTo>
                  <a:lnTo>
                    <a:pt x="542" y="104"/>
                  </a:lnTo>
                  <a:lnTo>
                    <a:pt x="542" y="104"/>
                  </a:lnTo>
                  <a:lnTo>
                    <a:pt x="542" y="106"/>
                  </a:lnTo>
                  <a:lnTo>
                    <a:pt x="542" y="106"/>
                  </a:lnTo>
                  <a:lnTo>
                    <a:pt x="544" y="108"/>
                  </a:lnTo>
                  <a:lnTo>
                    <a:pt x="550" y="108"/>
                  </a:lnTo>
                  <a:lnTo>
                    <a:pt x="562" y="118"/>
                  </a:lnTo>
                  <a:lnTo>
                    <a:pt x="562" y="118"/>
                  </a:lnTo>
                  <a:lnTo>
                    <a:pt x="564" y="120"/>
                  </a:lnTo>
                  <a:lnTo>
                    <a:pt x="584" y="120"/>
                  </a:lnTo>
                  <a:lnTo>
                    <a:pt x="580" y="122"/>
                  </a:lnTo>
                  <a:lnTo>
                    <a:pt x="564" y="122"/>
                  </a:lnTo>
                  <a:lnTo>
                    <a:pt x="564" y="122"/>
                  </a:lnTo>
                  <a:lnTo>
                    <a:pt x="560" y="124"/>
                  </a:lnTo>
                  <a:lnTo>
                    <a:pt x="560" y="124"/>
                  </a:lnTo>
                  <a:lnTo>
                    <a:pt x="562" y="126"/>
                  </a:lnTo>
                  <a:lnTo>
                    <a:pt x="572" y="136"/>
                  </a:lnTo>
                  <a:lnTo>
                    <a:pt x="572" y="144"/>
                  </a:lnTo>
                  <a:lnTo>
                    <a:pt x="572" y="144"/>
                  </a:lnTo>
                  <a:lnTo>
                    <a:pt x="574" y="146"/>
                  </a:lnTo>
                  <a:lnTo>
                    <a:pt x="574" y="146"/>
                  </a:lnTo>
                  <a:lnTo>
                    <a:pt x="576" y="146"/>
                  </a:lnTo>
                  <a:lnTo>
                    <a:pt x="582" y="138"/>
                  </a:lnTo>
                  <a:lnTo>
                    <a:pt x="646" y="172"/>
                  </a:lnTo>
                  <a:lnTo>
                    <a:pt x="656" y="190"/>
                  </a:lnTo>
                  <a:lnTo>
                    <a:pt x="646" y="210"/>
                  </a:lnTo>
                  <a:lnTo>
                    <a:pt x="646" y="210"/>
                  </a:lnTo>
                  <a:lnTo>
                    <a:pt x="646" y="212"/>
                  </a:lnTo>
                  <a:lnTo>
                    <a:pt x="646" y="212"/>
                  </a:lnTo>
                  <a:lnTo>
                    <a:pt x="650" y="214"/>
                  </a:lnTo>
                  <a:lnTo>
                    <a:pt x="678" y="204"/>
                  </a:lnTo>
                  <a:lnTo>
                    <a:pt x="698" y="220"/>
                  </a:lnTo>
                  <a:lnTo>
                    <a:pt x="698" y="220"/>
                  </a:lnTo>
                  <a:lnTo>
                    <a:pt x="700" y="220"/>
                  </a:lnTo>
                  <a:lnTo>
                    <a:pt x="700" y="220"/>
                  </a:lnTo>
                  <a:lnTo>
                    <a:pt x="702" y="218"/>
                  </a:lnTo>
                  <a:lnTo>
                    <a:pt x="702" y="124"/>
                  </a:lnTo>
                  <a:lnTo>
                    <a:pt x="700" y="124"/>
                  </a:lnTo>
                  <a:close/>
                  <a:moveTo>
                    <a:pt x="54" y="80"/>
                  </a:moveTo>
                  <a:lnTo>
                    <a:pt x="54" y="80"/>
                  </a:lnTo>
                  <a:lnTo>
                    <a:pt x="54" y="78"/>
                  </a:lnTo>
                  <a:lnTo>
                    <a:pt x="52" y="7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28" y="58"/>
                  </a:lnTo>
                  <a:lnTo>
                    <a:pt x="28" y="68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30" y="72"/>
                  </a:lnTo>
                  <a:lnTo>
                    <a:pt x="50" y="80"/>
                  </a:lnTo>
                  <a:lnTo>
                    <a:pt x="50" y="80"/>
                  </a:lnTo>
                  <a:lnTo>
                    <a:pt x="52" y="80"/>
                  </a:lnTo>
                  <a:lnTo>
                    <a:pt x="54" y="80"/>
                  </a:lnTo>
                  <a:lnTo>
                    <a:pt x="54" y="80"/>
                  </a:lnTo>
                  <a:close/>
                  <a:moveTo>
                    <a:pt x="72" y="96"/>
                  </a:moveTo>
                  <a:lnTo>
                    <a:pt x="52" y="96"/>
                  </a:lnTo>
                  <a:lnTo>
                    <a:pt x="52" y="98"/>
                  </a:lnTo>
                  <a:lnTo>
                    <a:pt x="50" y="100"/>
                  </a:lnTo>
                  <a:lnTo>
                    <a:pt x="70" y="118"/>
                  </a:lnTo>
                  <a:lnTo>
                    <a:pt x="70" y="118"/>
                  </a:lnTo>
                  <a:lnTo>
                    <a:pt x="74" y="118"/>
                  </a:lnTo>
                  <a:lnTo>
                    <a:pt x="74" y="118"/>
                  </a:lnTo>
                  <a:lnTo>
                    <a:pt x="74" y="114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74" y="96"/>
                  </a:lnTo>
                  <a:lnTo>
                    <a:pt x="72" y="96"/>
                  </a:lnTo>
                  <a:lnTo>
                    <a:pt x="72" y="96"/>
                  </a:lnTo>
                  <a:close/>
                  <a:moveTo>
                    <a:pt x="552" y="200"/>
                  </a:moveTo>
                  <a:lnTo>
                    <a:pt x="534" y="200"/>
                  </a:lnTo>
                  <a:lnTo>
                    <a:pt x="534" y="200"/>
                  </a:lnTo>
                  <a:lnTo>
                    <a:pt x="532" y="200"/>
                  </a:lnTo>
                  <a:lnTo>
                    <a:pt x="530" y="202"/>
                  </a:lnTo>
                  <a:lnTo>
                    <a:pt x="530" y="222"/>
                  </a:lnTo>
                  <a:lnTo>
                    <a:pt x="534" y="222"/>
                  </a:lnTo>
                  <a:lnTo>
                    <a:pt x="534" y="224"/>
                  </a:lnTo>
                  <a:lnTo>
                    <a:pt x="544" y="224"/>
                  </a:lnTo>
                  <a:lnTo>
                    <a:pt x="544" y="224"/>
                  </a:lnTo>
                  <a:lnTo>
                    <a:pt x="546" y="222"/>
                  </a:lnTo>
                  <a:lnTo>
                    <a:pt x="556" y="204"/>
                  </a:lnTo>
                  <a:lnTo>
                    <a:pt x="556" y="204"/>
                  </a:lnTo>
                  <a:lnTo>
                    <a:pt x="556" y="200"/>
                  </a:lnTo>
                  <a:lnTo>
                    <a:pt x="556" y="200"/>
                  </a:lnTo>
                  <a:lnTo>
                    <a:pt x="552" y="200"/>
                  </a:lnTo>
                  <a:lnTo>
                    <a:pt x="552" y="200"/>
                  </a:lnTo>
                  <a:close/>
                  <a:moveTo>
                    <a:pt x="296" y="200"/>
                  </a:moveTo>
                  <a:lnTo>
                    <a:pt x="296" y="200"/>
                  </a:lnTo>
                  <a:lnTo>
                    <a:pt x="296" y="198"/>
                  </a:lnTo>
                  <a:lnTo>
                    <a:pt x="294" y="198"/>
                  </a:lnTo>
                  <a:lnTo>
                    <a:pt x="274" y="198"/>
                  </a:lnTo>
                  <a:lnTo>
                    <a:pt x="266" y="190"/>
                  </a:lnTo>
                  <a:lnTo>
                    <a:pt x="266" y="190"/>
                  </a:lnTo>
                  <a:lnTo>
                    <a:pt x="266" y="188"/>
                  </a:lnTo>
                  <a:lnTo>
                    <a:pt x="236" y="180"/>
                  </a:lnTo>
                  <a:lnTo>
                    <a:pt x="236" y="180"/>
                  </a:lnTo>
                  <a:lnTo>
                    <a:pt x="234" y="180"/>
                  </a:lnTo>
                  <a:lnTo>
                    <a:pt x="234" y="180"/>
                  </a:lnTo>
                  <a:lnTo>
                    <a:pt x="232" y="182"/>
                  </a:lnTo>
                  <a:lnTo>
                    <a:pt x="232" y="186"/>
                  </a:lnTo>
                  <a:lnTo>
                    <a:pt x="218" y="180"/>
                  </a:lnTo>
                  <a:lnTo>
                    <a:pt x="218" y="180"/>
                  </a:lnTo>
                  <a:lnTo>
                    <a:pt x="218" y="180"/>
                  </a:lnTo>
                  <a:lnTo>
                    <a:pt x="188" y="168"/>
                  </a:lnTo>
                  <a:lnTo>
                    <a:pt x="188" y="168"/>
                  </a:lnTo>
                  <a:lnTo>
                    <a:pt x="188" y="168"/>
                  </a:lnTo>
                  <a:lnTo>
                    <a:pt x="170" y="168"/>
                  </a:lnTo>
                  <a:lnTo>
                    <a:pt x="170" y="168"/>
                  </a:lnTo>
                  <a:lnTo>
                    <a:pt x="168" y="170"/>
                  </a:lnTo>
                  <a:lnTo>
                    <a:pt x="156" y="180"/>
                  </a:lnTo>
                  <a:lnTo>
                    <a:pt x="158" y="182"/>
                  </a:lnTo>
                  <a:lnTo>
                    <a:pt x="158" y="184"/>
                  </a:lnTo>
                  <a:lnTo>
                    <a:pt x="196" y="204"/>
                  </a:lnTo>
                  <a:lnTo>
                    <a:pt x="196" y="204"/>
                  </a:lnTo>
                  <a:lnTo>
                    <a:pt x="196" y="204"/>
                  </a:lnTo>
                  <a:lnTo>
                    <a:pt x="294" y="214"/>
                  </a:lnTo>
                  <a:lnTo>
                    <a:pt x="294" y="214"/>
                  </a:lnTo>
                  <a:lnTo>
                    <a:pt x="296" y="214"/>
                  </a:lnTo>
                  <a:lnTo>
                    <a:pt x="296" y="214"/>
                  </a:lnTo>
                  <a:lnTo>
                    <a:pt x="296" y="214"/>
                  </a:lnTo>
                  <a:lnTo>
                    <a:pt x="318" y="214"/>
                  </a:lnTo>
                  <a:lnTo>
                    <a:pt x="318" y="208"/>
                  </a:lnTo>
                  <a:lnTo>
                    <a:pt x="296" y="208"/>
                  </a:lnTo>
                  <a:lnTo>
                    <a:pt x="296" y="200"/>
                  </a:lnTo>
                  <a:close/>
                  <a:moveTo>
                    <a:pt x="612" y="160"/>
                  </a:moveTo>
                  <a:lnTo>
                    <a:pt x="612" y="160"/>
                  </a:lnTo>
                  <a:lnTo>
                    <a:pt x="608" y="162"/>
                  </a:lnTo>
                  <a:lnTo>
                    <a:pt x="590" y="188"/>
                  </a:lnTo>
                  <a:lnTo>
                    <a:pt x="592" y="190"/>
                  </a:lnTo>
                  <a:lnTo>
                    <a:pt x="594" y="192"/>
                  </a:lnTo>
                  <a:lnTo>
                    <a:pt x="612" y="172"/>
                  </a:lnTo>
                  <a:lnTo>
                    <a:pt x="612" y="172"/>
                  </a:lnTo>
                  <a:lnTo>
                    <a:pt x="614" y="170"/>
                  </a:lnTo>
                  <a:lnTo>
                    <a:pt x="614" y="162"/>
                  </a:lnTo>
                  <a:lnTo>
                    <a:pt x="614" y="162"/>
                  </a:lnTo>
                  <a:lnTo>
                    <a:pt x="612" y="160"/>
                  </a:lnTo>
                  <a:lnTo>
                    <a:pt x="612" y="160"/>
                  </a:lnTo>
                  <a:close/>
                  <a:moveTo>
                    <a:pt x="188" y="144"/>
                  </a:moveTo>
                  <a:lnTo>
                    <a:pt x="206" y="144"/>
                  </a:lnTo>
                  <a:lnTo>
                    <a:pt x="206" y="144"/>
                  </a:lnTo>
                  <a:lnTo>
                    <a:pt x="208" y="144"/>
                  </a:lnTo>
                  <a:lnTo>
                    <a:pt x="210" y="142"/>
                  </a:lnTo>
                  <a:lnTo>
                    <a:pt x="210" y="124"/>
                  </a:lnTo>
                  <a:lnTo>
                    <a:pt x="210" y="124"/>
                  </a:lnTo>
                  <a:lnTo>
                    <a:pt x="208" y="122"/>
                  </a:lnTo>
                  <a:lnTo>
                    <a:pt x="206" y="122"/>
                  </a:lnTo>
                  <a:lnTo>
                    <a:pt x="188" y="122"/>
                  </a:lnTo>
                  <a:lnTo>
                    <a:pt x="188" y="122"/>
                  </a:lnTo>
                  <a:lnTo>
                    <a:pt x="186" y="122"/>
                  </a:lnTo>
                  <a:lnTo>
                    <a:pt x="184" y="124"/>
                  </a:lnTo>
                  <a:lnTo>
                    <a:pt x="184" y="142"/>
                  </a:lnTo>
                  <a:lnTo>
                    <a:pt x="188" y="142"/>
                  </a:lnTo>
                  <a:lnTo>
                    <a:pt x="188" y="144"/>
                  </a:lnTo>
                  <a:close/>
                  <a:moveTo>
                    <a:pt x="382" y="228"/>
                  </a:moveTo>
                  <a:lnTo>
                    <a:pt x="382" y="228"/>
                  </a:lnTo>
                  <a:lnTo>
                    <a:pt x="380" y="228"/>
                  </a:lnTo>
                  <a:lnTo>
                    <a:pt x="360" y="228"/>
                  </a:lnTo>
                  <a:lnTo>
                    <a:pt x="360" y="230"/>
                  </a:lnTo>
                  <a:lnTo>
                    <a:pt x="358" y="232"/>
                  </a:lnTo>
                  <a:lnTo>
                    <a:pt x="378" y="252"/>
                  </a:lnTo>
                  <a:lnTo>
                    <a:pt x="378" y="252"/>
                  </a:lnTo>
                  <a:lnTo>
                    <a:pt x="380" y="252"/>
                  </a:lnTo>
                  <a:lnTo>
                    <a:pt x="388" y="252"/>
                  </a:lnTo>
                  <a:lnTo>
                    <a:pt x="388" y="252"/>
                  </a:lnTo>
                  <a:lnTo>
                    <a:pt x="392" y="250"/>
                  </a:lnTo>
                  <a:lnTo>
                    <a:pt x="392" y="250"/>
                  </a:lnTo>
                  <a:lnTo>
                    <a:pt x="392" y="248"/>
                  </a:lnTo>
                  <a:lnTo>
                    <a:pt x="382" y="228"/>
                  </a:lnTo>
                  <a:close/>
                  <a:moveTo>
                    <a:pt x="486" y="208"/>
                  </a:moveTo>
                  <a:lnTo>
                    <a:pt x="458" y="208"/>
                  </a:lnTo>
                  <a:lnTo>
                    <a:pt x="458" y="208"/>
                  </a:lnTo>
                  <a:lnTo>
                    <a:pt x="454" y="208"/>
                  </a:lnTo>
                  <a:lnTo>
                    <a:pt x="436" y="228"/>
                  </a:lnTo>
                  <a:lnTo>
                    <a:pt x="426" y="240"/>
                  </a:lnTo>
                  <a:lnTo>
                    <a:pt x="428" y="242"/>
                  </a:lnTo>
                  <a:lnTo>
                    <a:pt x="428" y="244"/>
                  </a:lnTo>
                  <a:lnTo>
                    <a:pt x="448" y="244"/>
                  </a:lnTo>
                  <a:lnTo>
                    <a:pt x="448" y="244"/>
                  </a:lnTo>
                  <a:lnTo>
                    <a:pt x="450" y="244"/>
                  </a:lnTo>
                  <a:lnTo>
                    <a:pt x="488" y="214"/>
                  </a:lnTo>
                  <a:lnTo>
                    <a:pt x="488" y="214"/>
                  </a:lnTo>
                  <a:lnTo>
                    <a:pt x="490" y="210"/>
                  </a:lnTo>
                  <a:lnTo>
                    <a:pt x="490" y="210"/>
                  </a:lnTo>
                  <a:lnTo>
                    <a:pt x="486" y="208"/>
                  </a:lnTo>
                  <a:lnTo>
                    <a:pt x="486" y="208"/>
                  </a:lnTo>
                  <a:close/>
                  <a:moveTo>
                    <a:pt x="214" y="88"/>
                  </a:moveTo>
                  <a:lnTo>
                    <a:pt x="224" y="106"/>
                  </a:lnTo>
                  <a:lnTo>
                    <a:pt x="232" y="126"/>
                  </a:lnTo>
                  <a:lnTo>
                    <a:pt x="232" y="126"/>
                  </a:lnTo>
                  <a:lnTo>
                    <a:pt x="236" y="126"/>
                  </a:lnTo>
                  <a:lnTo>
                    <a:pt x="252" y="126"/>
                  </a:lnTo>
                  <a:lnTo>
                    <a:pt x="252" y="134"/>
                  </a:lnTo>
                  <a:lnTo>
                    <a:pt x="252" y="134"/>
                  </a:lnTo>
                  <a:lnTo>
                    <a:pt x="252" y="136"/>
                  </a:lnTo>
                  <a:lnTo>
                    <a:pt x="254" y="138"/>
                  </a:lnTo>
                  <a:lnTo>
                    <a:pt x="294" y="138"/>
                  </a:lnTo>
                  <a:lnTo>
                    <a:pt x="300" y="146"/>
                  </a:lnTo>
                  <a:lnTo>
                    <a:pt x="300" y="146"/>
                  </a:lnTo>
                  <a:lnTo>
                    <a:pt x="300" y="146"/>
                  </a:lnTo>
                  <a:lnTo>
                    <a:pt x="302" y="146"/>
                  </a:lnTo>
                  <a:lnTo>
                    <a:pt x="324" y="136"/>
                  </a:lnTo>
                  <a:lnTo>
                    <a:pt x="324" y="136"/>
                  </a:lnTo>
                  <a:lnTo>
                    <a:pt x="326" y="136"/>
                  </a:lnTo>
                  <a:lnTo>
                    <a:pt x="334" y="116"/>
                  </a:lnTo>
                  <a:lnTo>
                    <a:pt x="334" y="116"/>
                  </a:lnTo>
                  <a:lnTo>
                    <a:pt x="334" y="114"/>
                  </a:lnTo>
                  <a:lnTo>
                    <a:pt x="334" y="114"/>
                  </a:lnTo>
                  <a:lnTo>
                    <a:pt x="332" y="112"/>
                  </a:lnTo>
                  <a:lnTo>
                    <a:pt x="328" y="112"/>
                  </a:lnTo>
                  <a:lnTo>
                    <a:pt x="334" y="98"/>
                  </a:lnTo>
                  <a:lnTo>
                    <a:pt x="352" y="80"/>
                  </a:lnTo>
                  <a:lnTo>
                    <a:pt x="362" y="70"/>
                  </a:lnTo>
                  <a:lnTo>
                    <a:pt x="362" y="70"/>
                  </a:lnTo>
                  <a:lnTo>
                    <a:pt x="362" y="68"/>
                  </a:lnTo>
                  <a:lnTo>
                    <a:pt x="362" y="68"/>
                  </a:lnTo>
                  <a:lnTo>
                    <a:pt x="362" y="66"/>
                  </a:lnTo>
                  <a:lnTo>
                    <a:pt x="348" y="58"/>
                  </a:lnTo>
                  <a:lnTo>
                    <a:pt x="352" y="54"/>
                  </a:lnTo>
                  <a:lnTo>
                    <a:pt x="352" y="54"/>
                  </a:lnTo>
                  <a:lnTo>
                    <a:pt x="354" y="52"/>
                  </a:lnTo>
                  <a:lnTo>
                    <a:pt x="352" y="50"/>
                  </a:lnTo>
                  <a:lnTo>
                    <a:pt x="346" y="40"/>
                  </a:lnTo>
                  <a:lnTo>
                    <a:pt x="354" y="24"/>
                  </a:lnTo>
                  <a:lnTo>
                    <a:pt x="354" y="24"/>
                  </a:lnTo>
                  <a:lnTo>
                    <a:pt x="352" y="20"/>
                  </a:lnTo>
                  <a:lnTo>
                    <a:pt x="352" y="20"/>
                  </a:lnTo>
                  <a:lnTo>
                    <a:pt x="350" y="20"/>
                  </a:lnTo>
                  <a:lnTo>
                    <a:pt x="324" y="20"/>
                  </a:lnTo>
                  <a:lnTo>
                    <a:pt x="324" y="20"/>
                  </a:lnTo>
                  <a:lnTo>
                    <a:pt x="320" y="20"/>
                  </a:lnTo>
                  <a:lnTo>
                    <a:pt x="292" y="56"/>
                  </a:lnTo>
                  <a:lnTo>
                    <a:pt x="284" y="64"/>
                  </a:lnTo>
                  <a:lnTo>
                    <a:pt x="266" y="56"/>
                  </a:lnTo>
                  <a:lnTo>
                    <a:pt x="266" y="56"/>
                  </a:lnTo>
                  <a:lnTo>
                    <a:pt x="262" y="56"/>
                  </a:lnTo>
                  <a:lnTo>
                    <a:pt x="252" y="66"/>
                  </a:lnTo>
                  <a:lnTo>
                    <a:pt x="236" y="66"/>
                  </a:lnTo>
                  <a:lnTo>
                    <a:pt x="218" y="56"/>
                  </a:lnTo>
                  <a:lnTo>
                    <a:pt x="218" y="58"/>
                  </a:lnTo>
                  <a:lnTo>
                    <a:pt x="218" y="58"/>
                  </a:lnTo>
                  <a:lnTo>
                    <a:pt x="218" y="58"/>
                  </a:lnTo>
                  <a:lnTo>
                    <a:pt x="216" y="56"/>
                  </a:lnTo>
                  <a:lnTo>
                    <a:pt x="204" y="66"/>
                  </a:lnTo>
                  <a:lnTo>
                    <a:pt x="204" y="66"/>
                  </a:lnTo>
                  <a:lnTo>
                    <a:pt x="204" y="68"/>
                  </a:lnTo>
                  <a:lnTo>
                    <a:pt x="204" y="70"/>
                  </a:lnTo>
                  <a:lnTo>
                    <a:pt x="214" y="88"/>
                  </a:lnTo>
                  <a:close/>
                  <a:moveTo>
                    <a:pt x="160" y="172"/>
                  </a:moveTo>
                  <a:lnTo>
                    <a:pt x="172" y="136"/>
                  </a:lnTo>
                  <a:lnTo>
                    <a:pt x="172" y="136"/>
                  </a:lnTo>
                  <a:lnTo>
                    <a:pt x="172" y="134"/>
                  </a:lnTo>
                  <a:lnTo>
                    <a:pt x="168" y="128"/>
                  </a:lnTo>
                  <a:lnTo>
                    <a:pt x="176" y="136"/>
                  </a:lnTo>
                  <a:lnTo>
                    <a:pt x="176" y="136"/>
                  </a:lnTo>
                  <a:lnTo>
                    <a:pt x="180" y="138"/>
                  </a:lnTo>
                  <a:lnTo>
                    <a:pt x="180" y="138"/>
                  </a:lnTo>
                  <a:lnTo>
                    <a:pt x="182" y="134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82" y="122"/>
                  </a:lnTo>
                  <a:lnTo>
                    <a:pt x="172" y="104"/>
                  </a:lnTo>
                  <a:lnTo>
                    <a:pt x="172" y="104"/>
                  </a:lnTo>
                  <a:lnTo>
                    <a:pt x="168" y="102"/>
                  </a:lnTo>
                  <a:lnTo>
                    <a:pt x="168" y="102"/>
                  </a:lnTo>
                  <a:lnTo>
                    <a:pt x="166" y="104"/>
                  </a:lnTo>
                  <a:lnTo>
                    <a:pt x="156" y="114"/>
                  </a:lnTo>
                  <a:lnTo>
                    <a:pt x="152" y="114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40" y="94"/>
                  </a:lnTo>
                  <a:lnTo>
                    <a:pt x="134" y="94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4" y="84"/>
                  </a:lnTo>
                  <a:lnTo>
                    <a:pt x="124" y="76"/>
                  </a:lnTo>
                  <a:lnTo>
                    <a:pt x="124" y="68"/>
                  </a:lnTo>
                  <a:lnTo>
                    <a:pt x="124" y="68"/>
                  </a:lnTo>
                  <a:lnTo>
                    <a:pt x="122" y="66"/>
                  </a:lnTo>
                  <a:lnTo>
                    <a:pt x="94" y="48"/>
                  </a:lnTo>
                  <a:lnTo>
                    <a:pt x="94" y="48"/>
                  </a:lnTo>
                  <a:lnTo>
                    <a:pt x="92" y="48"/>
                  </a:lnTo>
                  <a:lnTo>
                    <a:pt x="82" y="4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4" y="0"/>
                  </a:lnTo>
                  <a:lnTo>
                    <a:pt x="4" y="2"/>
                  </a:lnTo>
                  <a:lnTo>
                    <a:pt x="0" y="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24" y="3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2" y="54"/>
                  </a:lnTo>
                  <a:lnTo>
                    <a:pt x="52" y="60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0" y="80"/>
                  </a:lnTo>
                  <a:lnTo>
                    <a:pt x="78" y="100"/>
                  </a:lnTo>
                  <a:lnTo>
                    <a:pt x="100" y="136"/>
                  </a:lnTo>
                  <a:lnTo>
                    <a:pt x="100" y="136"/>
                  </a:lnTo>
                  <a:lnTo>
                    <a:pt x="100" y="138"/>
                  </a:lnTo>
                  <a:lnTo>
                    <a:pt x="138" y="174"/>
                  </a:lnTo>
                  <a:lnTo>
                    <a:pt x="138" y="174"/>
                  </a:lnTo>
                  <a:lnTo>
                    <a:pt x="140" y="174"/>
                  </a:lnTo>
                  <a:lnTo>
                    <a:pt x="158" y="174"/>
                  </a:lnTo>
                  <a:lnTo>
                    <a:pt x="158" y="174"/>
                  </a:lnTo>
                  <a:lnTo>
                    <a:pt x="160" y="172"/>
                  </a:lnTo>
                  <a:lnTo>
                    <a:pt x="160" y="172"/>
                  </a:lnTo>
                  <a:close/>
                  <a:moveTo>
                    <a:pt x="442" y="210"/>
                  </a:moveTo>
                  <a:lnTo>
                    <a:pt x="442" y="210"/>
                  </a:lnTo>
                  <a:lnTo>
                    <a:pt x="440" y="208"/>
                  </a:lnTo>
                  <a:lnTo>
                    <a:pt x="324" y="208"/>
                  </a:lnTo>
                  <a:lnTo>
                    <a:pt x="324" y="208"/>
                  </a:lnTo>
                  <a:lnTo>
                    <a:pt x="322" y="208"/>
                  </a:lnTo>
                  <a:lnTo>
                    <a:pt x="320" y="210"/>
                  </a:lnTo>
                  <a:lnTo>
                    <a:pt x="320" y="230"/>
                  </a:lnTo>
                  <a:lnTo>
                    <a:pt x="324" y="230"/>
                  </a:lnTo>
                  <a:lnTo>
                    <a:pt x="324" y="232"/>
                  </a:lnTo>
                  <a:lnTo>
                    <a:pt x="332" y="232"/>
                  </a:lnTo>
                  <a:lnTo>
                    <a:pt x="332" y="232"/>
                  </a:lnTo>
                  <a:lnTo>
                    <a:pt x="334" y="232"/>
                  </a:lnTo>
                  <a:lnTo>
                    <a:pt x="372" y="214"/>
                  </a:lnTo>
                  <a:lnTo>
                    <a:pt x="410" y="232"/>
                  </a:lnTo>
                  <a:lnTo>
                    <a:pt x="410" y="232"/>
                  </a:lnTo>
                  <a:lnTo>
                    <a:pt x="412" y="232"/>
                  </a:lnTo>
                  <a:lnTo>
                    <a:pt x="442" y="214"/>
                  </a:lnTo>
                  <a:lnTo>
                    <a:pt x="442" y="214"/>
                  </a:lnTo>
                  <a:lnTo>
                    <a:pt x="442" y="210"/>
                  </a:lnTo>
                  <a:lnTo>
                    <a:pt x="442" y="210"/>
                  </a:lnTo>
                  <a:close/>
                  <a:moveTo>
                    <a:pt x="360" y="124"/>
                  </a:moveTo>
                  <a:lnTo>
                    <a:pt x="360" y="124"/>
                  </a:lnTo>
                  <a:lnTo>
                    <a:pt x="358" y="124"/>
                  </a:lnTo>
                  <a:lnTo>
                    <a:pt x="358" y="136"/>
                  </a:lnTo>
                  <a:lnTo>
                    <a:pt x="358" y="136"/>
                  </a:lnTo>
                  <a:lnTo>
                    <a:pt x="358" y="138"/>
                  </a:lnTo>
                  <a:lnTo>
                    <a:pt x="360" y="138"/>
                  </a:lnTo>
                  <a:lnTo>
                    <a:pt x="368" y="138"/>
                  </a:lnTo>
                  <a:lnTo>
                    <a:pt x="368" y="172"/>
                  </a:lnTo>
                  <a:lnTo>
                    <a:pt x="368" y="172"/>
                  </a:lnTo>
                  <a:lnTo>
                    <a:pt x="370" y="174"/>
                  </a:lnTo>
                  <a:lnTo>
                    <a:pt x="370" y="174"/>
                  </a:lnTo>
                  <a:lnTo>
                    <a:pt x="374" y="174"/>
                  </a:lnTo>
                  <a:lnTo>
                    <a:pt x="382" y="166"/>
                  </a:lnTo>
                  <a:lnTo>
                    <a:pt x="382" y="166"/>
                  </a:lnTo>
                  <a:lnTo>
                    <a:pt x="382" y="164"/>
                  </a:lnTo>
                  <a:lnTo>
                    <a:pt x="382" y="136"/>
                  </a:lnTo>
                  <a:lnTo>
                    <a:pt x="390" y="128"/>
                  </a:lnTo>
                  <a:lnTo>
                    <a:pt x="392" y="128"/>
                  </a:lnTo>
                  <a:lnTo>
                    <a:pt x="388" y="134"/>
                  </a:lnTo>
                  <a:lnTo>
                    <a:pt x="388" y="134"/>
                  </a:lnTo>
                  <a:lnTo>
                    <a:pt x="386" y="136"/>
                  </a:lnTo>
                  <a:lnTo>
                    <a:pt x="386" y="136"/>
                  </a:lnTo>
                  <a:lnTo>
                    <a:pt x="388" y="138"/>
                  </a:lnTo>
                  <a:lnTo>
                    <a:pt x="398" y="146"/>
                  </a:lnTo>
                  <a:lnTo>
                    <a:pt x="398" y="154"/>
                  </a:lnTo>
                  <a:lnTo>
                    <a:pt x="398" y="154"/>
                  </a:lnTo>
                  <a:lnTo>
                    <a:pt x="398" y="156"/>
                  </a:lnTo>
                  <a:lnTo>
                    <a:pt x="400" y="156"/>
                  </a:lnTo>
                  <a:lnTo>
                    <a:pt x="416" y="156"/>
                  </a:lnTo>
                  <a:lnTo>
                    <a:pt x="416" y="172"/>
                  </a:lnTo>
                  <a:lnTo>
                    <a:pt x="416" y="172"/>
                  </a:lnTo>
                  <a:lnTo>
                    <a:pt x="418" y="174"/>
                  </a:lnTo>
                  <a:lnTo>
                    <a:pt x="418" y="174"/>
                  </a:lnTo>
                  <a:lnTo>
                    <a:pt x="420" y="174"/>
                  </a:lnTo>
                  <a:lnTo>
                    <a:pt x="428" y="166"/>
                  </a:lnTo>
                  <a:lnTo>
                    <a:pt x="428" y="166"/>
                  </a:lnTo>
                  <a:lnTo>
                    <a:pt x="430" y="164"/>
                  </a:lnTo>
                  <a:lnTo>
                    <a:pt x="430" y="154"/>
                  </a:lnTo>
                  <a:lnTo>
                    <a:pt x="430" y="154"/>
                  </a:lnTo>
                  <a:lnTo>
                    <a:pt x="428" y="152"/>
                  </a:lnTo>
                  <a:lnTo>
                    <a:pt x="416" y="138"/>
                  </a:lnTo>
                  <a:lnTo>
                    <a:pt x="418" y="138"/>
                  </a:lnTo>
                  <a:lnTo>
                    <a:pt x="418" y="138"/>
                  </a:lnTo>
                  <a:lnTo>
                    <a:pt x="422" y="136"/>
                  </a:lnTo>
                  <a:lnTo>
                    <a:pt x="422" y="136"/>
                  </a:lnTo>
                  <a:lnTo>
                    <a:pt x="420" y="134"/>
                  </a:lnTo>
                  <a:lnTo>
                    <a:pt x="404" y="116"/>
                  </a:lnTo>
                  <a:lnTo>
                    <a:pt x="418" y="102"/>
                  </a:lnTo>
                  <a:lnTo>
                    <a:pt x="428" y="100"/>
                  </a:lnTo>
                  <a:lnTo>
                    <a:pt x="428" y="100"/>
                  </a:lnTo>
                  <a:lnTo>
                    <a:pt x="430" y="100"/>
                  </a:lnTo>
                  <a:lnTo>
                    <a:pt x="430" y="98"/>
                  </a:lnTo>
                  <a:lnTo>
                    <a:pt x="430" y="98"/>
                  </a:lnTo>
                  <a:lnTo>
                    <a:pt x="428" y="96"/>
                  </a:lnTo>
                  <a:lnTo>
                    <a:pt x="426" y="96"/>
                  </a:lnTo>
                  <a:lnTo>
                    <a:pt x="418" y="96"/>
                  </a:lnTo>
                  <a:lnTo>
                    <a:pt x="418" y="96"/>
                  </a:lnTo>
                  <a:lnTo>
                    <a:pt x="416" y="96"/>
                  </a:lnTo>
                  <a:lnTo>
                    <a:pt x="414" y="98"/>
                  </a:lnTo>
                  <a:lnTo>
                    <a:pt x="390" y="104"/>
                  </a:lnTo>
                  <a:lnTo>
                    <a:pt x="382" y="96"/>
                  </a:lnTo>
                  <a:lnTo>
                    <a:pt x="382" y="88"/>
                  </a:lnTo>
                  <a:lnTo>
                    <a:pt x="390" y="82"/>
                  </a:lnTo>
                  <a:lnTo>
                    <a:pt x="448" y="82"/>
                  </a:lnTo>
                  <a:lnTo>
                    <a:pt x="448" y="82"/>
                  </a:lnTo>
                  <a:lnTo>
                    <a:pt x="450" y="80"/>
                  </a:lnTo>
                  <a:lnTo>
                    <a:pt x="458" y="60"/>
                  </a:lnTo>
                  <a:lnTo>
                    <a:pt x="458" y="60"/>
                  </a:lnTo>
                  <a:lnTo>
                    <a:pt x="458" y="56"/>
                  </a:lnTo>
                  <a:lnTo>
                    <a:pt x="458" y="56"/>
                  </a:lnTo>
                  <a:lnTo>
                    <a:pt x="454" y="56"/>
                  </a:lnTo>
                  <a:lnTo>
                    <a:pt x="436" y="66"/>
                  </a:lnTo>
                  <a:lnTo>
                    <a:pt x="418" y="76"/>
                  </a:lnTo>
                  <a:lnTo>
                    <a:pt x="390" y="66"/>
                  </a:lnTo>
                  <a:lnTo>
                    <a:pt x="390" y="66"/>
                  </a:lnTo>
                  <a:lnTo>
                    <a:pt x="388" y="66"/>
                  </a:lnTo>
                  <a:lnTo>
                    <a:pt x="388" y="66"/>
                  </a:lnTo>
                  <a:lnTo>
                    <a:pt x="386" y="68"/>
                  </a:lnTo>
                  <a:lnTo>
                    <a:pt x="386" y="76"/>
                  </a:lnTo>
                  <a:lnTo>
                    <a:pt x="380" y="76"/>
                  </a:lnTo>
                  <a:lnTo>
                    <a:pt x="380" y="76"/>
                  </a:lnTo>
                  <a:lnTo>
                    <a:pt x="378" y="76"/>
                  </a:lnTo>
                  <a:lnTo>
                    <a:pt x="378" y="78"/>
                  </a:lnTo>
                  <a:lnTo>
                    <a:pt x="378" y="98"/>
                  </a:lnTo>
                  <a:lnTo>
                    <a:pt x="358" y="124"/>
                  </a:lnTo>
                  <a:lnTo>
                    <a:pt x="360" y="124"/>
                  </a:lnTo>
                  <a:close/>
                  <a:moveTo>
                    <a:pt x="494" y="90"/>
                  </a:moveTo>
                  <a:lnTo>
                    <a:pt x="494" y="90"/>
                  </a:lnTo>
                  <a:lnTo>
                    <a:pt x="494" y="90"/>
                  </a:lnTo>
                  <a:lnTo>
                    <a:pt x="504" y="100"/>
                  </a:lnTo>
                  <a:lnTo>
                    <a:pt x="504" y="100"/>
                  </a:lnTo>
                  <a:lnTo>
                    <a:pt x="506" y="102"/>
                  </a:lnTo>
                  <a:lnTo>
                    <a:pt x="508" y="100"/>
                  </a:lnTo>
                  <a:lnTo>
                    <a:pt x="508" y="100"/>
                  </a:lnTo>
                  <a:lnTo>
                    <a:pt x="508" y="98"/>
                  </a:lnTo>
                  <a:lnTo>
                    <a:pt x="508" y="96"/>
                  </a:lnTo>
                  <a:lnTo>
                    <a:pt x="500" y="86"/>
                  </a:lnTo>
                  <a:lnTo>
                    <a:pt x="500" y="82"/>
                  </a:lnTo>
                  <a:lnTo>
                    <a:pt x="506" y="82"/>
                  </a:lnTo>
                  <a:lnTo>
                    <a:pt x="506" y="82"/>
                  </a:lnTo>
                  <a:lnTo>
                    <a:pt x="508" y="80"/>
                  </a:lnTo>
                  <a:lnTo>
                    <a:pt x="508" y="78"/>
                  </a:lnTo>
                  <a:lnTo>
                    <a:pt x="508" y="58"/>
                  </a:lnTo>
                  <a:lnTo>
                    <a:pt x="508" y="58"/>
                  </a:lnTo>
                  <a:lnTo>
                    <a:pt x="508" y="56"/>
                  </a:lnTo>
                  <a:lnTo>
                    <a:pt x="506" y="56"/>
                  </a:lnTo>
                  <a:lnTo>
                    <a:pt x="504" y="56"/>
                  </a:lnTo>
                  <a:lnTo>
                    <a:pt x="504" y="58"/>
                  </a:lnTo>
                  <a:lnTo>
                    <a:pt x="498" y="50"/>
                  </a:lnTo>
                  <a:lnTo>
                    <a:pt x="498" y="50"/>
                  </a:lnTo>
                  <a:lnTo>
                    <a:pt x="496" y="48"/>
                  </a:lnTo>
                  <a:lnTo>
                    <a:pt x="496" y="48"/>
                  </a:lnTo>
                  <a:lnTo>
                    <a:pt x="494" y="50"/>
                  </a:lnTo>
                  <a:lnTo>
                    <a:pt x="484" y="68"/>
                  </a:lnTo>
                  <a:lnTo>
                    <a:pt x="486" y="70"/>
                  </a:lnTo>
                  <a:lnTo>
                    <a:pt x="486" y="70"/>
                  </a:lnTo>
                  <a:lnTo>
                    <a:pt x="486" y="70"/>
                  </a:lnTo>
                  <a:lnTo>
                    <a:pt x="484" y="70"/>
                  </a:lnTo>
                  <a:lnTo>
                    <a:pt x="494" y="90"/>
                  </a:lnTo>
                  <a:close/>
                  <a:moveTo>
                    <a:pt x="486" y="132"/>
                  </a:moveTo>
                  <a:lnTo>
                    <a:pt x="468" y="132"/>
                  </a:lnTo>
                  <a:lnTo>
                    <a:pt x="468" y="136"/>
                  </a:lnTo>
                  <a:lnTo>
                    <a:pt x="466" y="138"/>
                  </a:lnTo>
                  <a:lnTo>
                    <a:pt x="484" y="156"/>
                  </a:lnTo>
                  <a:lnTo>
                    <a:pt x="484" y="156"/>
                  </a:lnTo>
                  <a:lnTo>
                    <a:pt x="488" y="156"/>
                  </a:lnTo>
                  <a:lnTo>
                    <a:pt x="488" y="156"/>
                  </a:lnTo>
                  <a:lnTo>
                    <a:pt x="490" y="154"/>
                  </a:lnTo>
                  <a:lnTo>
                    <a:pt x="490" y="136"/>
                  </a:lnTo>
                  <a:lnTo>
                    <a:pt x="490" y="136"/>
                  </a:lnTo>
                  <a:lnTo>
                    <a:pt x="488" y="134"/>
                  </a:lnTo>
                  <a:lnTo>
                    <a:pt x="486" y="132"/>
                  </a:lnTo>
                  <a:lnTo>
                    <a:pt x="486" y="132"/>
                  </a:lnTo>
                  <a:close/>
                  <a:moveTo>
                    <a:pt x="544" y="146"/>
                  </a:moveTo>
                  <a:lnTo>
                    <a:pt x="544" y="146"/>
                  </a:lnTo>
                  <a:lnTo>
                    <a:pt x="546" y="146"/>
                  </a:lnTo>
                  <a:lnTo>
                    <a:pt x="546" y="144"/>
                  </a:lnTo>
                  <a:lnTo>
                    <a:pt x="546" y="144"/>
                  </a:lnTo>
                  <a:lnTo>
                    <a:pt x="548" y="142"/>
                  </a:lnTo>
                  <a:lnTo>
                    <a:pt x="546" y="142"/>
                  </a:lnTo>
                  <a:lnTo>
                    <a:pt x="536" y="132"/>
                  </a:lnTo>
                  <a:lnTo>
                    <a:pt x="528" y="122"/>
                  </a:lnTo>
                  <a:lnTo>
                    <a:pt x="528" y="122"/>
                  </a:lnTo>
                  <a:lnTo>
                    <a:pt x="524" y="122"/>
                  </a:lnTo>
                  <a:lnTo>
                    <a:pt x="504" y="122"/>
                  </a:lnTo>
                  <a:lnTo>
                    <a:pt x="504" y="122"/>
                  </a:lnTo>
                  <a:lnTo>
                    <a:pt x="500" y="122"/>
                  </a:lnTo>
                  <a:lnTo>
                    <a:pt x="492" y="132"/>
                  </a:lnTo>
                  <a:lnTo>
                    <a:pt x="494" y="134"/>
                  </a:lnTo>
                  <a:lnTo>
                    <a:pt x="494" y="138"/>
                  </a:lnTo>
                  <a:lnTo>
                    <a:pt x="544" y="14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03" name="Freeform 140"/>
            <p:cNvSpPr>
              <a:spLocks/>
            </p:cNvSpPr>
            <p:nvPr>
              <p:custDataLst>
                <p:tags r:id="rId162"/>
              </p:custDataLst>
            </p:nvPr>
          </p:nvSpPr>
          <p:spPr bwMode="gray">
            <a:xfrm>
              <a:off x="2551248" y="3011877"/>
              <a:ext cx="46613" cy="52563"/>
            </a:xfrm>
            <a:custGeom>
              <a:avLst/>
              <a:gdLst>
                <a:gd name="T0" fmla="*/ 16 w 47"/>
                <a:gd name="T1" fmla="*/ 18 h 54"/>
                <a:gd name="T2" fmla="*/ 12 w 47"/>
                <a:gd name="T3" fmla="*/ 50 h 54"/>
                <a:gd name="T4" fmla="*/ 26 w 47"/>
                <a:gd name="T5" fmla="*/ 54 h 54"/>
                <a:gd name="T6" fmla="*/ 44 w 47"/>
                <a:gd name="T7" fmla="*/ 46 h 54"/>
                <a:gd name="T8" fmla="*/ 44 w 47"/>
                <a:gd name="T9" fmla="*/ 30 h 54"/>
                <a:gd name="T10" fmla="*/ 39 w 47"/>
                <a:gd name="T11" fmla="*/ 9 h 54"/>
                <a:gd name="T12" fmla="*/ 16 w 47"/>
                <a:gd name="T13" fmla="*/ 1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54">
                  <a:moveTo>
                    <a:pt x="16" y="18"/>
                  </a:moveTo>
                  <a:cubicBezTo>
                    <a:pt x="3" y="22"/>
                    <a:pt x="0" y="42"/>
                    <a:pt x="12" y="50"/>
                  </a:cubicBezTo>
                  <a:cubicBezTo>
                    <a:pt x="16" y="53"/>
                    <a:pt x="21" y="52"/>
                    <a:pt x="26" y="54"/>
                  </a:cubicBezTo>
                  <a:cubicBezTo>
                    <a:pt x="40" y="49"/>
                    <a:pt x="34" y="52"/>
                    <a:pt x="44" y="46"/>
                  </a:cubicBezTo>
                  <a:cubicBezTo>
                    <a:pt x="47" y="42"/>
                    <a:pt x="45" y="36"/>
                    <a:pt x="44" y="30"/>
                  </a:cubicBezTo>
                  <a:cubicBezTo>
                    <a:pt x="43" y="24"/>
                    <a:pt x="44" y="11"/>
                    <a:pt x="39" y="9"/>
                  </a:cubicBezTo>
                  <a:cubicBezTo>
                    <a:pt x="36" y="0"/>
                    <a:pt x="25" y="15"/>
                    <a:pt x="16" y="1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204" name="Freeform 248"/>
            <p:cNvSpPr>
              <a:spLocks/>
            </p:cNvSpPr>
            <p:nvPr>
              <p:custDataLst>
                <p:tags r:id="rId163"/>
              </p:custDataLst>
            </p:nvPr>
          </p:nvSpPr>
          <p:spPr bwMode="gray">
            <a:xfrm>
              <a:off x="2505627" y="2968240"/>
              <a:ext cx="59505" cy="20826"/>
            </a:xfrm>
            <a:custGeom>
              <a:avLst/>
              <a:gdLst>
                <a:gd name="T0" fmla="*/ 0 w 60"/>
                <a:gd name="T1" fmla="*/ 9 h 22"/>
                <a:gd name="T2" fmla="*/ 27 w 60"/>
                <a:gd name="T3" fmla="*/ 9 h 22"/>
                <a:gd name="T4" fmla="*/ 39 w 60"/>
                <a:gd name="T5" fmla="*/ 8 h 22"/>
                <a:gd name="T6" fmla="*/ 48 w 60"/>
                <a:gd name="T7" fmla="*/ 0 h 22"/>
                <a:gd name="T8" fmla="*/ 60 w 60"/>
                <a:gd name="T9" fmla="*/ 9 h 22"/>
                <a:gd name="T10" fmla="*/ 49 w 60"/>
                <a:gd name="T11" fmla="*/ 19 h 22"/>
                <a:gd name="T12" fmla="*/ 40 w 60"/>
                <a:gd name="T13" fmla="*/ 16 h 22"/>
                <a:gd name="T14" fmla="*/ 30 w 60"/>
                <a:gd name="T15" fmla="*/ 22 h 22"/>
                <a:gd name="T16" fmla="*/ 3 w 60"/>
                <a:gd name="T17" fmla="*/ 21 h 22"/>
                <a:gd name="T18" fmla="*/ 0 w 60"/>
                <a:gd name="T1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22">
                  <a:moveTo>
                    <a:pt x="0" y="9"/>
                  </a:moveTo>
                  <a:lnTo>
                    <a:pt x="27" y="9"/>
                  </a:lnTo>
                  <a:lnTo>
                    <a:pt x="39" y="8"/>
                  </a:lnTo>
                  <a:lnTo>
                    <a:pt x="48" y="0"/>
                  </a:lnTo>
                  <a:lnTo>
                    <a:pt x="60" y="9"/>
                  </a:lnTo>
                  <a:lnTo>
                    <a:pt x="49" y="19"/>
                  </a:lnTo>
                  <a:lnTo>
                    <a:pt x="40" y="16"/>
                  </a:lnTo>
                  <a:lnTo>
                    <a:pt x="30" y="22"/>
                  </a:lnTo>
                  <a:lnTo>
                    <a:pt x="3" y="21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205" name="Freeform 249"/>
            <p:cNvSpPr>
              <a:spLocks/>
            </p:cNvSpPr>
            <p:nvPr>
              <p:custDataLst>
                <p:tags r:id="rId164"/>
              </p:custDataLst>
            </p:nvPr>
          </p:nvSpPr>
          <p:spPr bwMode="gray">
            <a:xfrm>
              <a:off x="2506619" y="2985100"/>
              <a:ext cx="47604" cy="28760"/>
            </a:xfrm>
            <a:custGeom>
              <a:avLst/>
              <a:gdLst>
                <a:gd name="T0" fmla="*/ 0 w 48"/>
                <a:gd name="T1" fmla="*/ 23 h 29"/>
                <a:gd name="T2" fmla="*/ 21 w 48"/>
                <a:gd name="T3" fmla="*/ 29 h 29"/>
                <a:gd name="T4" fmla="*/ 30 w 48"/>
                <a:gd name="T5" fmla="*/ 21 h 29"/>
                <a:gd name="T6" fmla="*/ 48 w 48"/>
                <a:gd name="T7" fmla="*/ 0 h 29"/>
                <a:gd name="T8" fmla="*/ 26 w 48"/>
                <a:gd name="T9" fmla="*/ 3 h 29"/>
                <a:gd name="T10" fmla="*/ 3 w 48"/>
                <a:gd name="T11" fmla="*/ 3 h 29"/>
                <a:gd name="T12" fmla="*/ 2 w 48"/>
                <a:gd name="T13" fmla="*/ 14 h 29"/>
                <a:gd name="T14" fmla="*/ 0 w 48"/>
                <a:gd name="T15" fmla="*/ 2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29">
                  <a:moveTo>
                    <a:pt x="0" y="23"/>
                  </a:moveTo>
                  <a:lnTo>
                    <a:pt x="21" y="29"/>
                  </a:lnTo>
                  <a:lnTo>
                    <a:pt x="30" y="21"/>
                  </a:lnTo>
                  <a:lnTo>
                    <a:pt x="48" y="0"/>
                  </a:lnTo>
                  <a:lnTo>
                    <a:pt x="26" y="3"/>
                  </a:lnTo>
                  <a:lnTo>
                    <a:pt x="3" y="3"/>
                  </a:lnTo>
                  <a:lnTo>
                    <a:pt x="2" y="14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206" name="Freeform 250"/>
            <p:cNvSpPr>
              <a:spLocks/>
            </p:cNvSpPr>
            <p:nvPr>
              <p:custDataLst>
                <p:tags r:id="rId165"/>
              </p:custDataLst>
            </p:nvPr>
          </p:nvSpPr>
          <p:spPr bwMode="gray">
            <a:xfrm>
              <a:off x="2502652" y="2925595"/>
              <a:ext cx="78349" cy="67439"/>
            </a:xfrm>
            <a:custGeom>
              <a:avLst/>
              <a:gdLst>
                <a:gd name="T0" fmla="*/ 10 w 79"/>
                <a:gd name="T1" fmla="*/ 4 h 69"/>
                <a:gd name="T2" fmla="*/ 27 w 79"/>
                <a:gd name="T3" fmla="*/ 0 h 69"/>
                <a:gd name="T4" fmla="*/ 55 w 79"/>
                <a:gd name="T5" fmla="*/ 10 h 69"/>
                <a:gd name="T6" fmla="*/ 63 w 79"/>
                <a:gd name="T7" fmla="*/ 21 h 69"/>
                <a:gd name="T8" fmla="*/ 79 w 79"/>
                <a:gd name="T9" fmla="*/ 22 h 69"/>
                <a:gd name="T10" fmla="*/ 79 w 79"/>
                <a:gd name="T11" fmla="*/ 51 h 69"/>
                <a:gd name="T12" fmla="*/ 79 w 79"/>
                <a:gd name="T13" fmla="*/ 69 h 69"/>
                <a:gd name="T14" fmla="*/ 66 w 79"/>
                <a:gd name="T15" fmla="*/ 64 h 69"/>
                <a:gd name="T16" fmla="*/ 57 w 79"/>
                <a:gd name="T17" fmla="*/ 58 h 69"/>
                <a:gd name="T18" fmla="*/ 4 w 79"/>
                <a:gd name="T19" fmla="*/ 67 h 69"/>
                <a:gd name="T20" fmla="*/ 22 w 79"/>
                <a:gd name="T21" fmla="*/ 63 h 69"/>
                <a:gd name="T22" fmla="*/ 46 w 79"/>
                <a:gd name="T23" fmla="*/ 61 h 69"/>
                <a:gd name="T24" fmla="*/ 60 w 79"/>
                <a:gd name="T25" fmla="*/ 54 h 69"/>
                <a:gd name="T26" fmla="*/ 51 w 79"/>
                <a:gd name="T27" fmla="*/ 43 h 69"/>
                <a:gd name="T28" fmla="*/ 42 w 79"/>
                <a:gd name="T29" fmla="*/ 52 h 69"/>
                <a:gd name="T30" fmla="*/ 1 w 79"/>
                <a:gd name="T31" fmla="*/ 54 h 69"/>
                <a:gd name="T32" fmla="*/ 0 w 79"/>
                <a:gd name="T33" fmla="*/ 28 h 69"/>
                <a:gd name="T34" fmla="*/ 6 w 79"/>
                <a:gd name="T35" fmla="*/ 16 h 69"/>
                <a:gd name="T36" fmla="*/ 10 w 79"/>
                <a:gd name="T37" fmla="*/ 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" h="69">
                  <a:moveTo>
                    <a:pt x="10" y="4"/>
                  </a:moveTo>
                  <a:lnTo>
                    <a:pt x="27" y="0"/>
                  </a:lnTo>
                  <a:lnTo>
                    <a:pt x="55" y="10"/>
                  </a:lnTo>
                  <a:lnTo>
                    <a:pt x="63" y="21"/>
                  </a:lnTo>
                  <a:lnTo>
                    <a:pt x="79" y="22"/>
                  </a:lnTo>
                  <a:lnTo>
                    <a:pt x="79" y="51"/>
                  </a:lnTo>
                  <a:lnTo>
                    <a:pt x="79" y="69"/>
                  </a:lnTo>
                  <a:lnTo>
                    <a:pt x="66" y="64"/>
                  </a:lnTo>
                  <a:lnTo>
                    <a:pt x="57" y="58"/>
                  </a:lnTo>
                  <a:lnTo>
                    <a:pt x="4" y="67"/>
                  </a:lnTo>
                  <a:lnTo>
                    <a:pt x="22" y="63"/>
                  </a:lnTo>
                  <a:lnTo>
                    <a:pt x="46" y="61"/>
                  </a:lnTo>
                  <a:lnTo>
                    <a:pt x="60" y="54"/>
                  </a:lnTo>
                  <a:lnTo>
                    <a:pt x="51" y="43"/>
                  </a:lnTo>
                  <a:lnTo>
                    <a:pt x="42" y="52"/>
                  </a:lnTo>
                  <a:lnTo>
                    <a:pt x="1" y="54"/>
                  </a:lnTo>
                  <a:lnTo>
                    <a:pt x="0" y="28"/>
                  </a:lnTo>
                  <a:lnTo>
                    <a:pt x="6" y="16"/>
                  </a:lnTo>
                  <a:lnTo>
                    <a:pt x="10" y="4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207" name="Freeform 206"/>
            <p:cNvSpPr/>
            <p:nvPr/>
          </p:nvSpPr>
          <p:spPr>
            <a:xfrm>
              <a:off x="2642975" y="2012661"/>
              <a:ext cx="19350" cy="30907"/>
            </a:xfrm>
            <a:custGeom>
              <a:avLst/>
              <a:gdLst>
                <a:gd name="connsiteX0" fmla="*/ 0 w 45244"/>
                <a:gd name="connsiteY0" fmla="*/ 23812 h 23812"/>
                <a:gd name="connsiteX1" fmla="*/ 45244 w 45244"/>
                <a:gd name="connsiteY1" fmla="*/ 0 h 23812"/>
                <a:gd name="connsiteX2" fmla="*/ 0 w 45244"/>
                <a:gd name="connsiteY2" fmla="*/ 23812 h 23812"/>
                <a:gd name="connsiteX0" fmla="*/ 0 w 23813"/>
                <a:gd name="connsiteY0" fmla="*/ 0 h 33338"/>
                <a:gd name="connsiteX1" fmla="*/ 23813 w 23813"/>
                <a:gd name="connsiteY1" fmla="*/ 33338 h 33338"/>
                <a:gd name="connsiteX2" fmla="*/ 0 w 23813"/>
                <a:gd name="connsiteY2" fmla="*/ 0 h 33338"/>
                <a:gd name="connsiteX0" fmla="*/ 0 w 35942"/>
                <a:gd name="connsiteY0" fmla="*/ 1209 h 55714"/>
                <a:gd name="connsiteX1" fmla="*/ 23813 w 35942"/>
                <a:gd name="connsiteY1" fmla="*/ 34547 h 55714"/>
                <a:gd name="connsiteX2" fmla="*/ 0 w 35942"/>
                <a:gd name="connsiteY2" fmla="*/ 1209 h 55714"/>
                <a:gd name="connsiteX0" fmla="*/ 262 w 24331"/>
                <a:gd name="connsiteY0" fmla="*/ 11 h 35874"/>
                <a:gd name="connsiteX1" fmla="*/ 24075 w 24331"/>
                <a:gd name="connsiteY1" fmla="*/ 33349 h 35874"/>
                <a:gd name="connsiteX2" fmla="*/ 12116 w 24331"/>
                <a:gd name="connsiteY2" fmla="*/ 29784 h 35874"/>
                <a:gd name="connsiteX3" fmla="*/ 262 w 24331"/>
                <a:gd name="connsiteY3" fmla="*/ 11 h 35874"/>
                <a:gd name="connsiteX0" fmla="*/ 639 w 34065"/>
                <a:gd name="connsiteY0" fmla="*/ 1389 h 36767"/>
                <a:gd name="connsiteX1" fmla="*/ 33087 w 34065"/>
                <a:gd name="connsiteY1" fmla="*/ 7946 h 36767"/>
                <a:gd name="connsiteX2" fmla="*/ 24452 w 34065"/>
                <a:gd name="connsiteY2" fmla="*/ 34727 h 36767"/>
                <a:gd name="connsiteX3" fmla="*/ 12493 w 34065"/>
                <a:gd name="connsiteY3" fmla="*/ 31162 h 36767"/>
                <a:gd name="connsiteX4" fmla="*/ 639 w 34065"/>
                <a:gd name="connsiteY4" fmla="*/ 1389 h 36767"/>
                <a:gd name="connsiteX0" fmla="*/ 639 w 35387"/>
                <a:gd name="connsiteY0" fmla="*/ 1389 h 44263"/>
                <a:gd name="connsiteX1" fmla="*/ 33087 w 35387"/>
                <a:gd name="connsiteY1" fmla="*/ 7946 h 44263"/>
                <a:gd name="connsiteX2" fmla="*/ 31940 w 35387"/>
                <a:gd name="connsiteY2" fmla="*/ 43432 h 44263"/>
                <a:gd name="connsiteX3" fmla="*/ 12493 w 35387"/>
                <a:gd name="connsiteY3" fmla="*/ 31162 h 44263"/>
                <a:gd name="connsiteX4" fmla="*/ 639 w 35387"/>
                <a:gd name="connsiteY4" fmla="*/ 1389 h 44263"/>
                <a:gd name="connsiteX0" fmla="*/ 639 w 35118"/>
                <a:gd name="connsiteY0" fmla="*/ 1389 h 60290"/>
                <a:gd name="connsiteX1" fmla="*/ 33087 w 35118"/>
                <a:gd name="connsiteY1" fmla="*/ 7946 h 60290"/>
                <a:gd name="connsiteX2" fmla="*/ 31940 w 35118"/>
                <a:gd name="connsiteY2" fmla="*/ 43432 h 60290"/>
                <a:gd name="connsiteX3" fmla="*/ 18293 w 35118"/>
                <a:gd name="connsiteY3" fmla="*/ 60021 h 60290"/>
                <a:gd name="connsiteX4" fmla="*/ 12493 w 35118"/>
                <a:gd name="connsiteY4" fmla="*/ 31162 h 60290"/>
                <a:gd name="connsiteX5" fmla="*/ 639 w 35118"/>
                <a:gd name="connsiteY5" fmla="*/ 1389 h 60290"/>
                <a:gd name="connsiteX0" fmla="*/ 6372 w 24002"/>
                <a:gd name="connsiteY0" fmla="*/ 12252 h 53744"/>
                <a:gd name="connsiteX1" fmla="*/ 21971 w 24002"/>
                <a:gd name="connsiteY1" fmla="*/ 1398 h 53744"/>
                <a:gd name="connsiteX2" fmla="*/ 20824 w 24002"/>
                <a:gd name="connsiteY2" fmla="*/ 36884 h 53744"/>
                <a:gd name="connsiteX3" fmla="*/ 7177 w 24002"/>
                <a:gd name="connsiteY3" fmla="*/ 53473 h 53744"/>
                <a:gd name="connsiteX4" fmla="*/ 1377 w 24002"/>
                <a:gd name="connsiteY4" fmla="*/ 24614 h 53744"/>
                <a:gd name="connsiteX5" fmla="*/ 6372 w 24002"/>
                <a:gd name="connsiteY5" fmla="*/ 12252 h 53744"/>
                <a:gd name="connsiteX0" fmla="*/ 4848 w 24350"/>
                <a:gd name="connsiteY0" fmla="*/ 1388 h 60289"/>
                <a:gd name="connsiteX1" fmla="*/ 22319 w 24350"/>
                <a:gd name="connsiteY1" fmla="*/ 7944 h 60289"/>
                <a:gd name="connsiteX2" fmla="*/ 21172 w 24350"/>
                <a:gd name="connsiteY2" fmla="*/ 43430 h 60289"/>
                <a:gd name="connsiteX3" fmla="*/ 7525 w 24350"/>
                <a:gd name="connsiteY3" fmla="*/ 60019 h 60289"/>
                <a:gd name="connsiteX4" fmla="*/ 1725 w 24350"/>
                <a:gd name="connsiteY4" fmla="*/ 31160 h 60289"/>
                <a:gd name="connsiteX5" fmla="*/ 4848 w 24350"/>
                <a:gd name="connsiteY5" fmla="*/ 1388 h 60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350" h="60289">
                  <a:moveTo>
                    <a:pt x="4848" y="1388"/>
                  </a:moveTo>
                  <a:cubicBezTo>
                    <a:pt x="8280" y="-2481"/>
                    <a:pt x="18350" y="2388"/>
                    <a:pt x="22319" y="7944"/>
                  </a:cubicBezTo>
                  <a:cubicBezTo>
                    <a:pt x="26288" y="13500"/>
                    <a:pt x="23638" y="34751"/>
                    <a:pt x="21172" y="43430"/>
                  </a:cubicBezTo>
                  <a:cubicBezTo>
                    <a:pt x="18706" y="52109"/>
                    <a:pt x="10766" y="62064"/>
                    <a:pt x="7525" y="60019"/>
                  </a:cubicBezTo>
                  <a:cubicBezTo>
                    <a:pt x="4284" y="57974"/>
                    <a:pt x="4667" y="38030"/>
                    <a:pt x="1725" y="31160"/>
                  </a:cubicBezTo>
                  <a:cubicBezTo>
                    <a:pt x="-2244" y="25604"/>
                    <a:pt x="1416" y="5257"/>
                    <a:pt x="4848" y="1388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08" name="Freeform 244"/>
            <p:cNvSpPr>
              <a:spLocks/>
            </p:cNvSpPr>
            <p:nvPr>
              <p:custDataLst>
                <p:tags r:id="rId166"/>
              </p:custDataLst>
            </p:nvPr>
          </p:nvSpPr>
          <p:spPr bwMode="gray">
            <a:xfrm>
              <a:off x="2619679" y="2057906"/>
              <a:ext cx="154713" cy="285035"/>
            </a:xfrm>
            <a:custGeom>
              <a:avLst/>
              <a:gdLst>
                <a:gd name="connsiteX0" fmla="*/ 23812 w 247650"/>
                <a:gd name="connsiteY0" fmla="*/ 317472 h 526236"/>
                <a:gd name="connsiteX1" fmla="*/ 60325 w 247650"/>
                <a:gd name="connsiteY1" fmla="*/ 336156 h 526236"/>
                <a:gd name="connsiteX2" fmla="*/ 66675 w 247650"/>
                <a:gd name="connsiteY2" fmla="*/ 350169 h 526236"/>
                <a:gd name="connsiteX3" fmla="*/ 77787 w 247650"/>
                <a:gd name="connsiteY3" fmla="*/ 384422 h 526236"/>
                <a:gd name="connsiteX4" fmla="*/ 52387 w 247650"/>
                <a:gd name="connsiteY4" fmla="*/ 395321 h 526236"/>
                <a:gd name="connsiteX5" fmla="*/ 20637 w 247650"/>
                <a:gd name="connsiteY5" fmla="*/ 389093 h 526236"/>
                <a:gd name="connsiteX6" fmla="*/ 0 w 247650"/>
                <a:gd name="connsiteY6" fmla="*/ 370409 h 526236"/>
                <a:gd name="connsiteX7" fmla="*/ 4762 w 247650"/>
                <a:gd name="connsiteY7" fmla="*/ 351726 h 526236"/>
                <a:gd name="connsiteX8" fmla="*/ 23812 w 247650"/>
                <a:gd name="connsiteY8" fmla="*/ 317472 h 526236"/>
                <a:gd name="connsiteX9" fmla="*/ 147637 w 247650"/>
                <a:gd name="connsiteY9" fmla="*/ 143069 h 526236"/>
                <a:gd name="connsiteX10" fmla="*/ 150812 w 247650"/>
                <a:gd name="connsiteY10" fmla="*/ 181947 h 526236"/>
                <a:gd name="connsiteX11" fmla="*/ 122237 w 247650"/>
                <a:gd name="connsiteY11" fmla="*/ 219269 h 526236"/>
                <a:gd name="connsiteX12" fmla="*/ 174625 w 247650"/>
                <a:gd name="connsiteY12" fmla="*/ 228600 h 526236"/>
                <a:gd name="connsiteX13" fmla="*/ 152400 w 247650"/>
                <a:gd name="connsiteY13" fmla="*/ 275253 h 526236"/>
                <a:gd name="connsiteX14" fmla="*/ 161925 w 247650"/>
                <a:gd name="connsiteY14" fmla="*/ 298580 h 526236"/>
                <a:gd name="connsiteX15" fmla="*/ 174625 w 247650"/>
                <a:gd name="connsiteY15" fmla="*/ 320351 h 526236"/>
                <a:gd name="connsiteX16" fmla="*/ 185738 w 247650"/>
                <a:gd name="connsiteY16" fmla="*/ 345233 h 526236"/>
                <a:gd name="connsiteX17" fmla="*/ 214313 w 247650"/>
                <a:gd name="connsiteY17" fmla="*/ 377890 h 526236"/>
                <a:gd name="connsiteX18" fmla="*/ 223838 w 247650"/>
                <a:gd name="connsiteY18" fmla="*/ 405882 h 526236"/>
                <a:gd name="connsiteX19" fmla="*/ 247650 w 247650"/>
                <a:gd name="connsiteY19" fmla="*/ 450980 h 526236"/>
                <a:gd name="connsiteX20" fmla="*/ 219075 w 247650"/>
                <a:gd name="connsiteY20" fmla="*/ 469641 h 526236"/>
                <a:gd name="connsiteX21" fmla="*/ 236538 w 247650"/>
                <a:gd name="connsiteY21" fmla="*/ 492968 h 526236"/>
                <a:gd name="connsiteX22" fmla="*/ 204788 w 247650"/>
                <a:gd name="connsiteY22" fmla="*/ 499188 h 526236"/>
                <a:gd name="connsiteX23" fmla="*/ 150812 w 247650"/>
                <a:gd name="connsiteY23" fmla="*/ 502298 h 526236"/>
                <a:gd name="connsiteX24" fmla="*/ 127000 w 247650"/>
                <a:gd name="connsiteY24" fmla="*/ 513184 h 526236"/>
                <a:gd name="connsiteX25" fmla="*/ 98425 w 247650"/>
                <a:gd name="connsiteY25" fmla="*/ 520959 h 526236"/>
                <a:gd name="connsiteX26" fmla="*/ 76200 w 247650"/>
                <a:gd name="connsiteY26" fmla="*/ 522515 h 526236"/>
                <a:gd name="connsiteX27" fmla="*/ 61912 w 247650"/>
                <a:gd name="connsiteY27" fmla="*/ 520959 h 526236"/>
                <a:gd name="connsiteX28" fmla="*/ 69850 w 247650"/>
                <a:gd name="connsiteY28" fmla="*/ 517849 h 526236"/>
                <a:gd name="connsiteX29" fmla="*/ 98425 w 247650"/>
                <a:gd name="connsiteY29" fmla="*/ 494523 h 526236"/>
                <a:gd name="connsiteX30" fmla="*/ 112712 w 247650"/>
                <a:gd name="connsiteY30" fmla="*/ 466531 h 526236"/>
                <a:gd name="connsiteX31" fmla="*/ 93662 w 247650"/>
                <a:gd name="connsiteY31" fmla="*/ 446314 h 526236"/>
                <a:gd name="connsiteX32" fmla="*/ 107950 w 247650"/>
                <a:gd name="connsiteY32" fmla="*/ 413657 h 526236"/>
                <a:gd name="connsiteX33" fmla="*/ 104824 w 247650"/>
                <a:gd name="connsiteY33" fmla="*/ 405857 h 526236"/>
                <a:gd name="connsiteX34" fmla="*/ 136525 w 247650"/>
                <a:gd name="connsiteY34" fmla="*/ 404327 h 526236"/>
                <a:gd name="connsiteX35" fmla="*/ 138112 w 247650"/>
                <a:gd name="connsiteY35" fmla="*/ 371669 h 526236"/>
                <a:gd name="connsiteX36" fmla="*/ 127000 w 247650"/>
                <a:gd name="connsiteY36" fmla="*/ 348343 h 526236"/>
                <a:gd name="connsiteX37" fmla="*/ 128587 w 247650"/>
                <a:gd name="connsiteY37" fmla="*/ 335902 h 526236"/>
                <a:gd name="connsiteX38" fmla="*/ 90487 w 247650"/>
                <a:gd name="connsiteY38" fmla="*/ 329682 h 526236"/>
                <a:gd name="connsiteX39" fmla="*/ 60325 w 247650"/>
                <a:gd name="connsiteY39" fmla="*/ 284584 h 526236"/>
                <a:gd name="connsiteX40" fmla="*/ 61912 w 247650"/>
                <a:gd name="connsiteY40" fmla="*/ 259702 h 526236"/>
                <a:gd name="connsiteX41" fmla="*/ 36512 w 247650"/>
                <a:gd name="connsiteY41" fmla="*/ 241041 h 526236"/>
                <a:gd name="connsiteX42" fmla="*/ 38100 w 247650"/>
                <a:gd name="connsiteY42" fmla="*/ 200608 h 526236"/>
                <a:gd name="connsiteX43" fmla="*/ 61912 w 247650"/>
                <a:gd name="connsiteY43" fmla="*/ 186612 h 526236"/>
                <a:gd name="connsiteX44" fmla="*/ 74191 w 247650"/>
                <a:gd name="connsiteY44" fmla="*/ 210230 h 526236"/>
                <a:gd name="connsiteX45" fmla="*/ 76200 w 247650"/>
                <a:gd name="connsiteY45" fmla="*/ 203718 h 526236"/>
                <a:gd name="connsiteX46" fmla="*/ 104775 w 247650"/>
                <a:gd name="connsiteY46" fmla="*/ 180392 h 526236"/>
                <a:gd name="connsiteX47" fmla="*/ 128587 w 247650"/>
                <a:gd name="connsiteY47" fmla="*/ 161730 h 526236"/>
                <a:gd name="connsiteX48" fmla="*/ 147637 w 247650"/>
                <a:gd name="connsiteY48" fmla="*/ 143069 h 526236"/>
                <a:gd name="connsiteX49" fmla="*/ 195263 w 247650"/>
                <a:gd name="connsiteY49" fmla="*/ 69980 h 526236"/>
                <a:gd name="connsiteX50" fmla="*/ 204788 w 247650"/>
                <a:gd name="connsiteY50" fmla="*/ 88641 h 526236"/>
                <a:gd name="connsiteX51" fmla="*/ 193676 w 247650"/>
                <a:gd name="connsiteY51" fmla="*/ 119743 h 526236"/>
                <a:gd name="connsiteX52" fmla="*/ 179388 w 247650"/>
                <a:gd name="connsiteY52" fmla="*/ 139960 h 526236"/>
                <a:gd name="connsiteX53" fmla="*/ 174625 w 247650"/>
                <a:gd name="connsiteY53" fmla="*/ 147735 h 526236"/>
                <a:gd name="connsiteX54" fmla="*/ 176213 w 247650"/>
                <a:gd name="connsiteY54" fmla="*/ 138404 h 526236"/>
                <a:gd name="connsiteX55" fmla="*/ 179388 w 247650"/>
                <a:gd name="connsiteY55" fmla="*/ 111968 h 526236"/>
                <a:gd name="connsiteX56" fmla="*/ 176213 w 247650"/>
                <a:gd name="connsiteY56" fmla="*/ 83976 h 526236"/>
                <a:gd name="connsiteX57" fmla="*/ 195263 w 247650"/>
                <a:gd name="connsiteY57" fmla="*/ 69980 h 526236"/>
                <a:gd name="connsiteX58" fmla="*/ 46038 w 247650"/>
                <a:gd name="connsiteY58" fmla="*/ 0 h 526236"/>
                <a:gd name="connsiteX59" fmla="*/ 50800 w 247650"/>
                <a:gd name="connsiteY59" fmla="*/ 51318 h 526236"/>
                <a:gd name="connsiteX60" fmla="*/ 44798 w 247650"/>
                <a:gd name="connsiteY60" fmla="*/ 49350 h 526236"/>
                <a:gd name="connsiteX61" fmla="*/ 52388 w 247650"/>
                <a:gd name="connsiteY61" fmla="*/ 37322 h 526236"/>
                <a:gd name="connsiteX62" fmla="*/ 36513 w 247650"/>
                <a:gd name="connsiteY62" fmla="*/ 23326 h 526236"/>
                <a:gd name="connsiteX63" fmla="*/ 46038 w 247650"/>
                <a:gd name="connsiteY63" fmla="*/ 0 h 526236"/>
                <a:gd name="connsiteX0" fmla="*/ 23812 w 247650"/>
                <a:gd name="connsiteY0" fmla="*/ 317472 h 526236"/>
                <a:gd name="connsiteX1" fmla="*/ 60325 w 247650"/>
                <a:gd name="connsiteY1" fmla="*/ 336156 h 526236"/>
                <a:gd name="connsiteX2" fmla="*/ 66675 w 247650"/>
                <a:gd name="connsiteY2" fmla="*/ 350169 h 526236"/>
                <a:gd name="connsiteX3" fmla="*/ 77787 w 247650"/>
                <a:gd name="connsiteY3" fmla="*/ 384422 h 526236"/>
                <a:gd name="connsiteX4" fmla="*/ 52387 w 247650"/>
                <a:gd name="connsiteY4" fmla="*/ 395321 h 526236"/>
                <a:gd name="connsiteX5" fmla="*/ 20637 w 247650"/>
                <a:gd name="connsiteY5" fmla="*/ 389093 h 526236"/>
                <a:gd name="connsiteX6" fmla="*/ 0 w 247650"/>
                <a:gd name="connsiteY6" fmla="*/ 370409 h 526236"/>
                <a:gd name="connsiteX7" fmla="*/ 4762 w 247650"/>
                <a:gd name="connsiteY7" fmla="*/ 351726 h 526236"/>
                <a:gd name="connsiteX8" fmla="*/ 23812 w 247650"/>
                <a:gd name="connsiteY8" fmla="*/ 317472 h 526236"/>
                <a:gd name="connsiteX9" fmla="*/ 147637 w 247650"/>
                <a:gd name="connsiteY9" fmla="*/ 143069 h 526236"/>
                <a:gd name="connsiteX10" fmla="*/ 150812 w 247650"/>
                <a:gd name="connsiteY10" fmla="*/ 181947 h 526236"/>
                <a:gd name="connsiteX11" fmla="*/ 122237 w 247650"/>
                <a:gd name="connsiteY11" fmla="*/ 219269 h 526236"/>
                <a:gd name="connsiteX12" fmla="*/ 174625 w 247650"/>
                <a:gd name="connsiteY12" fmla="*/ 228600 h 526236"/>
                <a:gd name="connsiteX13" fmla="*/ 152400 w 247650"/>
                <a:gd name="connsiteY13" fmla="*/ 275253 h 526236"/>
                <a:gd name="connsiteX14" fmla="*/ 161925 w 247650"/>
                <a:gd name="connsiteY14" fmla="*/ 298580 h 526236"/>
                <a:gd name="connsiteX15" fmla="*/ 174625 w 247650"/>
                <a:gd name="connsiteY15" fmla="*/ 320351 h 526236"/>
                <a:gd name="connsiteX16" fmla="*/ 185738 w 247650"/>
                <a:gd name="connsiteY16" fmla="*/ 345233 h 526236"/>
                <a:gd name="connsiteX17" fmla="*/ 214313 w 247650"/>
                <a:gd name="connsiteY17" fmla="*/ 377890 h 526236"/>
                <a:gd name="connsiteX18" fmla="*/ 223838 w 247650"/>
                <a:gd name="connsiteY18" fmla="*/ 405882 h 526236"/>
                <a:gd name="connsiteX19" fmla="*/ 247650 w 247650"/>
                <a:gd name="connsiteY19" fmla="*/ 450980 h 526236"/>
                <a:gd name="connsiteX20" fmla="*/ 219075 w 247650"/>
                <a:gd name="connsiteY20" fmla="*/ 469641 h 526236"/>
                <a:gd name="connsiteX21" fmla="*/ 236538 w 247650"/>
                <a:gd name="connsiteY21" fmla="*/ 492968 h 526236"/>
                <a:gd name="connsiteX22" fmla="*/ 204788 w 247650"/>
                <a:gd name="connsiteY22" fmla="*/ 499188 h 526236"/>
                <a:gd name="connsiteX23" fmla="*/ 150812 w 247650"/>
                <a:gd name="connsiteY23" fmla="*/ 502298 h 526236"/>
                <a:gd name="connsiteX24" fmla="*/ 127000 w 247650"/>
                <a:gd name="connsiteY24" fmla="*/ 513184 h 526236"/>
                <a:gd name="connsiteX25" fmla="*/ 98425 w 247650"/>
                <a:gd name="connsiteY25" fmla="*/ 520959 h 526236"/>
                <a:gd name="connsiteX26" fmla="*/ 76200 w 247650"/>
                <a:gd name="connsiteY26" fmla="*/ 522515 h 526236"/>
                <a:gd name="connsiteX27" fmla="*/ 61912 w 247650"/>
                <a:gd name="connsiteY27" fmla="*/ 520959 h 526236"/>
                <a:gd name="connsiteX28" fmla="*/ 69850 w 247650"/>
                <a:gd name="connsiteY28" fmla="*/ 517849 h 526236"/>
                <a:gd name="connsiteX29" fmla="*/ 98425 w 247650"/>
                <a:gd name="connsiteY29" fmla="*/ 494523 h 526236"/>
                <a:gd name="connsiteX30" fmla="*/ 112712 w 247650"/>
                <a:gd name="connsiteY30" fmla="*/ 466531 h 526236"/>
                <a:gd name="connsiteX31" fmla="*/ 93662 w 247650"/>
                <a:gd name="connsiteY31" fmla="*/ 446314 h 526236"/>
                <a:gd name="connsiteX32" fmla="*/ 107950 w 247650"/>
                <a:gd name="connsiteY32" fmla="*/ 413657 h 526236"/>
                <a:gd name="connsiteX33" fmla="*/ 104824 w 247650"/>
                <a:gd name="connsiteY33" fmla="*/ 405857 h 526236"/>
                <a:gd name="connsiteX34" fmla="*/ 136525 w 247650"/>
                <a:gd name="connsiteY34" fmla="*/ 404327 h 526236"/>
                <a:gd name="connsiteX35" fmla="*/ 138112 w 247650"/>
                <a:gd name="connsiteY35" fmla="*/ 371669 h 526236"/>
                <a:gd name="connsiteX36" fmla="*/ 127000 w 247650"/>
                <a:gd name="connsiteY36" fmla="*/ 348343 h 526236"/>
                <a:gd name="connsiteX37" fmla="*/ 128587 w 247650"/>
                <a:gd name="connsiteY37" fmla="*/ 335902 h 526236"/>
                <a:gd name="connsiteX38" fmla="*/ 90487 w 247650"/>
                <a:gd name="connsiteY38" fmla="*/ 329682 h 526236"/>
                <a:gd name="connsiteX39" fmla="*/ 60325 w 247650"/>
                <a:gd name="connsiteY39" fmla="*/ 284584 h 526236"/>
                <a:gd name="connsiteX40" fmla="*/ 61912 w 247650"/>
                <a:gd name="connsiteY40" fmla="*/ 259702 h 526236"/>
                <a:gd name="connsiteX41" fmla="*/ 36512 w 247650"/>
                <a:gd name="connsiteY41" fmla="*/ 241041 h 526236"/>
                <a:gd name="connsiteX42" fmla="*/ 38100 w 247650"/>
                <a:gd name="connsiteY42" fmla="*/ 200608 h 526236"/>
                <a:gd name="connsiteX43" fmla="*/ 61912 w 247650"/>
                <a:gd name="connsiteY43" fmla="*/ 186612 h 526236"/>
                <a:gd name="connsiteX44" fmla="*/ 74191 w 247650"/>
                <a:gd name="connsiteY44" fmla="*/ 210230 h 526236"/>
                <a:gd name="connsiteX45" fmla="*/ 76200 w 247650"/>
                <a:gd name="connsiteY45" fmla="*/ 203718 h 526236"/>
                <a:gd name="connsiteX46" fmla="*/ 104775 w 247650"/>
                <a:gd name="connsiteY46" fmla="*/ 180392 h 526236"/>
                <a:gd name="connsiteX47" fmla="*/ 128587 w 247650"/>
                <a:gd name="connsiteY47" fmla="*/ 161730 h 526236"/>
                <a:gd name="connsiteX48" fmla="*/ 147637 w 247650"/>
                <a:gd name="connsiteY48" fmla="*/ 143069 h 526236"/>
                <a:gd name="connsiteX49" fmla="*/ 195263 w 247650"/>
                <a:gd name="connsiteY49" fmla="*/ 69980 h 526236"/>
                <a:gd name="connsiteX50" fmla="*/ 204788 w 247650"/>
                <a:gd name="connsiteY50" fmla="*/ 88641 h 526236"/>
                <a:gd name="connsiteX51" fmla="*/ 193676 w 247650"/>
                <a:gd name="connsiteY51" fmla="*/ 119743 h 526236"/>
                <a:gd name="connsiteX52" fmla="*/ 179388 w 247650"/>
                <a:gd name="connsiteY52" fmla="*/ 139960 h 526236"/>
                <a:gd name="connsiteX53" fmla="*/ 174625 w 247650"/>
                <a:gd name="connsiteY53" fmla="*/ 147735 h 526236"/>
                <a:gd name="connsiteX54" fmla="*/ 176213 w 247650"/>
                <a:gd name="connsiteY54" fmla="*/ 138404 h 526236"/>
                <a:gd name="connsiteX55" fmla="*/ 179388 w 247650"/>
                <a:gd name="connsiteY55" fmla="*/ 111968 h 526236"/>
                <a:gd name="connsiteX56" fmla="*/ 176213 w 247650"/>
                <a:gd name="connsiteY56" fmla="*/ 83976 h 526236"/>
                <a:gd name="connsiteX57" fmla="*/ 195263 w 247650"/>
                <a:gd name="connsiteY57" fmla="*/ 69980 h 526236"/>
                <a:gd name="connsiteX58" fmla="*/ 46038 w 247650"/>
                <a:gd name="connsiteY58" fmla="*/ 0 h 526236"/>
                <a:gd name="connsiteX59" fmla="*/ 50800 w 247650"/>
                <a:gd name="connsiteY59" fmla="*/ 51318 h 526236"/>
                <a:gd name="connsiteX60" fmla="*/ 44798 w 247650"/>
                <a:gd name="connsiteY60" fmla="*/ 49350 h 526236"/>
                <a:gd name="connsiteX61" fmla="*/ 36513 w 247650"/>
                <a:gd name="connsiteY61" fmla="*/ 23326 h 526236"/>
                <a:gd name="connsiteX62" fmla="*/ 46038 w 247650"/>
                <a:gd name="connsiteY62" fmla="*/ 0 h 526236"/>
                <a:gd name="connsiteX0" fmla="*/ 23812 w 247650"/>
                <a:gd name="connsiteY0" fmla="*/ 294146 h 502910"/>
                <a:gd name="connsiteX1" fmla="*/ 60325 w 247650"/>
                <a:gd name="connsiteY1" fmla="*/ 312830 h 502910"/>
                <a:gd name="connsiteX2" fmla="*/ 66675 w 247650"/>
                <a:gd name="connsiteY2" fmla="*/ 326843 h 502910"/>
                <a:gd name="connsiteX3" fmla="*/ 77787 w 247650"/>
                <a:gd name="connsiteY3" fmla="*/ 361096 h 502910"/>
                <a:gd name="connsiteX4" fmla="*/ 52387 w 247650"/>
                <a:gd name="connsiteY4" fmla="*/ 371995 h 502910"/>
                <a:gd name="connsiteX5" fmla="*/ 20637 w 247650"/>
                <a:gd name="connsiteY5" fmla="*/ 365767 h 502910"/>
                <a:gd name="connsiteX6" fmla="*/ 0 w 247650"/>
                <a:gd name="connsiteY6" fmla="*/ 347083 h 502910"/>
                <a:gd name="connsiteX7" fmla="*/ 4762 w 247650"/>
                <a:gd name="connsiteY7" fmla="*/ 328400 h 502910"/>
                <a:gd name="connsiteX8" fmla="*/ 23812 w 247650"/>
                <a:gd name="connsiteY8" fmla="*/ 294146 h 502910"/>
                <a:gd name="connsiteX9" fmla="*/ 147637 w 247650"/>
                <a:gd name="connsiteY9" fmla="*/ 119743 h 502910"/>
                <a:gd name="connsiteX10" fmla="*/ 150812 w 247650"/>
                <a:gd name="connsiteY10" fmla="*/ 158621 h 502910"/>
                <a:gd name="connsiteX11" fmla="*/ 122237 w 247650"/>
                <a:gd name="connsiteY11" fmla="*/ 195943 h 502910"/>
                <a:gd name="connsiteX12" fmla="*/ 174625 w 247650"/>
                <a:gd name="connsiteY12" fmla="*/ 205274 h 502910"/>
                <a:gd name="connsiteX13" fmla="*/ 152400 w 247650"/>
                <a:gd name="connsiteY13" fmla="*/ 251927 h 502910"/>
                <a:gd name="connsiteX14" fmla="*/ 161925 w 247650"/>
                <a:gd name="connsiteY14" fmla="*/ 275254 h 502910"/>
                <a:gd name="connsiteX15" fmla="*/ 174625 w 247650"/>
                <a:gd name="connsiteY15" fmla="*/ 297025 h 502910"/>
                <a:gd name="connsiteX16" fmla="*/ 185738 w 247650"/>
                <a:gd name="connsiteY16" fmla="*/ 321907 h 502910"/>
                <a:gd name="connsiteX17" fmla="*/ 214313 w 247650"/>
                <a:gd name="connsiteY17" fmla="*/ 354564 h 502910"/>
                <a:gd name="connsiteX18" fmla="*/ 223838 w 247650"/>
                <a:gd name="connsiteY18" fmla="*/ 382556 h 502910"/>
                <a:gd name="connsiteX19" fmla="*/ 247650 w 247650"/>
                <a:gd name="connsiteY19" fmla="*/ 427654 h 502910"/>
                <a:gd name="connsiteX20" fmla="*/ 219075 w 247650"/>
                <a:gd name="connsiteY20" fmla="*/ 446315 h 502910"/>
                <a:gd name="connsiteX21" fmla="*/ 236538 w 247650"/>
                <a:gd name="connsiteY21" fmla="*/ 469642 h 502910"/>
                <a:gd name="connsiteX22" fmla="*/ 204788 w 247650"/>
                <a:gd name="connsiteY22" fmla="*/ 475862 h 502910"/>
                <a:gd name="connsiteX23" fmla="*/ 150812 w 247650"/>
                <a:gd name="connsiteY23" fmla="*/ 478972 h 502910"/>
                <a:gd name="connsiteX24" fmla="*/ 127000 w 247650"/>
                <a:gd name="connsiteY24" fmla="*/ 489858 h 502910"/>
                <a:gd name="connsiteX25" fmla="*/ 98425 w 247650"/>
                <a:gd name="connsiteY25" fmla="*/ 497633 h 502910"/>
                <a:gd name="connsiteX26" fmla="*/ 76200 w 247650"/>
                <a:gd name="connsiteY26" fmla="*/ 499189 h 502910"/>
                <a:gd name="connsiteX27" fmla="*/ 61912 w 247650"/>
                <a:gd name="connsiteY27" fmla="*/ 497633 h 502910"/>
                <a:gd name="connsiteX28" fmla="*/ 69850 w 247650"/>
                <a:gd name="connsiteY28" fmla="*/ 494523 h 502910"/>
                <a:gd name="connsiteX29" fmla="*/ 98425 w 247650"/>
                <a:gd name="connsiteY29" fmla="*/ 471197 h 502910"/>
                <a:gd name="connsiteX30" fmla="*/ 112712 w 247650"/>
                <a:gd name="connsiteY30" fmla="*/ 443205 h 502910"/>
                <a:gd name="connsiteX31" fmla="*/ 93662 w 247650"/>
                <a:gd name="connsiteY31" fmla="*/ 422988 h 502910"/>
                <a:gd name="connsiteX32" fmla="*/ 107950 w 247650"/>
                <a:gd name="connsiteY32" fmla="*/ 390331 h 502910"/>
                <a:gd name="connsiteX33" fmla="*/ 104824 w 247650"/>
                <a:gd name="connsiteY33" fmla="*/ 382531 h 502910"/>
                <a:gd name="connsiteX34" fmla="*/ 136525 w 247650"/>
                <a:gd name="connsiteY34" fmla="*/ 381001 h 502910"/>
                <a:gd name="connsiteX35" fmla="*/ 138112 w 247650"/>
                <a:gd name="connsiteY35" fmla="*/ 348343 h 502910"/>
                <a:gd name="connsiteX36" fmla="*/ 127000 w 247650"/>
                <a:gd name="connsiteY36" fmla="*/ 325017 h 502910"/>
                <a:gd name="connsiteX37" fmla="*/ 128587 w 247650"/>
                <a:gd name="connsiteY37" fmla="*/ 312576 h 502910"/>
                <a:gd name="connsiteX38" fmla="*/ 90487 w 247650"/>
                <a:gd name="connsiteY38" fmla="*/ 306356 h 502910"/>
                <a:gd name="connsiteX39" fmla="*/ 60325 w 247650"/>
                <a:gd name="connsiteY39" fmla="*/ 261258 h 502910"/>
                <a:gd name="connsiteX40" fmla="*/ 61912 w 247650"/>
                <a:gd name="connsiteY40" fmla="*/ 236376 h 502910"/>
                <a:gd name="connsiteX41" fmla="*/ 36512 w 247650"/>
                <a:gd name="connsiteY41" fmla="*/ 217715 h 502910"/>
                <a:gd name="connsiteX42" fmla="*/ 38100 w 247650"/>
                <a:gd name="connsiteY42" fmla="*/ 177282 h 502910"/>
                <a:gd name="connsiteX43" fmla="*/ 61912 w 247650"/>
                <a:gd name="connsiteY43" fmla="*/ 163286 h 502910"/>
                <a:gd name="connsiteX44" fmla="*/ 74191 w 247650"/>
                <a:gd name="connsiteY44" fmla="*/ 186904 h 502910"/>
                <a:gd name="connsiteX45" fmla="*/ 76200 w 247650"/>
                <a:gd name="connsiteY45" fmla="*/ 180392 h 502910"/>
                <a:gd name="connsiteX46" fmla="*/ 104775 w 247650"/>
                <a:gd name="connsiteY46" fmla="*/ 157066 h 502910"/>
                <a:gd name="connsiteX47" fmla="*/ 128587 w 247650"/>
                <a:gd name="connsiteY47" fmla="*/ 138404 h 502910"/>
                <a:gd name="connsiteX48" fmla="*/ 147637 w 247650"/>
                <a:gd name="connsiteY48" fmla="*/ 119743 h 502910"/>
                <a:gd name="connsiteX49" fmla="*/ 195263 w 247650"/>
                <a:gd name="connsiteY49" fmla="*/ 46654 h 502910"/>
                <a:gd name="connsiteX50" fmla="*/ 204788 w 247650"/>
                <a:gd name="connsiteY50" fmla="*/ 65315 h 502910"/>
                <a:gd name="connsiteX51" fmla="*/ 193676 w 247650"/>
                <a:gd name="connsiteY51" fmla="*/ 96417 h 502910"/>
                <a:gd name="connsiteX52" fmla="*/ 179388 w 247650"/>
                <a:gd name="connsiteY52" fmla="*/ 116634 h 502910"/>
                <a:gd name="connsiteX53" fmla="*/ 174625 w 247650"/>
                <a:gd name="connsiteY53" fmla="*/ 124409 h 502910"/>
                <a:gd name="connsiteX54" fmla="*/ 176213 w 247650"/>
                <a:gd name="connsiteY54" fmla="*/ 115078 h 502910"/>
                <a:gd name="connsiteX55" fmla="*/ 179388 w 247650"/>
                <a:gd name="connsiteY55" fmla="*/ 88642 h 502910"/>
                <a:gd name="connsiteX56" fmla="*/ 176213 w 247650"/>
                <a:gd name="connsiteY56" fmla="*/ 60650 h 502910"/>
                <a:gd name="connsiteX57" fmla="*/ 195263 w 247650"/>
                <a:gd name="connsiteY57" fmla="*/ 46654 h 502910"/>
                <a:gd name="connsiteX58" fmla="*/ 36513 w 247650"/>
                <a:gd name="connsiteY58" fmla="*/ 0 h 502910"/>
                <a:gd name="connsiteX59" fmla="*/ 50800 w 247650"/>
                <a:gd name="connsiteY59" fmla="*/ 27992 h 502910"/>
                <a:gd name="connsiteX60" fmla="*/ 44798 w 247650"/>
                <a:gd name="connsiteY60" fmla="*/ 26024 h 502910"/>
                <a:gd name="connsiteX61" fmla="*/ 36513 w 247650"/>
                <a:gd name="connsiteY61" fmla="*/ 0 h 502910"/>
                <a:gd name="connsiteX0" fmla="*/ 23812 w 247650"/>
                <a:gd name="connsiteY0" fmla="*/ 294146 h 502910"/>
                <a:gd name="connsiteX1" fmla="*/ 60325 w 247650"/>
                <a:gd name="connsiteY1" fmla="*/ 312830 h 502910"/>
                <a:gd name="connsiteX2" fmla="*/ 66675 w 247650"/>
                <a:gd name="connsiteY2" fmla="*/ 326843 h 502910"/>
                <a:gd name="connsiteX3" fmla="*/ 77787 w 247650"/>
                <a:gd name="connsiteY3" fmla="*/ 361096 h 502910"/>
                <a:gd name="connsiteX4" fmla="*/ 52387 w 247650"/>
                <a:gd name="connsiteY4" fmla="*/ 371995 h 502910"/>
                <a:gd name="connsiteX5" fmla="*/ 20637 w 247650"/>
                <a:gd name="connsiteY5" fmla="*/ 365767 h 502910"/>
                <a:gd name="connsiteX6" fmla="*/ 0 w 247650"/>
                <a:gd name="connsiteY6" fmla="*/ 347083 h 502910"/>
                <a:gd name="connsiteX7" fmla="*/ 4762 w 247650"/>
                <a:gd name="connsiteY7" fmla="*/ 328400 h 502910"/>
                <a:gd name="connsiteX8" fmla="*/ 23812 w 247650"/>
                <a:gd name="connsiteY8" fmla="*/ 294146 h 502910"/>
                <a:gd name="connsiteX9" fmla="*/ 147637 w 247650"/>
                <a:gd name="connsiteY9" fmla="*/ 119743 h 502910"/>
                <a:gd name="connsiteX10" fmla="*/ 150812 w 247650"/>
                <a:gd name="connsiteY10" fmla="*/ 158621 h 502910"/>
                <a:gd name="connsiteX11" fmla="*/ 122237 w 247650"/>
                <a:gd name="connsiteY11" fmla="*/ 195943 h 502910"/>
                <a:gd name="connsiteX12" fmla="*/ 174625 w 247650"/>
                <a:gd name="connsiteY12" fmla="*/ 205274 h 502910"/>
                <a:gd name="connsiteX13" fmla="*/ 152400 w 247650"/>
                <a:gd name="connsiteY13" fmla="*/ 251927 h 502910"/>
                <a:gd name="connsiteX14" fmla="*/ 161925 w 247650"/>
                <a:gd name="connsiteY14" fmla="*/ 275254 h 502910"/>
                <a:gd name="connsiteX15" fmla="*/ 174625 w 247650"/>
                <a:gd name="connsiteY15" fmla="*/ 297025 h 502910"/>
                <a:gd name="connsiteX16" fmla="*/ 185738 w 247650"/>
                <a:gd name="connsiteY16" fmla="*/ 321907 h 502910"/>
                <a:gd name="connsiteX17" fmla="*/ 214313 w 247650"/>
                <a:gd name="connsiteY17" fmla="*/ 354564 h 502910"/>
                <a:gd name="connsiteX18" fmla="*/ 223838 w 247650"/>
                <a:gd name="connsiteY18" fmla="*/ 382556 h 502910"/>
                <a:gd name="connsiteX19" fmla="*/ 247650 w 247650"/>
                <a:gd name="connsiteY19" fmla="*/ 427654 h 502910"/>
                <a:gd name="connsiteX20" fmla="*/ 219075 w 247650"/>
                <a:gd name="connsiteY20" fmla="*/ 446315 h 502910"/>
                <a:gd name="connsiteX21" fmla="*/ 236538 w 247650"/>
                <a:gd name="connsiteY21" fmla="*/ 469642 h 502910"/>
                <a:gd name="connsiteX22" fmla="*/ 204788 w 247650"/>
                <a:gd name="connsiteY22" fmla="*/ 475862 h 502910"/>
                <a:gd name="connsiteX23" fmla="*/ 150812 w 247650"/>
                <a:gd name="connsiteY23" fmla="*/ 478972 h 502910"/>
                <a:gd name="connsiteX24" fmla="*/ 127000 w 247650"/>
                <a:gd name="connsiteY24" fmla="*/ 489858 h 502910"/>
                <a:gd name="connsiteX25" fmla="*/ 98425 w 247650"/>
                <a:gd name="connsiteY25" fmla="*/ 497633 h 502910"/>
                <a:gd name="connsiteX26" fmla="*/ 76200 w 247650"/>
                <a:gd name="connsiteY26" fmla="*/ 499189 h 502910"/>
                <a:gd name="connsiteX27" fmla="*/ 61912 w 247650"/>
                <a:gd name="connsiteY27" fmla="*/ 497633 h 502910"/>
                <a:gd name="connsiteX28" fmla="*/ 69850 w 247650"/>
                <a:gd name="connsiteY28" fmla="*/ 494523 h 502910"/>
                <a:gd name="connsiteX29" fmla="*/ 98425 w 247650"/>
                <a:gd name="connsiteY29" fmla="*/ 471197 h 502910"/>
                <a:gd name="connsiteX30" fmla="*/ 112712 w 247650"/>
                <a:gd name="connsiteY30" fmla="*/ 443205 h 502910"/>
                <a:gd name="connsiteX31" fmla="*/ 93662 w 247650"/>
                <a:gd name="connsiteY31" fmla="*/ 422988 h 502910"/>
                <a:gd name="connsiteX32" fmla="*/ 107950 w 247650"/>
                <a:gd name="connsiteY32" fmla="*/ 390331 h 502910"/>
                <a:gd name="connsiteX33" fmla="*/ 104824 w 247650"/>
                <a:gd name="connsiteY33" fmla="*/ 382531 h 502910"/>
                <a:gd name="connsiteX34" fmla="*/ 136525 w 247650"/>
                <a:gd name="connsiteY34" fmla="*/ 381001 h 502910"/>
                <a:gd name="connsiteX35" fmla="*/ 138112 w 247650"/>
                <a:gd name="connsiteY35" fmla="*/ 348343 h 502910"/>
                <a:gd name="connsiteX36" fmla="*/ 127000 w 247650"/>
                <a:gd name="connsiteY36" fmla="*/ 325017 h 502910"/>
                <a:gd name="connsiteX37" fmla="*/ 128587 w 247650"/>
                <a:gd name="connsiteY37" fmla="*/ 312576 h 502910"/>
                <a:gd name="connsiteX38" fmla="*/ 90487 w 247650"/>
                <a:gd name="connsiteY38" fmla="*/ 306356 h 502910"/>
                <a:gd name="connsiteX39" fmla="*/ 60325 w 247650"/>
                <a:gd name="connsiteY39" fmla="*/ 261258 h 502910"/>
                <a:gd name="connsiteX40" fmla="*/ 61912 w 247650"/>
                <a:gd name="connsiteY40" fmla="*/ 236376 h 502910"/>
                <a:gd name="connsiteX41" fmla="*/ 36512 w 247650"/>
                <a:gd name="connsiteY41" fmla="*/ 217715 h 502910"/>
                <a:gd name="connsiteX42" fmla="*/ 38100 w 247650"/>
                <a:gd name="connsiteY42" fmla="*/ 177282 h 502910"/>
                <a:gd name="connsiteX43" fmla="*/ 61912 w 247650"/>
                <a:gd name="connsiteY43" fmla="*/ 163286 h 502910"/>
                <a:gd name="connsiteX44" fmla="*/ 74191 w 247650"/>
                <a:gd name="connsiteY44" fmla="*/ 186904 h 502910"/>
                <a:gd name="connsiteX45" fmla="*/ 76200 w 247650"/>
                <a:gd name="connsiteY45" fmla="*/ 180392 h 502910"/>
                <a:gd name="connsiteX46" fmla="*/ 104775 w 247650"/>
                <a:gd name="connsiteY46" fmla="*/ 157066 h 502910"/>
                <a:gd name="connsiteX47" fmla="*/ 128587 w 247650"/>
                <a:gd name="connsiteY47" fmla="*/ 138404 h 502910"/>
                <a:gd name="connsiteX48" fmla="*/ 147637 w 247650"/>
                <a:gd name="connsiteY48" fmla="*/ 119743 h 502910"/>
                <a:gd name="connsiteX49" fmla="*/ 195263 w 247650"/>
                <a:gd name="connsiteY49" fmla="*/ 46654 h 502910"/>
                <a:gd name="connsiteX50" fmla="*/ 204788 w 247650"/>
                <a:gd name="connsiteY50" fmla="*/ 65315 h 502910"/>
                <a:gd name="connsiteX51" fmla="*/ 193676 w 247650"/>
                <a:gd name="connsiteY51" fmla="*/ 96417 h 502910"/>
                <a:gd name="connsiteX52" fmla="*/ 179388 w 247650"/>
                <a:gd name="connsiteY52" fmla="*/ 116634 h 502910"/>
                <a:gd name="connsiteX53" fmla="*/ 174625 w 247650"/>
                <a:gd name="connsiteY53" fmla="*/ 124409 h 502910"/>
                <a:gd name="connsiteX54" fmla="*/ 176213 w 247650"/>
                <a:gd name="connsiteY54" fmla="*/ 115078 h 502910"/>
                <a:gd name="connsiteX55" fmla="*/ 179388 w 247650"/>
                <a:gd name="connsiteY55" fmla="*/ 88642 h 502910"/>
                <a:gd name="connsiteX56" fmla="*/ 176213 w 247650"/>
                <a:gd name="connsiteY56" fmla="*/ 60650 h 502910"/>
                <a:gd name="connsiteX57" fmla="*/ 195263 w 247650"/>
                <a:gd name="connsiteY57" fmla="*/ 46654 h 502910"/>
                <a:gd name="connsiteX58" fmla="*/ 36513 w 247650"/>
                <a:gd name="connsiteY58" fmla="*/ 0 h 502910"/>
                <a:gd name="connsiteX59" fmla="*/ 50800 w 247650"/>
                <a:gd name="connsiteY59" fmla="*/ 27992 h 502910"/>
                <a:gd name="connsiteX60" fmla="*/ 36513 w 247650"/>
                <a:gd name="connsiteY60" fmla="*/ 0 h 502910"/>
                <a:gd name="connsiteX0" fmla="*/ 23812 w 247650"/>
                <a:gd name="connsiteY0" fmla="*/ 247492 h 456256"/>
                <a:gd name="connsiteX1" fmla="*/ 60325 w 247650"/>
                <a:gd name="connsiteY1" fmla="*/ 266176 h 456256"/>
                <a:gd name="connsiteX2" fmla="*/ 66675 w 247650"/>
                <a:gd name="connsiteY2" fmla="*/ 280189 h 456256"/>
                <a:gd name="connsiteX3" fmla="*/ 77787 w 247650"/>
                <a:gd name="connsiteY3" fmla="*/ 314442 h 456256"/>
                <a:gd name="connsiteX4" fmla="*/ 52387 w 247650"/>
                <a:gd name="connsiteY4" fmla="*/ 325341 h 456256"/>
                <a:gd name="connsiteX5" fmla="*/ 20637 w 247650"/>
                <a:gd name="connsiteY5" fmla="*/ 319113 h 456256"/>
                <a:gd name="connsiteX6" fmla="*/ 0 w 247650"/>
                <a:gd name="connsiteY6" fmla="*/ 300429 h 456256"/>
                <a:gd name="connsiteX7" fmla="*/ 4762 w 247650"/>
                <a:gd name="connsiteY7" fmla="*/ 281746 h 456256"/>
                <a:gd name="connsiteX8" fmla="*/ 23812 w 247650"/>
                <a:gd name="connsiteY8" fmla="*/ 247492 h 456256"/>
                <a:gd name="connsiteX9" fmla="*/ 147637 w 247650"/>
                <a:gd name="connsiteY9" fmla="*/ 73089 h 456256"/>
                <a:gd name="connsiteX10" fmla="*/ 150812 w 247650"/>
                <a:gd name="connsiteY10" fmla="*/ 111967 h 456256"/>
                <a:gd name="connsiteX11" fmla="*/ 122237 w 247650"/>
                <a:gd name="connsiteY11" fmla="*/ 149289 h 456256"/>
                <a:gd name="connsiteX12" fmla="*/ 174625 w 247650"/>
                <a:gd name="connsiteY12" fmla="*/ 158620 h 456256"/>
                <a:gd name="connsiteX13" fmla="*/ 152400 w 247650"/>
                <a:gd name="connsiteY13" fmla="*/ 205273 h 456256"/>
                <a:gd name="connsiteX14" fmla="*/ 161925 w 247650"/>
                <a:gd name="connsiteY14" fmla="*/ 228600 h 456256"/>
                <a:gd name="connsiteX15" fmla="*/ 174625 w 247650"/>
                <a:gd name="connsiteY15" fmla="*/ 250371 h 456256"/>
                <a:gd name="connsiteX16" fmla="*/ 185738 w 247650"/>
                <a:gd name="connsiteY16" fmla="*/ 275253 h 456256"/>
                <a:gd name="connsiteX17" fmla="*/ 214313 w 247650"/>
                <a:gd name="connsiteY17" fmla="*/ 307910 h 456256"/>
                <a:gd name="connsiteX18" fmla="*/ 223838 w 247650"/>
                <a:gd name="connsiteY18" fmla="*/ 335902 h 456256"/>
                <a:gd name="connsiteX19" fmla="*/ 247650 w 247650"/>
                <a:gd name="connsiteY19" fmla="*/ 381000 h 456256"/>
                <a:gd name="connsiteX20" fmla="*/ 219075 w 247650"/>
                <a:gd name="connsiteY20" fmla="*/ 399661 h 456256"/>
                <a:gd name="connsiteX21" fmla="*/ 236538 w 247650"/>
                <a:gd name="connsiteY21" fmla="*/ 422988 h 456256"/>
                <a:gd name="connsiteX22" fmla="*/ 204788 w 247650"/>
                <a:gd name="connsiteY22" fmla="*/ 429208 h 456256"/>
                <a:gd name="connsiteX23" fmla="*/ 150812 w 247650"/>
                <a:gd name="connsiteY23" fmla="*/ 432318 h 456256"/>
                <a:gd name="connsiteX24" fmla="*/ 127000 w 247650"/>
                <a:gd name="connsiteY24" fmla="*/ 443204 h 456256"/>
                <a:gd name="connsiteX25" fmla="*/ 98425 w 247650"/>
                <a:gd name="connsiteY25" fmla="*/ 450979 h 456256"/>
                <a:gd name="connsiteX26" fmla="*/ 76200 w 247650"/>
                <a:gd name="connsiteY26" fmla="*/ 452535 h 456256"/>
                <a:gd name="connsiteX27" fmla="*/ 61912 w 247650"/>
                <a:gd name="connsiteY27" fmla="*/ 450979 h 456256"/>
                <a:gd name="connsiteX28" fmla="*/ 69850 w 247650"/>
                <a:gd name="connsiteY28" fmla="*/ 447869 h 456256"/>
                <a:gd name="connsiteX29" fmla="*/ 98425 w 247650"/>
                <a:gd name="connsiteY29" fmla="*/ 424543 h 456256"/>
                <a:gd name="connsiteX30" fmla="*/ 112712 w 247650"/>
                <a:gd name="connsiteY30" fmla="*/ 396551 h 456256"/>
                <a:gd name="connsiteX31" fmla="*/ 93662 w 247650"/>
                <a:gd name="connsiteY31" fmla="*/ 376334 h 456256"/>
                <a:gd name="connsiteX32" fmla="*/ 107950 w 247650"/>
                <a:gd name="connsiteY32" fmla="*/ 343677 h 456256"/>
                <a:gd name="connsiteX33" fmla="*/ 104824 w 247650"/>
                <a:gd name="connsiteY33" fmla="*/ 335877 h 456256"/>
                <a:gd name="connsiteX34" fmla="*/ 136525 w 247650"/>
                <a:gd name="connsiteY34" fmla="*/ 334347 h 456256"/>
                <a:gd name="connsiteX35" fmla="*/ 138112 w 247650"/>
                <a:gd name="connsiteY35" fmla="*/ 301689 h 456256"/>
                <a:gd name="connsiteX36" fmla="*/ 127000 w 247650"/>
                <a:gd name="connsiteY36" fmla="*/ 278363 h 456256"/>
                <a:gd name="connsiteX37" fmla="*/ 128587 w 247650"/>
                <a:gd name="connsiteY37" fmla="*/ 265922 h 456256"/>
                <a:gd name="connsiteX38" fmla="*/ 90487 w 247650"/>
                <a:gd name="connsiteY38" fmla="*/ 259702 h 456256"/>
                <a:gd name="connsiteX39" fmla="*/ 60325 w 247650"/>
                <a:gd name="connsiteY39" fmla="*/ 214604 h 456256"/>
                <a:gd name="connsiteX40" fmla="*/ 61912 w 247650"/>
                <a:gd name="connsiteY40" fmla="*/ 189722 h 456256"/>
                <a:gd name="connsiteX41" fmla="*/ 36512 w 247650"/>
                <a:gd name="connsiteY41" fmla="*/ 171061 h 456256"/>
                <a:gd name="connsiteX42" fmla="*/ 38100 w 247650"/>
                <a:gd name="connsiteY42" fmla="*/ 130628 h 456256"/>
                <a:gd name="connsiteX43" fmla="*/ 61912 w 247650"/>
                <a:gd name="connsiteY43" fmla="*/ 116632 h 456256"/>
                <a:gd name="connsiteX44" fmla="*/ 74191 w 247650"/>
                <a:gd name="connsiteY44" fmla="*/ 140250 h 456256"/>
                <a:gd name="connsiteX45" fmla="*/ 76200 w 247650"/>
                <a:gd name="connsiteY45" fmla="*/ 133738 h 456256"/>
                <a:gd name="connsiteX46" fmla="*/ 104775 w 247650"/>
                <a:gd name="connsiteY46" fmla="*/ 110412 h 456256"/>
                <a:gd name="connsiteX47" fmla="*/ 128587 w 247650"/>
                <a:gd name="connsiteY47" fmla="*/ 91750 h 456256"/>
                <a:gd name="connsiteX48" fmla="*/ 147637 w 247650"/>
                <a:gd name="connsiteY48" fmla="*/ 73089 h 456256"/>
                <a:gd name="connsiteX49" fmla="*/ 195263 w 247650"/>
                <a:gd name="connsiteY49" fmla="*/ 0 h 456256"/>
                <a:gd name="connsiteX50" fmla="*/ 204788 w 247650"/>
                <a:gd name="connsiteY50" fmla="*/ 18661 h 456256"/>
                <a:gd name="connsiteX51" fmla="*/ 193676 w 247650"/>
                <a:gd name="connsiteY51" fmla="*/ 49763 h 456256"/>
                <a:gd name="connsiteX52" fmla="*/ 179388 w 247650"/>
                <a:gd name="connsiteY52" fmla="*/ 69980 h 456256"/>
                <a:gd name="connsiteX53" fmla="*/ 174625 w 247650"/>
                <a:gd name="connsiteY53" fmla="*/ 77755 h 456256"/>
                <a:gd name="connsiteX54" fmla="*/ 176213 w 247650"/>
                <a:gd name="connsiteY54" fmla="*/ 68424 h 456256"/>
                <a:gd name="connsiteX55" fmla="*/ 179388 w 247650"/>
                <a:gd name="connsiteY55" fmla="*/ 41988 h 456256"/>
                <a:gd name="connsiteX56" fmla="*/ 176213 w 247650"/>
                <a:gd name="connsiteY56" fmla="*/ 13996 h 456256"/>
                <a:gd name="connsiteX57" fmla="*/ 195263 w 247650"/>
                <a:gd name="connsiteY57" fmla="*/ 0 h 456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47650" h="456256">
                  <a:moveTo>
                    <a:pt x="23812" y="247492"/>
                  </a:moveTo>
                  <a:cubicBezTo>
                    <a:pt x="33337" y="244378"/>
                    <a:pt x="53975" y="261505"/>
                    <a:pt x="60325" y="266176"/>
                  </a:cubicBezTo>
                  <a:cubicBezTo>
                    <a:pt x="66675" y="270847"/>
                    <a:pt x="61912" y="272404"/>
                    <a:pt x="66675" y="280189"/>
                  </a:cubicBezTo>
                  <a:cubicBezTo>
                    <a:pt x="69850" y="287974"/>
                    <a:pt x="79375" y="306657"/>
                    <a:pt x="77787" y="314442"/>
                  </a:cubicBezTo>
                  <a:lnTo>
                    <a:pt x="52387" y="325341"/>
                  </a:lnTo>
                  <a:lnTo>
                    <a:pt x="20637" y="319113"/>
                  </a:lnTo>
                  <a:lnTo>
                    <a:pt x="0" y="300429"/>
                  </a:lnTo>
                  <a:lnTo>
                    <a:pt x="4762" y="281746"/>
                  </a:lnTo>
                  <a:lnTo>
                    <a:pt x="23812" y="247492"/>
                  </a:lnTo>
                  <a:close/>
                  <a:moveTo>
                    <a:pt x="147637" y="73089"/>
                  </a:moveTo>
                  <a:cubicBezTo>
                    <a:pt x="161925" y="90195"/>
                    <a:pt x="155575" y="77754"/>
                    <a:pt x="150812" y="111967"/>
                  </a:cubicBezTo>
                  <a:cubicBezTo>
                    <a:pt x="133350" y="122852"/>
                    <a:pt x="133350" y="135293"/>
                    <a:pt x="122237" y="149289"/>
                  </a:cubicBezTo>
                  <a:cubicBezTo>
                    <a:pt x="139700" y="153955"/>
                    <a:pt x="158750" y="149289"/>
                    <a:pt x="174625" y="158620"/>
                  </a:cubicBezTo>
                  <a:cubicBezTo>
                    <a:pt x="169862" y="172616"/>
                    <a:pt x="160337" y="194387"/>
                    <a:pt x="152400" y="205273"/>
                  </a:cubicBezTo>
                  <a:cubicBezTo>
                    <a:pt x="157162" y="214604"/>
                    <a:pt x="160337" y="219269"/>
                    <a:pt x="161925" y="228600"/>
                  </a:cubicBezTo>
                  <a:cubicBezTo>
                    <a:pt x="165100" y="236375"/>
                    <a:pt x="169862" y="242595"/>
                    <a:pt x="174625" y="250371"/>
                  </a:cubicBezTo>
                  <a:cubicBezTo>
                    <a:pt x="187325" y="259702"/>
                    <a:pt x="177800" y="264367"/>
                    <a:pt x="185738" y="275253"/>
                  </a:cubicBezTo>
                  <a:cubicBezTo>
                    <a:pt x="203200" y="284583"/>
                    <a:pt x="211138" y="287693"/>
                    <a:pt x="214313" y="307910"/>
                  </a:cubicBezTo>
                  <a:cubicBezTo>
                    <a:pt x="219075" y="320351"/>
                    <a:pt x="222250" y="321906"/>
                    <a:pt x="223838" y="335902"/>
                  </a:cubicBezTo>
                  <a:cubicBezTo>
                    <a:pt x="228600" y="348343"/>
                    <a:pt x="247650" y="370114"/>
                    <a:pt x="247650" y="381000"/>
                  </a:cubicBezTo>
                  <a:cubicBezTo>
                    <a:pt x="247650" y="391885"/>
                    <a:pt x="219075" y="390330"/>
                    <a:pt x="219075" y="399661"/>
                  </a:cubicBezTo>
                  <a:cubicBezTo>
                    <a:pt x="207963" y="405881"/>
                    <a:pt x="242888" y="413657"/>
                    <a:pt x="236538" y="422988"/>
                  </a:cubicBezTo>
                  <a:cubicBezTo>
                    <a:pt x="222250" y="424543"/>
                    <a:pt x="217488" y="426098"/>
                    <a:pt x="204788" y="429208"/>
                  </a:cubicBezTo>
                  <a:cubicBezTo>
                    <a:pt x="187325" y="427653"/>
                    <a:pt x="168275" y="424543"/>
                    <a:pt x="150812" y="432318"/>
                  </a:cubicBezTo>
                  <a:cubicBezTo>
                    <a:pt x="138112" y="433873"/>
                    <a:pt x="134937" y="433873"/>
                    <a:pt x="127000" y="443204"/>
                  </a:cubicBezTo>
                  <a:cubicBezTo>
                    <a:pt x="117475" y="446314"/>
                    <a:pt x="107950" y="447869"/>
                    <a:pt x="98425" y="450979"/>
                  </a:cubicBezTo>
                  <a:cubicBezTo>
                    <a:pt x="90487" y="450979"/>
                    <a:pt x="84137" y="450979"/>
                    <a:pt x="76200" y="452535"/>
                  </a:cubicBezTo>
                  <a:cubicBezTo>
                    <a:pt x="74612" y="452535"/>
                    <a:pt x="61912" y="461865"/>
                    <a:pt x="61912" y="450979"/>
                  </a:cubicBezTo>
                  <a:cubicBezTo>
                    <a:pt x="61912" y="447869"/>
                    <a:pt x="66675" y="449424"/>
                    <a:pt x="69850" y="447869"/>
                  </a:cubicBezTo>
                  <a:cubicBezTo>
                    <a:pt x="90487" y="446314"/>
                    <a:pt x="93662" y="443204"/>
                    <a:pt x="98425" y="424543"/>
                  </a:cubicBezTo>
                  <a:cubicBezTo>
                    <a:pt x="107950" y="412102"/>
                    <a:pt x="109537" y="416767"/>
                    <a:pt x="112712" y="396551"/>
                  </a:cubicBezTo>
                  <a:cubicBezTo>
                    <a:pt x="96837" y="394996"/>
                    <a:pt x="84137" y="394996"/>
                    <a:pt x="93662" y="376334"/>
                  </a:cubicBezTo>
                  <a:cubicBezTo>
                    <a:pt x="115887" y="368559"/>
                    <a:pt x="111125" y="362338"/>
                    <a:pt x="107950" y="343677"/>
                  </a:cubicBezTo>
                  <a:lnTo>
                    <a:pt x="104824" y="335877"/>
                  </a:lnTo>
                  <a:cubicBezTo>
                    <a:pt x="105569" y="335804"/>
                    <a:pt x="117475" y="353008"/>
                    <a:pt x="136525" y="334347"/>
                  </a:cubicBezTo>
                  <a:cubicBezTo>
                    <a:pt x="144462" y="326571"/>
                    <a:pt x="138112" y="312575"/>
                    <a:pt x="138112" y="301689"/>
                  </a:cubicBezTo>
                  <a:cubicBezTo>
                    <a:pt x="136525" y="289249"/>
                    <a:pt x="128587" y="290804"/>
                    <a:pt x="127000" y="278363"/>
                  </a:cubicBezTo>
                  <a:cubicBezTo>
                    <a:pt x="125412" y="272142"/>
                    <a:pt x="134937" y="269032"/>
                    <a:pt x="128587" y="265922"/>
                  </a:cubicBezTo>
                  <a:cubicBezTo>
                    <a:pt x="122717" y="260789"/>
                    <a:pt x="81223" y="253219"/>
                    <a:pt x="90487" y="259702"/>
                  </a:cubicBezTo>
                  <a:cubicBezTo>
                    <a:pt x="109537" y="256591"/>
                    <a:pt x="58737" y="228600"/>
                    <a:pt x="60325" y="214604"/>
                  </a:cubicBezTo>
                  <a:cubicBezTo>
                    <a:pt x="46037" y="211493"/>
                    <a:pt x="57150" y="202163"/>
                    <a:pt x="61912" y="189722"/>
                  </a:cubicBezTo>
                  <a:cubicBezTo>
                    <a:pt x="53975" y="178836"/>
                    <a:pt x="38100" y="186612"/>
                    <a:pt x="36512" y="171061"/>
                  </a:cubicBezTo>
                  <a:cubicBezTo>
                    <a:pt x="38100" y="158620"/>
                    <a:pt x="34925" y="143069"/>
                    <a:pt x="38100" y="130628"/>
                  </a:cubicBezTo>
                  <a:cubicBezTo>
                    <a:pt x="49212" y="124408"/>
                    <a:pt x="49212" y="119742"/>
                    <a:pt x="61912" y="116632"/>
                  </a:cubicBezTo>
                  <a:cubicBezTo>
                    <a:pt x="70247" y="120131"/>
                    <a:pt x="72330" y="139376"/>
                    <a:pt x="74191" y="140250"/>
                  </a:cubicBezTo>
                  <a:lnTo>
                    <a:pt x="76200" y="133738"/>
                  </a:lnTo>
                  <a:cubicBezTo>
                    <a:pt x="90487" y="125963"/>
                    <a:pt x="84137" y="113522"/>
                    <a:pt x="104775" y="110412"/>
                  </a:cubicBezTo>
                  <a:cubicBezTo>
                    <a:pt x="125412" y="111967"/>
                    <a:pt x="127000" y="111967"/>
                    <a:pt x="128587" y="91750"/>
                  </a:cubicBezTo>
                  <a:cubicBezTo>
                    <a:pt x="133350" y="82420"/>
                    <a:pt x="139700" y="80865"/>
                    <a:pt x="147637" y="73089"/>
                  </a:cubicBezTo>
                  <a:close/>
                  <a:moveTo>
                    <a:pt x="195263" y="0"/>
                  </a:moveTo>
                  <a:cubicBezTo>
                    <a:pt x="195263" y="13996"/>
                    <a:pt x="201613" y="3110"/>
                    <a:pt x="204788" y="18661"/>
                  </a:cubicBezTo>
                  <a:cubicBezTo>
                    <a:pt x="201613" y="34212"/>
                    <a:pt x="195263" y="29547"/>
                    <a:pt x="193676" y="49763"/>
                  </a:cubicBezTo>
                  <a:cubicBezTo>
                    <a:pt x="182563" y="55984"/>
                    <a:pt x="180975" y="57539"/>
                    <a:pt x="179388" y="69980"/>
                  </a:cubicBezTo>
                  <a:cubicBezTo>
                    <a:pt x="177800" y="73090"/>
                    <a:pt x="177800" y="79310"/>
                    <a:pt x="174625" y="77755"/>
                  </a:cubicBezTo>
                  <a:cubicBezTo>
                    <a:pt x="171450" y="76200"/>
                    <a:pt x="176213" y="71535"/>
                    <a:pt x="176213" y="68424"/>
                  </a:cubicBezTo>
                  <a:cubicBezTo>
                    <a:pt x="177800" y="59094"/>
                    <a:pt x="177800" y="51318"/>
                    <a:pt x="179388" y="41988"/>
                  </a:cubicBezTo>
                  <a:cubicBezTo>
                    <a:pt x="174625" y="32657"/>
                    <a:pt x="174625" y="24882"/>
                    <a:pt x="176213" y="13996"/>
                  </a:cubicBezTo>
                  <a:cubicBezTo>
                    <a:pt x="188913" y="12441"/>
                    <a:pt x="185738" y="7776"/>
                    <a:pt x="195263" y="0"/>
                  </a:cubicBez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sp>
          <p:nvSpPr>
            <p:cNvPr id="209" name="Freeform 7"/>
            <p:cNvSpPr>
              <a:spLocks/>
            </p:cNvSpPr>
            <p:nvPr/>
          </p:nvSpPr>
          <p:spPr bwMode="auto">
            <a:xfrm>
              <a:off x="1863030" y="4023959"/>
              <a:ext cx="57522" cy="25786"/>
            </a:xfrm>
            <a:custGeom>
              <a:avLst/>
              <a:gdLst>
                <a:gd name="T0" fmla="*/ 50 w 58"/>
                <a:gd name="T1" fmla="*/ 2 h 26"/>
                <a:gd name="T2" fmla="*/ 38 w 58"/>
                <a:gd name="T3" fmla="*/ 0 h 26"/>
                <a:gd name="T4" fmla="*/ 32 w 58"/>
                <a:gd name="T5" fmla="*/ 0 h 26"/>
                <a:gd name="T6" fmla="*/ 26 w 58"/>
                <a:gd name="T7" fmla="*/ 0 h 26"/>
                <a:gd name="T8" fmla="*/ 18 w 58"/>
                <a:gd name="T9" fmla="*/ 0 h 26"/>
                <a:gd name="T10" fmla="*/ 14 w 58"/>
                <a:gd name="T11" fmla="*/ 0 h 26"/>
                <a:gd name="T12" fmla="*/ 14 w 58"/>
                <a:gd name="T13" fmla="*/ 0 h 26"/>
                <a:gd name="T14" fmla="*/ 12 w 58"/>
                <a:gd name="T15" fmla="*/ 0 h 26"/>
                <a:gd name="T16" fmla="*/ 12 w 58"/>
                <a:gd name="T17" fmla="*/ 2 h 26"/>
                <a:gd name="T18" fmla="*/ 12 w 58"/>
                <a:gd name="T19" fmla="*/ 2 h 26"/>
                <a:gd name="T20" fmla="*/ 12 w 58"/>
                <a:gd name="T21" fmla="*/ 2 h 26"/>
                <a:gd name="T22" fmla="*/ 12 w 58"/>
                <a:gd name="T23" fmla="*/ 4 h 26"/>
                <a:gd name="T24" fmla="*/ 10 w 58"/>
                <a:gd name="T25" fmla="*/ 4 h 26"/>
                <a:gd name="T26" fmla="*/ 10 w 58"/>
                <a:gd name="T27" fmla="*/ 6 h 26"/>
                <a:gd name="T28" fmla="*/ 8 w 58"/>
                <a:gd name="T29" fmla="*/ 6 h 26"/>
                <a:gd name="T30" fmla="*/ 8 w 58"/>
                <a:gd name="T31" fmla="*/ 6 h 26"/>
                <a:gd name="T32" fmla="*/ 8 w 58"/>
                <a:gd name="T33" fmla="*/ 8 h 26"/>
                <a:gd name="T34" fmla="*/ 6 w 58"/>
                <a:gd name="T35" fmla="*/ 8 h 26"/>
                <a:gd name="T36" fmla="*/ 4 w 58"/>
                <a:gd name="T37" fmla="*/ 10 h 26"/>
                <a:gd name="T38" fmla="*/ 2 w 58"/>
                <a:gd name="T39" fmla="*/ 12 h 26"/>
                <a:gd name="T40" fmla="*/ 2 w 58"/>
                <a:gd name="T41" fmla="*/ 14 h 26"/>
                <a:gd name="T42" fmla="*/ 0 w 58"/>
                <a:gd name="T43" fmla="*/ 14 h 26"/>
                <a:gd name="T44" fmla="*/ 0 w 58"/>
                <a:gd name="T45" fmla="*/ 16 h 26"/>
                <a:gd name="T46" fmla="*/ 2 w 58"/>
                <a:gd name="T47" fmla="*/ 18 h 26"/>
                <a:gd name="T48" fmla="*/ 2 w 58"/>
                <a:gd name="T49" fmla="*/ 20 h 26"/>
                <a:gd name="T50" fmla="*/ 6 w 58"/>
                <a:gd name="T51" fmla="*/ 20 h 26"/>
                <a:gd name="T52" fmla="*/ 6 w 58"/>
                <a:gd name="T53" fmla="*/ 20 h 26"/>
                <a:gd name="T54" fmla="*/ 6 w 58"/>
                <a:gd name="T55" fmla="*/ 20 h 26"/>
                <a:gd name="T56" fmla="*/ 10 w 58"/>
                <a:gd name="T57" fmla="*/ 22 h 26"/>
                <a:gd name="T58" fmla="*/ 12 w 58"/>
                <a:gd name="T59" fmla="*/ 24 h 26"/>
                <a:gd name="T60" fmla="*/ 16 w 58"/>
                <a:gd name="T61" fmla="*/ 24 h 26"/>
                <a:gd name="T62" fmla="*/ 18 w 58"/>
                <a:gd name="T63" fmla="*/ 26 h 26"/>
                <a:gd name="T64" fmla="*/ 20 w 58"/>
                <a:gd name="T65" fmla="*/ 26 h 26"/>
                <a:gd name="T66" fmla="*/ 20 w 58"/>
                <a:gd name="T67" fmla="*/ 26 h 26"/>
                <a:gd name="T68" fmla="*/ 22 w 58"/>
                <a:gd name="T69" fmla="*/ 26 h 26"/>
                <a:gd name="T70" fmla="*/ 24 w 58"/>
                <a:gd name="T71" fmla="*/ 24 h 26"/>
                <a:gd name="T72" fmla="*/ 26 w 58"/>
                <a:gd name="T73" fmla="*/ 24 h 26"/>
                <a:gd name="T74" fmla="*/ 26 w 58"/>
                <a:gd name="T75" fmla="*/ 24 h 26"/>
                <a:gd name="T76" fmla="*/ 26 w 58"/>
                <a:gd name="T77" fmla="*/ 22 h 26"/>
                <a:gd name="T78" fmla="*/ 30 w 58"/>
                <a:gd name="T79" fmla="*/ 22 h 26"/>
                <a:gd name="T80" fmla="*/ 32 w 58"/>
                <a:gd name="T81" fmla="*/ 22 h 26"/>
                <a:gd name="T82" fmla="*/ 34 w 58"/>
                <a:gd name="T83" fmla="*/ 20 h 26"/>
                <a:gd name="T84" fmla="*/ 36 w 58"/>
                <a:gd name="T85" fmla="*/ 20 h 26"/>
                <a:gd name="T86" fmla="*/ 38 w 58"/>
                <a:gd name="T87" fmla="*/ 18 h 26"/>
                <a:gd name="T88" fmla="*/ 40 w 58"/>
                <a:gd name="T89" fmla="*/ 18 h 26"/>
                <a:gd name="T90" fmla="*/ 40 w 58"/>
                <a:gd name="T91" fmla="*/ 18 h 26"/>
                <a:gd name="T92" fmla="*/ 42 w 58"/>
                <a:gd name="T93" fmla="*/ 16 h 26"/>
                <a:gd name="T94" fmla="*/ 42 w 58"/>
                <a:gd name="T95" fmla="*/ 12 h 26"/>
                <a:gd name="T96" fmla="*/ 42 w 58"/>
                <a:gd name="T97" fmla="*/ 12 h 26"/>
                <a:gd name="T98" fmla="*/ 44 w 58"/>
                <a:gd name="T99" fmla="*/ 12 h 26"/>
                <a:gd name="T100" fmla="*/ 48 w 58"/>
                <a:gd name="T101" fmla="*/ 10 h 26"/>
                <a:gd name="T102" fmla="*/ 50 w 58"/>
                <a:gd name="T103" fmla="*/ 10 h 26"/>
                <a:gd name="T104" fmla="*/ 54 w 58"/>
                <a:gd name="T105" fmla="*/ 8 h 26"/>
                <a:gd name="T106" fmla="*/ 56 w 58"/>
                <a:gd name="T107" fmla="*/ 6 h 26"/>
                <a:gd name="T108" fmla="*/ 58 w 58"/>
                <a:gd name="T109" fmla="*/ 4 h 26"/>
                <a:gd name="T110" fmla="*/ 58 w 58"/>
                <a:gd name="T111" fmla="*/ 4 h 26"/>
                <a:gd name="T112" fmla="*/ 56 w 58"/>
                <a:gd name="T113" fmla="*/ 2 h 26"/>
                <a:gd name="T114" fmla="*/ 50 w 58"/>
                <a:gd name="T115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8" h="26">
                  <a:moveTo>
                    <a:pt x="50" y="2"/>
                  </a:moveTo>
                  <a:lnTo>
                    <a:pt x="38" y="0"/>
                  </a:lnTo>
                  <a:lnTo>
                    <a:pt x="32" y="0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10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8"/>
                  </a:lnTo>
                  <a:lnTo>
                    <a:pt x="6" y="8"/>
                  </a:lnTo>
                  <a:lnTo>
                    <a:pt x="4" y="10"/>
                  </a:lnTo>
                  <a:lnTo>
                    <a:pt x="2" y="12"/>
                  </a:lnTo>
                  <a:lnTo>
                    <a:pt x="2" y="14"/>
                  </a:lnTo>
                  <a:lnTo>
                    <a:pt x="0" y="14"/>
                  </a:lnTo>
                  <a:lnTo>
                    <a:pt x="0" y="16"/>
                  </a:lnTo>
                  <a:lnTo>
                    <a:pt x="2" y="18"/>
                  </a:lnTo>
                  <a:lnTo>
                    <a:pt x="2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10" y="22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8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2" y="26"/>
                  </a:lnTo>
                  <a:lnTo>
                    <a:pt x="24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2"/>
                  </a:lnTo>
                  <a:lnTo>
                    <a:pt x="30" y="22"/>
                  </a:lnTo>
                  <a:lnTo>
                    <a:pt x="32" y="22"/>
                  </a:lnTo>
                  <a:lnTo>
                    <a:pt x="34" y="20"/>
                  </a:lnTo>
                  <a:lnTo>
                    <a:pt x="36" y="20"/>
                  </a:lnTo>
                  <a:lnTo>
                    <a:pt x="38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2" y="16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4" y="12"/>
                  </a:lnTo>
                  <a:lnTo>
                    <a:pt x="48" y="10"/>
                  </a:lnTo>
                  <a:lnTo>
                    <a:pt x="50" y="10"/>
                  </a:lnTo>
                  <a:lnTo>
                    <a:pt x="54" y="8"/>
                  </a:lnTo>
                  <a:lnTo>
                    <a:pt x="56" y="6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6" y="2"/>
                  </a:lnTo>
                  <a:lnTo>
                    <a:pt x="50" y="2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10" name="Freeform 8"/>
            <p:cNvSpPr>
              <a:spLocks/>
            </p:cNvSpPr>
            <p:nvPr/>
          </p:nvSpPr>
          <p:spPr bwMode="auto">
            <a:xfrm>
              <a:off x="1692944" y="3487422"/>
              <a:ext cx="259839" cy="612902"/>
            </a:xfrm>
            <a:custGeom>
              <a:avLst/>
              <a:gdLst>
                <a:gd name="T0" fmla="*/ 78 w 262"/>
                <a:gd name="T1" fmla="*/ 590 h 618"/>
                <a:gd name="T2" fmla="*/ 70 w 262"/>
                <a:gd name="T3" fmla="*/ 566 h 618"/>
                <a:gd name="T4" fmla="*/ 60 w 262"/>
                <a:gd name="T5" fmla="*/ 542 h 618"/>
                <a:gd name="T6" fmla="*/ 60 w 262"/>
                <a:gd name="T7" fmla="*/ 518 h 618"/>
                <a:gd name="T8" fmla="*/ 68 w 262"/>
                <a:gd name="T9" fmla="*/ 512 h 618"/>
                <a:gd name="T10" fmla="*/ 82 w 262"/>
                <a:gd name="T11" fmla="*/ 506 h 618"/>
                <a:gd name="T12" fmla="*/ 82 w 262"/>
                <a:gd name="T13" fmla="*/ 488 h 618"/>
                <a:gd name="T14" fmla="*/ 98 w 262"/>
                <a:gd name="T15" fmla="*/ 474 h 618"/>
                <a:gd name="T16" fmla="*/ 102 w 262"/>
                <a:gd name="T17" fmla="*/ 450 h 618"/>
                <a:gd name="T18" fmla="*/ 84 w 262"/>
                <a:gd name="T19" fmla="*/ 438 h 618"/>
                <a:gd name="T20" fmla="*/ 80 w 262"/>
                <a:gd name="T21" fmla="*/ 418 h 618"/>
                <a:gd name="T22" fmla="*/ 88 w 262"/>
                <a:gd name="T23" fmla="*/ 410 h 618"/>
                <a:gd name="T24" fmla="*/ 104 w 262"/>
                <a:gd name="T25" fmla="*/ 402 h 618"/>
                <a:gd name="T26" fmla="*/ 108 w 262"/>
                <a:gd name="T27" fmla="*/ 394 h 618"/>
                <a:gd name="T28" fmla="*/ 114 w 262"/>
                <a:gd name="T29" fmla="*/ 370 h 618"/>
                <a:gd name="T30" fmla="*/ 120 w 262"/>
                <a:gd name="T31" fmla="*/ 362 h 618"/>
                <a:gd name="T32" fmla="*/ 136 w 262"/>
                <a:gd name="T33" fmla="*/ 354 h 618"/>
                <a:gd name="T34" fmla="*/ 118 w 262"/>
                <a:gd name="T35" fmla="*/ 342 h 618"/>
                <a:gd name="T36" fmla="*/ 118 w 262"/>
                <a:gd name="T37" fmla="*/ 330 h 618"/>
                <a:gd name="T38" fmla="*/ 122 w 262"/>
                <a:gd name="T39" fmla="*/ 324 h 618"/>
                <a:gd name="T40" fmla="*/ 146 w 262"/>
                <a:gd name="T41" fmla="*/ 322 h 618"/>
                <a:gd name="T42" fmla="*/ 154 w 262"/>
                <a:gd name="T43" fmla="*/ 314 h 618"/>
                <a:gd name="T44" fmla="*/ 160 w 262"/>
                <a:gd name="T45" fmla="*/ 296 h 618"/>
                <a:gd name="T46" fmla="*/ 168 w 262"/>
                <a:gd name="T47" fmla="*/ 290 h 618"/>
                <a:gd name="T48" fmla="*/ 204 w 262"/>
                <a:gd name="T49" fmla="*/ 280 h 618"/>
                <a:gd name="T50" fmla="*/ 232 w 262"/>
                <a:gd name="T51" fmla="*/ 250 h 618"/>
                <a:gd name="T52" fmla="*/ 238 w 262"/>
                <a:gd name="T53" fmla="*/ 240 h 618"/>
                <a:gd name="T54" fmla="*/ 228 w 262"/>
                <a:gd name="T55" fmla="*/ 214 h 618"/>
                <a:gd name="T56" fmla="*/ 218 w 262"/>
                <a:gd name="T57" fmla="*/ 188 h 618"/>
                <a:gd name="T58" fmla="*/ 220 w 262"/>
                <a:gd name="T59" fmla="*/ 140 h 618"/>
                <a:gd name="T60" fmla="*/ 234 w 262"/>
                <a:gd name="T61" fmla="*/ 122 h 618"/>
                <a:gd name="T62" fmla="*/ 256 w 262"/>
                <a:gd name="T63" fmla="*/ 94 h 618"/>
                <a:gd name="T64" fmla="*/ 262 w 262"/>
                <a:gd name="T65" fmla="*/ 86 h 618"/>
                <a:gd name="T66" fmla="*/ 246 w 262"/>
                <a:gd name="T67" fmla="*/ 86 h 618"/>
                <a:gd name="T68" fmla="*/ 224 w 262"/>
                <a:gd name="T69" fmla="*/ 80 h 618"/>
                <a:gd name="T70" fmla="*/ 222 w 262"/>
                <a:gd name="T71" fmla="*/ 64 h 618"/>
                <a:gd name="T72" fmla="*/ 194 w 262"/>
                <a:gd name="T73" fmla="*/ 32 h 618"/>
                <a:gd name="T74" fmla="*/ 160 w 262"/>
                <a:gd name="T75" fmla="*/ 10 h 618"/>
                <a:gd name="T76" fmla="*/ 138 w 262"/>
                <a:gd name="T77" fmla="*/ 2 h 618"/>
                <a:gd name="T78" fmla="*/ 106 w 262"/>
                <a:gd name="T79" fmla="*/ 0 h 618"/>
                <a:gd name="T80" fmla="*/ 94 w 262"/>
                <a:gd name="T81" fmla="*/ 12 h 618"/>
                <a:gd name="T82" fmla="*/ 84 w 262"/>
                <a:gd name="T83" fmla="*/ 32 h 618"/>
                <a:gd name="T84" fmla="*/ 78 w 262"/>
                <a:gd name="T85" fmla="*/ 40 h 618"/>
                <a:gd name="T86" fmla="*/ 74 w 262"/>
                <a:gd name="T87" fmla="*/ 62 h 618"/>
                <a:gd name="T88" fmla="*/ 74 w 262"/>
                <a:gd name="T89" fmla="*/ 82 h 618"/>
                <a:gd name="T90" fmla="*/ 66 w 262"/>
                <a:gd name="T91" fmla="*/ 94 h 618"/>
                <a:gd name="T92" fmla="*/ 48 w 262"/>
                <a:gd name="T93" fmla="*/ 118 h 618"/>
                <a:gd name="T94" fmla="*/ 50 w 262"/>
                <a:gd name="T95" fmla="*/ 182 h 618"/>
                <a:gd name="T96" fmla="*/ 46 w 262"/>
                <a:gd name="T97" fmla="*/ 224 h 618"/>
                <a:gd name="T98" fmla="*/ 30 w 262"/>
                <a:gd name="T99" fmla="*/ 286 h 618"/>
                <a:gd name="T100" fmla="*/ 16 w 262"/>
                <a:gd name="T101" fmla="*/ 340 h 618"/>
                <a:gd name="T102" fmla="*/ 28 w 262"/>
                <a:gd name="T103" fmla="*/ 380 h 618"/>
                <a:gd name="T104" fmla="*/ 26 w 262"/>
                <a:gd name="T105" fmla="*/ 430 h 618"/>
                <a:gd name="T106" fmla="*/ 12 w 262"/>
                <a:gd name="T107" fmla="*/ 484 h 618"/>
                <a:gd name="T108" fmla="*/ 0 w 262"/>
                <a:gd name="T109" fmla="*/ 514 h 618"/>
                <a:gd name="T110" fmla="*/ 20 w 262"/>
                <a:gd name="T111" fmla="*/ 530 h 618"/>
                <a:gd name="T112" fmla="*/ 22 w 262"/>
                <a:gd name="T113" fmla="*/ 536 h 618"/>
                <a:gd name="T114" fmla="*/ 14 w 262"/>
                <a:gd name="T115" fmla="*/ 558 h 618"/>
                <a:gd name="T116" fmla="*/ 28 w 262"/>
                <a:gd name="T117" fmla="*/ 568 h 618"/>
                <a:gd name="T118" fmla="*/ 58 w 262"/>
                <a:gd name="T119" fmla="*/ 606 h 618"/>
                <a:gd name="T120" fmla="*/ 68 w 262"/>
                <a:gd name="T121" fmla="*/ 616 h 618"/>
                <a:gd name="T122" fmla="*/ 98 w 262"/>
                <a:gd name="T123" fmla="*/ 618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2" h="618">
                  <a:moveTo>
                    <a:pt x="94" y="610"/>
                  </a:moveTo>
                  <a:lnTo>
                    <a:pt x="90" y="606"/>
                  </a:lnTo>
                  <a:lnTo>
                    <a:pt x="88" y="600"/>
                  </a:lnTo>
                  <a:lnTo>
                    <a:pt x="86" y="598"/>
                  </a:lnTo>
                  <a:lnTo>
                    <a:pt x="82" y="596"/>
                  </a:lnTo>
                  <a:lnTo>
                    <a:pt x="82" y="596"/>
                  </a:lnTo>
                  <a:lnTo>
                    <a:pt x="82" y="594"/>
                  </a:lnTo>
                  <a:lnTo>
                    <a:pt x="80" y="592"/>
                  </a:lnTo>
                  <a:lnTo>
                    <a:pt x="78" y="590"/>
                  </a:lnTo>
                  <a:lnTo>
                    <a:pt x="76" y="588"/>
                  </a:lnTo>
                  <a:lnTo>
                    <a:pt x="74" y="588"/>
                  </a:lnTo>
                  <a:lnTo>
                    <a:pt x="72" y="586"/>
                  </a:lnTo>
                  <a:lnTo>
                    <a:pt x="72" y="586"/>
                  </a:lnTo>
                  <a:lnTo>
                    <a:pt x="70" y="584"/>
                  </a:lnTo>
                  <a:lnTo>
                    <a:pt x="70" y="578"/>
                  </a:lnTo>
                  <a:lnTo>
                    <a:pt x="70" y="574"/>
                  </a:lnTo>
                  <a:lnTo>
                    <a:pt x="70" y="570"/>
                  </a:lnTo>
                  <a:lnTo>
                    <a:pt x="70" y="566"/>
                  </a:lnTo>
                  <a:lnTo>
                    <a:pt x="70" y="562"/>
                  </a:lnTo>
                  <a:lnTo>
                    <a:pt x="68" y="560"/>
                  </a:lnTo>
                  <a:lnTo>
                    <a:pt x="68" y="556"/>
                  </a:lnTo>
                  <a:lnTo>
                    <a:pt x="64" y="552"/>
                  </a:lnTo>
                  <a:lnTo>
                    <a:pt x="64" y="552"/>
                  </a:lnTo>
                  <a:lnTo>
                    <a:pt x="64" y="552"/>
                  </a:lnTo>
                  <a:lnTo>
                    <a:pt x="64" y="548"/>
                  </a:lnTo>
                  <a:lnTo>
                    <a:pt x="62" y="544"/>
                  </a:lnTo>
                  <a:lnTo>
                    <a:pt x="60" y="542"/>
                  </a:lnTo>
                  <a:lnTo>
                    <a:pt x="58" y="538"/>
                  </a:lnTo>
                  <a:lnTo>
                    <a:pt x="58" y="538"/>
                  </a:lnTo>
                  <a:lnTo>
                    <a:pt x="58" y="536"/>
                  </a:lnTo>
                  <a:lnTo>
                    <a:pt x="58" y="532"/>
                  </a:lnTo>
                  <a:lnTo>
                    <a:pt x="58" y="530"/>
                  </a:lnTo>
                  <a:lnTo>
                    <a:pt x="60" y="526"/>
                  </a:lnTo>
                  <a:lnTo>
                    <a:pt x="60" y="524"/>
                  </a:lnTo>
                  <a:lnTo>
                    <a:pt x="60" y="520"/>
                  </a:lnTo>
                  <a:lnTo>
                    <a:pt x="60" y="518"/>
                  </a:lnTo>
                  <a:lnTo>
                    <a:pt x="60" y="518"/>
                  </a:lnTo>
                  <a:lnTo>
                    <a:pt x="60" y="518"/>
                  </a:lnTo>
                  <a:lnTo>
                    <a:pt x="62" y="516"/>
                  </a:lnTo>
                  <a:lnTo>
                    <a:pt x="62" y="516"/>
                  </a:lnTo>
                  <a:lnTo>
                    <a:pt x="62" y="514"/>
                  </a:lnTo>
                  <a:lnTo>
                    <a:pt x="64" y="512"/>
                  </a:lnTo>
                  <a:lnTo>
                    <a:pt x="64" y="512"/>
                  </a:lnTo>
                  <a:lnTo>
                    <a:pt x="66" y="512"/>
                  </a:lnTo>
                  <a:lnTo>
                    <a:pt x="68" y="512"/>
                  </a:lnTo>
                  <a:lnTo>
                    <a:pt x="70" y="510"/>
                  </a:lnTo>
                  <a:lnTo>
                    <a:pt x="72" y="510"/>
                  </a:lnTo>
                  <a:lnTo>
                    <a:pt x="74" y="510"/>
                  </a:lnTo>
                  <a:lnTo>
                    <a:pt x="78" y="510"/>
                  </a:lnTo>
                  <a:lnTo>
                    <a:pt x="80" y="510"/>
                  </a:lnTo>
                  <a:lnTo>
                    <a:pt x="80" y="510"/>
                  </a:lnTo>
                  <a:lnTo>
                    <a:pt x="82" y="508"/>
                  </a:lnTo>
                  <a:lnTo>
                    <a:pt x="82" y="506"/>
                  </a:lnTo>
                  <a:lnTo>
                    <a:pt x="82" y="506"/>
                  </a:lnTo>
                  <a:lnTo>
                    <a:pt x="82" y="504"/>
                  </a:lnTo>
                  <a:lnTo>
                    <a:pt x="82" y="504"/>
                  </a:lnTo>
                  <a:lnTo>
                    <a:pt x="78" y="500"/>
                  </a:lnTo>
                  <a:lnTo>
                    <a:pt x="78" y="500"/>
                  </a:lnTo>
                  <a:lnTo>
                    <a:pt x="78" y="498"/>
                  </a:lnTo>
                  <a:lnTo>
                    <a:pt x="80" y="492"/>
                  </a:lnTo>
                  <a:lnTo>
                    <a:pt x="80" y="492"/>
                  </a:lnTo>
                  <a:lnTo>
                    <a:pt x="80" y="492"/>
                  </a:lnTo>
                  <a:lnTo>
                    <a:pt x="82" y="488"/>
                  </a:lnTo>
                  <a:lnTo>
                    <a:pt x="82" y="488"/>
                  </a:lnTo>
                  <a:lnTo>
                    <a:pt x="82" y="488"/>
                  </a:lnTo>
                  <a:lnTo>
                    <a:pt x="84" y="486"/>
                  </a:lnTo>
                  <a:lnTo>
                    <a:pt x="84" y="486"/>
                  </a:lnTo>
                  <a:lnTo>
                    <a:pt x="84" y="486"/>
                  </a:lnTo>
                  <a:lnTo>
                    <a:pt x="86" y="482"/>
                  </a:lnTo>
                  <a:lnTo>
                    <a:pt x="92" y="478"/>
                  </a:lnTo>
                  <a:lnTo>
                    <a:pt x="94" y="476"/>
                  </a:lnTo>
                  <a:lnTo>
                    <a:pt x="98" y="474"/>
                  </a:lnTo>
                  <a:lnTo>
                    <a:pt x="100" y="470"/>
                  </a:lnTo>
                  <a:lnTo>
                    <a:pt x="102" y="468"/>
                  </a:lnTo>
                  <a:lnTo>
                    <a:pt x="104" y="464"/>
                  </a:lnTo>
                  <a:lnTo>
                    <a:pt x="106" y="462"/>
                  </a:lnTo>
                  <a:lnTo>
                    <a:pt x="104" y="460"/>
                  </a:lnTo>
                  <a:lnTo>
                    <a:pt x="104" y="456"/>
                  </a:lnTo>
                  <a:lnTo>
                    <a:pt x="104" y="454"/>
                  </a:lnTo>
                  <a:lnTo>
                    <a:pt x="102" y="452"/>
                  </a:lnTo>
                  <a:lnTo>
                    <a:pt x="102" y="450"/>
                  </a:lnTo>
                  <a:lnTo>
                    <a:pt x="100" y="450"/>
                  </a:lnTo>
                  <a:lnTo>
                    <a:pt x="98" y="448"/>
                  </a:lnTo>
                  <a:lnTo>
                    <a:pt x="94" y="448"/>
                  </a:lnTo>
                  <a:lnTo>
                    <a:pt x="94" y="448"/>
                  </a:lnTo>
                  <a:lnTo>
                    <a:pt x="92" y="448"/>
                  </a:lnTo>
                  <a:lnTo>
                    <a:pt x="88" y="444"/>
                  </a:lnTo>
                  <a:lnTo>
                    <a:pt x="88" y="444"/>
                  </a:lnTo>
                  <a:lnTo>
                    <a:pt x="88" y="444"/>
                  </a:lnTo>
                  <a:lnTo>
                    <a:pt x="84" y="438"/>
                  </a:lnTo>
                  <a:lnTo>
                    <a:pt x="82" y="434"/>
                  </a:lnTo>
                  <a:lnTo>
                    <a:pt x="78" y="430"/>
                  </a:lnTo>
                  <a:lnTo>
                    <a:pt x="78" y="430"/>
                  </a:lnTo>
                  <a:lnTo>
                    <a:pt x="78" y="428"/>
                  </a:lnTo>
                  <a:lnTo>
                    <a:pt x="78" y="424"/>
                  </a:lnTo>
                  <a:lnTo>
                    <a:pt x="80" y="422"/>
                  </a:lnTo>
                  <a:lnTo>
                    <a:pt x="80" y="420"/>
                  </a:lnTo>
                  <a:lnTo>
                    <a:pt x="80" y="418"/>
                  </a:lnTo>
                  <a:lnTo>
                    <a:pt x="80" y="418"/>
                  </a:lnTo>
                  <a:lnTo>
                    <a:pt x="80" y="418"/>
                  </a:lnTo>
                  <a:lnTo>
                    <a:pt x="82" y="414"/>
                  </a:lnTo>
                  <a:lnTo>
                    <a:pt x="82" y="414"/>
                  </a:lnTo>
                  <a:lnTo>
                    <a:pt x="82" y="414"/>
                  </a:lnTo>
                  <a:lnTo>
                    <a:pt x="84" y="412"/>
                  </a:lnTo>
                  <a:lnTo>
                    <a:pt x="84" y="412"/>
                  </a:lnTo>
                  <a:lnTo>
                    <a:pt x="84" y="412"/>
                  </a:lnTo>
                  <a:lnTo>
                    <a:pt x="88" y="410"/>
                  </a:lnTo>
                  <a:lnTo>
                    <a:pt x="88" y="410"/>
                  </a:lnTo>
                  <a:lnTo>
                    <a:pt x="88" y="410"/>
                  </a:lnTo>
                  <a:lnTo>
                    <a:pt x="92" y="410"/>
                  </a:lnTo>
                  <a:lnTo>
                    <a:pt x="94" y="410"/>
                  </a:lnTo>
                  <a:lnTo>
                    <a:pt x="96" y="410"/>
                  </a:lnTo>
                  <a:lnTo>
                    <a:pt x="100" y="410"/>
                  </a:lnTo>
                  <a:lnTo>
                    <a:pt x="102" y="410"/>
                  </a:lnTo>
                  <a:lnTo>
                    <a:pt x="102" y="410"/>
                  </a:lnTo>
                  <a:lnTo>
                    <a:pt x="102" y="406"/>
                  </a:lnTo>
                  <a:lnTo>
                    <a:pt x="104" y="402"/>
                  </a:lnTo>
                  <a:lnTo>
                    <a:pt x="104" y="400"/>
                  </a:lnTo>
                  <a:lnTo>
                    <a:pt x="104" y="400"/>
                  </a:lnTo>
                  <a:lnTo>
                    <a:pt x="104" y="400"/>
                  </a:lnTo>
                  <a:lnTo>
                    <a:pt x="106" y="398"/>
                  </a:lnTo>
                  <a:lnTo>
                    <a:pt x="106" y="398"/>
                  </a:lnTo>
                  <a:lnTo>
                    <a:pt x="106" y="396"/>
                  </a:lnTo>
                  <a:lnTo>
                    <a:pt x="108" y="394"/>
                  </a:lnTo>
                  <a:lnTo>
                    <a:pt x="108" y="394"/>
                  </a:lnTo>
                  <a:lnTo>
                    <a:pt x="108" y="394"/>
                  </a:lnTo>
                  <a:lnTo>
                    <a:pt x="110" y="394"/>
                  </a:lnTo>
                  <a:lnTo>
                    <a:pt x="112" y="390"/>
                  </a:lnTo>
                  <a:lnTo>
                    <a:pt x="114" y="386"/>
                  </a:lnTo>
                  <a:lnTo>
                    <a:pt x="114" y="382"/>
                  </a:lnTo>
                  <a:lnTo>
                    <a:pt x="116" y="378"/>
                  </a:lnTo>
                  <a:lnTo>
                    <a:pt x="114" y="376"/>
                  </a:lnTo>
                  <a:lnTo>
                    <a:pt x="114" y="372"/>
                  </a:lnTo>
                  <a:lnTo>
                    <a:pt x="114" y="370"/>
                  </a:lnTo>
                  <a:lnTo>
                    <a:pt x="114" y="370"/>
                  </a:lnTo>
                  <a:lnTo>
                    <a:pt x="114" y="370"/>
                  </a:lnTo>
                  <a:lnTo>
                    <a:pt x="116" y="368"/>
                  </a:lnTo>
                  <a:lnTo>
                    <a:pt x="116" y="368"/>
                  </a:lnTo>
                  <a:lnTo>
                    <a:pt x="116" y="368"/>
                  </a:lnTo>
                  <a:lnTo>
                    <a:pt x="116" y="366"/>
                  </a:lnTo>
                  <a:lnTo>
                    <a:pt x="116" y="366"/>
                  </a:lnTo>
                  <a:lnTo>
                    <a:pt x="118" y="364"/>
                  </a:lnTo>
                  <a:lnTo>
                    <a:pt x="120" y="362"/>
                  </a:lnTo>
                  <a:lnTo>
                    <a:pt x="120" y="362"/>
                  </a:lnTo>
                  <a:lnTo>
                    <a:pt x="120" y="362"/>
                  </a:lnTo>
                  <a:lnTo>
                    <a:pt x="124" y="360"/>
                  </a:lnTo>
                  <a:lnTo>
                    <a:pt x="124" y="360"/>
                  </a:lnTo>
                  <a:lnTo>
                    <a:pt x="124" y="360"/>
                  </a:lnTo>
                  <a:lnTo>
                    <a:pt x="128" y="360"/>
                  </a:lnTo>
                  <a:lnTo>
                    <a:pt x="132" y="360"/>
                  </a:lnTo>
                  <a:lnTo>
                    <a:pt x="136" y="360"/>
                  </a:lnTo>
                  <a:lnTo>
                    <a:pt x="136" y="358"/>
                  </a:lnTo>
                  <a:lnTo>
                    <a:pt x="136" y="354"/>
                  </a:lnTo>
                  <a:lnTo>
                    <a:pt x="136" y="352"/>
                  </a:lnTo>
                  <a:lnTo>
                    <a:pt x="134" y="352"/>
                  </a:lnTo>
                  <a:lnTo>
                    <a:pt x="132" y="350"/>
                  </a:lnTo>
                  <a:lnTo>
                    <a:pt x="130" y="348"/>
                  </a:lnTo>
                  <a:lnTo>
                    <a:pt x="126" y="348"/>
                  </a:lnTo>
                  <a:lnTo>
                    <a:pt x="120" y="348"/>
                  </a:lnTo>
                  <a:lnTo>
                    <a:pt x="120" y="348"/>
                  </a:lnTo>
                  <a:lnTo>
                    <a:pt x="118" y="346"/>
                  </a:lnTo>
                  <a:lnTo>
                    <a:pt x="118" y="342"/>
                  </a:lnTo>
                  <a:lnTo>
                    <a:pt x="118" y="338"/>
                  </a:lnTo>
                  <a:lnTo>
                    <a:pt x="116" y="336"/>
                  </a:lnTo>
                  <a:lnTo>
                    <a:pt x="116" y="334"/>
                  </a:lnTo>
                  <a:lnTo>
                    <a:pt x="116" y="334"/>
                  </a:lnTo>
                  <a:lnTo>
                    <a:pt x="116" y="332"/>
                  </a:lnTo>
                  <a:lnTo>
                    <a:pt x="116" y="330"/>
                  </a:lnTo>
                  <a:lnTo>
                    <a:pt x="116" y="330"/>
                  </a:lnTo>
                  <a:lnTo>
                    <a:pt x="116" y="330"/>
                  </a:lnTo>
                  <a:lnTo>
                    <a:pt x="118" y="330"/>
                  </a:lnTo>
                  <a:lnTo>
                    <a:pt x="118" y="330"/>
                  </a:lnTo>
                  <a:lnTo>
                    <a:pt x="118" y="328"/>
                  </a:lnTo>
                  <a:lnTo>
                    <a:pt x="118" y="328"/>
                  </a:lnTo>
                  <a:lnTo>
                    <a:pt x="118" y="328"/>
                  </a:lnTo>
                  <a:lnTo>
                    <a:pt x="118" y="326"/>
                  </a:lnTo>
                  <a:lnTo>
                    <a:pt x="120" y="326"/>
                  </a:lnTo>
                  <a:lnTo>
                    <a:pt x="120" y="326"/>
                  </a:lnTo>
                  <a:lnTo>
                    <a:pt x="120" y="326"/>
                  </a:lnTo>
                  <a:lnTo>
                    <a:pt x="122" y="324"/>
                  </a:lnTo>
                  <a:lnTo>
                    <a:pt x="122" y="324"/>
                  </a:lnTo>
                  <a:lnTo>
                    <a:pt x="122" y="324"/>
                  </a:lnTo>
                  <a:lnTo>
                    <a:pt x="124" y="324"/>
                  </a:lnTo>
                  <a:lnTo>
                    <a:pt x="128" y="324"/>
                  </a:lnTo>
                  <a:lnTo>
                    <a:pt x="130" y="324"/>
                  </a:lnTo>
                  <a:lnTo>
                    <a:pt x="134" y="324"/>
                  </a:lnTo>
                  <a:lnTo>
                    <a:pt x="138" y="322"/>
                  </a:lnTo>
                  <a:lnTo>
                    <a:pt x="142" y="322"/>
                  </a:lnTo>
                  <a:lnTo>
                    <a:pt x="146" y="322"/>
                  </a:lnTo>
                  <a:lnTo>
                    <a:pt x="148" y="320"/>
                  </a:lnTo>
                  <a:lnTo>
                    <a:pt x="150" y="316"/>
                  </a:lnTo>
                  <a:lnTo>
                    <a:pt x="150" y="316"/>
                  </a:lnTo>
                  <a:lnTo>
                    <a:pt x="150" y="316"/>
                  </a:lnTo>
                  <a:lnTo>
                    <a:pt x="152" y="316"/>
                  </a:lnTo>
                  <a:lnTo>
                    <a:pt x="152" y="316"/>
                  </a:lnTo>
                  <a:lnTo>
                    <a:pt x="152" y="314"/>
                  </a:lnTo>
                  <a:lnTo>
                    <a:pt x="154" y="314"/>
                  </a:lnTo>
                  <a:lnTo>
                    <a:pt x="154" y="314"/>
                  </a:lnTo>
                  <a:lnTo>
                    <a:pt x="154" y="314"/>
                  </a:lnTo>
                  <a:lnTo>
                    <a:pt x="156" y="314"/>
                  </a:lnTo>
                  <a:lnTo>
                    <a:pt x="156" y="312"/>
                  </a:lnTo>
                  <a:lnTo>
                    <a:pt x="158" y="312"/>
                  </a:lnTo>
                  <a:lnTo>
                    <a:pt x="158" y="308"/>
                  </a:lnTo>
                  <a:lnTo>
                    <a:pt x="158" y="302"/>
                  </a:lnTo>
                  <a:lnTo>
                    <a:pt x="158" y="300"/>
                  </a:lnTo>
                  <a:lnTo>
                    <a:pt x="160" y="296"/>
                  </a:lnTo>
                  <a:lnTo>
                    <a:pt x="160" y="296"/>
                  </a:lnTo>
                  <a:lnTo>
                    <a:pt x="160" y="296"/>
                  </a:lnTo>
                  <a:lnTo>
                    <a:pt x="162" y="294"/>
                  </a:lnTo>
                  <a:lnTo>
                    <a:pt x="162" y="294"/>
                  </a:lnTo>
                  <a:lnTo>
                    <a:pt x="162" y="292"/>
                  </a:lnTo>
                  <a:lnTo>
                    <a:pt x="164" y="290"/>
                  </a:lnTo>
                  <a:lnTo>
                    <a:pt x="164" y="290"/>
                  </a:lnTo>
                  <a:lnTo>
                    <a:pt x="166" y="290"/>
                  </a:lnTo>
                  <a:lnTo>
                    <a:pt x="166" y="290"/>
                  </a:lnTo>
                  <a:lnTo>
                    <a:pt x="168" y="290"/>
                  </a:lnTo>
                  <a:lnTo>
                    <a:pt x="170" y="288"/>
                  </a:lnTo>
                  <a:lnTo>
                    <a:pt x="172" y="288"/>
                  </a:lnTo>
                  <a:lnTo>
                    <a:pt x="174" y="288"/>
                  </a:lnTo>
                  <a:lnTo>
                    <a:pt x="178" y="286"/>
                  </a:lnTo>
                  <a:lnTo>
                    <a:pt x="184" y="286"/>
                  </a:lnTo>
                  <a:lnTo>
                    <a:pt x="192" y="284"/>
                  </a:lnTo>
                  <a:lnTo>
                    <a:pt x="198" y="282"/>
                  </a:lnTo>
                  <a:lnTo>
                    <a:pt x="202" y="282"/>
                  </a:lnTo>
                  <a:lnTo>
                    <a:pt x="204" y="280"/>
                  </a:lnTo>
                  <a:lnTo>
                    <a:pt x="206" y="280"/>
                  </a:lnTo>
                  <a:lnTo>
                    <a:pt x="206" y="280"/>
                  </a:lnTo>
                  <a:lnTo>
                    <a:pt x="210" y="278"/>
                  </a:lnTo>
                  <a:lnTo>
                    <a:pt x="214" y="276"/>
                  </a:lnTo>
                  <a:lnTo>
                    <a:pt x="218" y="272"/>
                  </a:lnTo>
                  <a:lnTo>
                    <a:pt x="220" y="268"/>
                  </a:lnTo>
                  <a:lnTo>
                    <a:pt x="226" y="262"/>
                  </a:lnTo>
                  <a:lnTo>
                    <a:pt x="232" y="252"/>
                  </a:lnTo>
                  <a:lnTo>
                    <a:pt x="232" y="250"/>
                  </a:lnTo>
                  <a:lnTo>
                    <a:pt x="232" y="250"/>
                  </a:lnTo>
                  <a:lnTo>
                    <a:pt x="232" y="250"/>
                  </a:lnTo>
                  <a:lnTo>
                    <a:pt x="234" y="248"/>
                  </a:lnTo>
                  <a:lnTo>
                    <a:pt x="234" y="248"/>
                  </a:lnTo>
                  <a:lnTo>
                    <a:pt x="234" y="248"/>
                  </a:lnTo>
                  <a:lnTo>
                    <a:pt x="236" y="246"/>
                  </a:lnTo>
                  <a:lnTo>
                    <a:pt x="238" y="242"/>
                  </a:lnTo>
                  <a:lnTo>
                    <a:pt x="238" y="242"/>
                  </a:lnTo>
                  <a:lnTo>
                    <a:pt x="238" y="240"/>
                  </a:lnTo>
                  <a:lnTo>
                    <a:pt x="238" y="238"/>
                  </a:lnTo>
                  <a:lnTo>
                    <a:pt x="238" y="234"/>
                  </a:lnTo>
                  <a:lnTo>
                    <a:pt x="238" y="230"/>
                  </a:lnTo>
                  <a:lnTo>
                    <a:pt x="236" y="226"/>
                  </a:lnTo>
                  <a:lnTo>
                    <a:pt x="236" y="224"/>
                  </a:lnTo>
                  <a:lnTo>
                    <a:pt x="234" y="220"/>
                  </a:lnTo>
                  <a:lnTo>
                    <a:pt x="234" y="218"/>
                  </a:lnTo>
                  <a:lnTo>
                    <a:pt x="230" y="216"/>
                  </a:lnTo>
                  <a:lnTo>
                    <a:pt x="228" y="214"/>
                  </a:lnTo>
                  <a:lnTo>
                    <a:pt x="226" y="212"/>
                  </a:lnTo>
                  <a:lnTo>
                    <a:pt x="226" y="212"/>
                  </a:lnTo>
                  <a:lnTo>
                    <a:pt x="226" y="212"/>
                  </a:lnTo>
                  <a:lnTo>
                    <a:pt x="224" y="206"/>
                  </a:lnTo>
                  <a:lnTo>
                    <a:pt x="220" y="200"/>
                  </a:lnTo>
                  <a:lnTo>
                    <a:pt x="220" y="194"/>
                  </a:lnTo>
                  <a:lnTo>
                    <a:pt x="218" y="188"/>
                  </a:lnTo>
                  <a:lnTo>
                    <a:pt x="218" y="188"/>
                  </a:lnTo>
                  <a:lnTo>
                    <a:pt x="218" y="188"/>
                  </a:lnTo>
                  <a:lnTo>
                    <a:pt x="218" y="186"/>
                  </a:lnTo>
                  <a:lnTo>
                    <a:pt x="218" y="182"/>
                  </a:lnTo>
                  <a:lnTo>
                    <a:pt x="218" y="180"/>
                  </a:lnTo>
                  <a:lnTo>
                    <a:pt x="216" y="176"/>
                  </a:lnTo>
                  <a:lnTo>
                    <a:pt x="216" y="168"/>
                  </a:lnTo>
                  <a:lnTo>
                    <a:pt x="216" y="160"/>
                  </a:lnTo>
                  <a:lnTo>
                    <a:pt x="218" y="152"/>
                  </a:lnTo>
                  <a:lnTo>
                    <a:pt x="220" y="144"/>
                  </a:lnTo>
                  <a:lnTo>
                    <a:pt x="220" y="140"/>
                  </a:lnTo>
                  <a:lnTo>
                    <a:pt x="222" y="136"/>
                  </a:lnTo>
                  <a:lnTo>
                    <a:pt x="222" y="136"/>
                  </a:lnTo>
                  <a:lnTo>
                    <a:pt x="222" y="136"/>
                  </a:lnTo>
                  <a:lnTo>
                    <a:pt x="224" y="134"/>
                  </a:lnTo>
                  <a:lnTo>
                    <a:pt x="224" y="134"/>
                  </a:lnTo>
                  <a:lnTo>
                    <a:pt x="226" y="134"/>
                  </a:lnTo>
                  <a:lnTo>
                    <a:pt x="228" y="132"/>
                  </a:lnTo>
                  <a:lnTo>
                    <a:pt x="230" y="126"/>
                  </a:lnTo>
                  <a:lnTo>
                    <a:pt x="234" y="122"/>
                  </a:lnTo>
                  <a:lnTo>
                    <a:pt x="238" y="118"/>
                  </a:lnTo>
                  <a:lnTo>
                    <a:pt x="242" y="114"/>
                  </a:lnTo>
                  <a:lnTo>
                    <a:pt x="244" y="110"/>
                  </a:lnTo>
                  <a:lnTo>
                    <a:pt x="246" y="108"/>
                  </a:lnTo>
                  <a:lnTo>
                    <a:pt x="248" y="104"/>
                  </a:lnTo>
                  <a:lnTo>
                    <a:pt x="252" y="102"/>
                  </a:lnTo>
                  <a:lnTo>
                    <a:pt x="254" y="98"/>
                  </a:lnTo>
                  <a:lnTo>
                    <a:pt x="256" y="94"/>
                  </a:lnTo>
                  <a:lnTo>
                    <a:pt x="256" y="94"/>
                  </a:lnTo>
                  <a:lnTo>
                    <a:pt x="256" y="94"/>
                  </a:lnTo>
                  <a:lnTo>
                    <a:pt x="258" y="92"/>
                  </a:lnTo>
                  <a:lnTo>
                    <a:pt x="258" y="92"/>
                  </a:lnTo>
                  <a:lnTo>
                    <a:pt x="260" y="92"/>
                  </a:lnTo>
                  <a:lnTo>
                    <a:pt x="262" y="90"/>
                  </a:lnTo>
                  <a:lnTo>
                    <a:pt x="262" y="90"/>
                  </a:lnTo>
                  <a:lnTo>
                    <a:pt x="262" y="88"/>
                  </a:lnTo>
                  <a:lnTo>
                    <a:pt x="262" y="86"/>
                  </a:lnTo>
                  <a:lnTo>
                    <a:pt x="262" y="86"/>
                  </a:lnTo>
                  <a:lnTo>
                    <a:pt x="262" y="84"/>
                  </a:lnTo>
                  <a:lnTo>
                    <a:pt x="262" y="84"/>
                  </a:lnTo>
                  <a:lnTo>
                    <a:pt x="262" y="84"/>
                  </a:lnTo>
                  <a:lnTo>
                    <a:pt x="260" y="84"/>
                  </a:lnTo>
                  <a:lnTo>
                    <a:pt x="260" y="84"/>
                  </a:lnTo>
                  <a:lnTo>
                    <a:pt x="260" y="86"/>
                  </a:lnTo>
                  <a:lnTo>
                    <a:pt x="256" y="86"/>
                  </a:lnTo>
                  <a:lnTo>
                    <a:pt x="252" y="86"/>
                  </a:lnTo>
                  <a:lnTo>
                    <a:pt x="246" y="86"/>
                  </a:lnTo>
                  <a:lnTo>
                    <a:pt x="238" y="84"/>
                  </a:lnTo>
                  <a:lnTo>
                    <a:pt x="234" y="84"/>
                  </a:lnTo>
                  <a:lnTo>
                    <a:pt x="232" y="82"/>
                  </a:lnTo>
                  <a:lnTo>
                    <a:pt x="232" y="82"/>
                  </a:lnTo>
                  <a:lnTo>
                    <a:pt x="230" y="82"/>
                  </a:lnTo>
                  <a:lnTo>
                    <a:pt x="228" y="82"/>
                  </a:lnTo>
                  <a:lnTo>
                    <a:pt x="226" y="82"/>
                  </a:lnTo>
                  <a:lnTo>
                    <a:pt x="224" y="80"/>
                  </a:lnTo>
                  <a:lnTo>
                    <a:pt x="224" y="80"/>
                  </a:lnTo>
                  <a:lnTo>
                    <a:pt x="222" y="78"/>
                  </a:lnTo>
                  <a:lnTo>
                    <a:pt x="220" y="76"/>
                  </a:lnTo>
                  <a:lnTo>
                    <a:pt x="220" y="76"/>
                  </a:lnTo>
                  <a:lnTo>
                    <a:pt x="220" y="76"/>
                  </a:lnTo>
                  <a:lnTo>
                    <a:pt x="218" y="72"/>
                  </a:lnTo>
                  <a:lnTo>
                    <a:pt x="218" y="72"/>
                  </a:lnTo>
                  <a:lnTo>
                    <a:pt x="218" y="70"/>
                  </a:lnTo>
                  <a:lnTo>
                    <a:pt x="220" y="66"/>
                  </a:lnTo>
                  <a:lnTo>
                    <a:pt x="222" y="64"/>
                  </a:lnTo>
                  <a:lnTo>
                    <a:pt x="222" y="60"/>
                  </a:lnTo>
                  <a:lnTo>
                    <a:pt x="224" y="58"/>
                  </a:lnTo>
                  <a:lnTo>
                    <a:pt x="220" y="56"/>
                  </a:lnTo>
                  <a:lnTo>
                    <a:pt x="218" y="52"/>
                  </a:lnTo>
                  <a:lnTo>
                    <a:pt x="210" y="46"/>
                  </a:lnTo>
                  <a:lnTo>
                    <a:pt x="202" y="38"/>
                  </a:lnTo>
                  <a:lnTo>
                    <a:pt x="194" y="32"/>
                  </a:lnTo>
                  <a:lnTo>
                    <a:pt x="194" y="32"/>
                  </a:lnTo>
                  <a:lnTo>
                    <a:pt x="194" y="32"/>
                  </a:lnTo>
                  <a:lnTo>
                    <a:pt x="190" y="28"/>
                  </a:lnTo>
                  <a:lnTo>
                    <a:pt x="190" y="30"/>
                  </a:lnTo>
                  <a:lnTo>
                    <a:pt x="188" y="26"/>
                  </a:lnTo>
                  <a:lnTo>
                    <a:pt x="184" y="24"/>
                  </a:lnTo>
                  <a:lnTo>
                    <a:pt x="178" y="20"/>
                  </a:lnTo>
                  <a:lnTo>
                    <a:pt x="174" y="16"/>
                  </a:lnTo>
                  <a:lnTo>
                    <a:pt x="168" y="14"/>
                  </a:lnTo>
                  <a:lnTo>
                    <a:pt x="164" y="12"/>
                  </a:lnTo>
                  <a:lnTo>
                    <a:pt x="160" y="10"/>
                  </a:lnTo>
                  <a:lnTo>
                    <a:pt x="160" y="10"/>
                  </a:lnTo>
                  <a:lnTo>
                    <a:pt x="158" y="10"/>
                  </a:lnTo>
                  <a:lnTo>
                    <a:pt x="156" y="8"/>
                  </a:lnTo>
                  <a:lnTo>
                    <a:pt x="154" y="8"/>
                  </a:lnTo>
                  <a:lnTo>
                    <a:pt x="152" y="6"/>
                  </a:lnTo>
                  <a:lnTo>
                    <a:pt x="150" y="6"/>
                  </a:lnTo>
                  <a:lnTo>
                    <a:pt x="144" y="4"/>
                  </a:lnTo>
                  <a:lnTo>
                    <a:pt x="140" y="2"/>
                  </a:lnTo>
                  <a:lnTo>
                    <a:pt x="138" y="2"/>
                  </a:lnTo>
                  <a:lnTo>
                    <a:pt x="134" y="2"/>
                  </a:lnTo>
                  <a:lnTo>
                    <a:pt x="130" y="2"/>
                  </a:lnTo>
                  <a:lnTo>
                    <a:pt x="126" y="2"/>
                  </a:lnTo>
                  <a:lnTo>
                    <a:pt x="122" y="2"/>
                  </a:lnTo>
                  <a:lnTo>
                    <a:pt x="118" y="2"/>
                  </a:lnTo>
                  <a:lnTo>
                    <a:pt x="116" y="2"/>
                  </a:lnTo>
                  <a:lnTo>
                    <a:pt x="112" y="2"/>
                  </a:lnTo>
                  <a:lnTo>
                    <a:pt x="110" y="2"/>
                  </a:lnTo>
                  <a:lnTo>
                    <a:pt x="106" y="0"/>
                  </a:lnTo>
                  <a:lnTo>
                    <a:pt x="104" y="0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100" y="2"/>
                  </a:lnTo>
                  <a:lnTo>
                    <a:pt x="96" y="4"/>
                  </a:lnTo>
                  <a:lnTo>
                    <a:pt x="94" y="6"/>
                  </a:lnTo>
                  <a:lnTo>
                    <a:pt x="94" y="8"/>
                  </a:lnTo>
                  <a:lnTo>
                    <a:pt x="94" y="12"/>
                  </a:lnTo>
                  <a:lnTo>
                    <a:pt x="92" y="16"/>
                  </a:lnTo>
                  <a:lnTo>
                    <a:pt x="90" y="20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0" y="26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6" y="30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0" y="34"/>
                  </a:lnTo>
                  <a:lnTo>
                    <a:pt x="80" y="36"/>
                  </a:lnTo>
                  <a:lnTo>
                    <a:pt x="78" y="38"/>
                  </a:lnTo>
                  <a:lnTo>
                    <a:pt x="78" y="40"/>
                  </a:lnTo>
                  <a:lnTo>
                    <a:pt x="76" y="42"/>
                  </a:lnTo>
                  <a:lnTo>
                    <a:pt x="76" y="48"/>
                  </a:lnTo>
                  <a:lnTo>
                    <a:pt x="74" y="52"/>
                  </a:lnTo>
                  <a:lnTo>
                    <a:pt x="72" y="54"/>
                  </a:lnTo>
                  <a:lnTo>
                    <a:pt x="72" y="56"/>
                  </a:lnTo>
                  <a:lnTo>
                    <a:pt x="72" y="58"/>
                  </a:lnTo>
                  <a:lnTo>
                    <a:pt x="72" y="58"/>
                  </a:lnTo>
                  <a:lnTo>
                    <a:pt x="72" y="60"/>
                  </a:lnTo>
                  <a:lnTo>
                    <a:pt x="74" y="62"/>
                  </a:lnTo>
                  <a:lnTo>
                    <a:pt x="76" y="66"/>
                  </a:lnTo>
                  <a:lnTo>
                    <a:pt x="76" y="68"/>
                  </a:lnTo>
                  <a:lnTo>
                    <a:pt x="76" y="70"/>
                  </a:lnTo>
                  <a:lnTo>
                    <a:pt x="76" y="70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4" y="82"/>
                  </a:lnTo>
                  <a:lnTo>
                    <a:pt x="72" y="86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6" y="94"/>
                  </a:lnTo>
                  <a:lnTo>
                    <a:pt x="66" y="94"/>
                  </a:lnTo>
                  <a:lnTo>
                    <a:pt x="66" y="94"/>
                  </a:lnTo>
                  <a:lnTo>
                    <a:pt x="62" y="96"/>
                  </a:lnTo>
                  <a:lnTo>
                    <a:pt x="60" y="96"/>
                  </a:lnTo>
                  <a:lnTo>
                    <a:pt x="58" y="98"/>
                  </a:lnTo>
                  <a:lnTo>
                    <a:pt x="56" y="100"/>
                  </a:lnTo>
                  <a:lnTo>
                    <a:pt x="54" y="102"/>
                  </a:lnTo>
                  <a:lnTo>
                    <a:pt x="52" y="108"/>
                  </a:lnTo>
                  <a:lnTo>
                    <a:pt x="50" y="112"/>
                  </a:lnTo>
                  <a:lnTo>
                    <a:pt x="48" y="118"/>
                  </a:lnTo>
                  <a:lnTo>
                    <a:pt x="48" y="124"/>
                  </a:lnTo>
                  <a:lnTo>
                    <a:pt x="46" y="130"/>
                  </a:lnTo>
                  <a:lnTo>
                    <a:pt x="46" y="138"/>
                  </a:lnTo>
                  <a:lnTo>
                    <a:pt x="46" y="144"/>
                  </a:lnTo>
                  <a:lnTo>
                    <a:pt x="46" y="150"/>
                  </a:lnTo>
                  <a:lnTo>
                    <a:pt x="46" y="156"/>
                  </a:lnTo>
                  <a:lnTo>
                    <a:pt x="48" y="162"/>
                  </a:lnTo>
                  <a:lnTo>
                    <a:pt x="48" y="176"/>
                  </a:lnTo>
                  <a:lnTo>
                    <a:pt x="50" y="182"/>
                  </a:lnTo>
                  <a:lnTo>
                    <a:pt x="50" y="188"/>
                  </a:lnTo>
                  <a:lnTo>
                    <a:pt x="52" y="194"/>
                  </a:lnTo>
                  <a:lnTo>
                    <a:pt x="54" y="200"/>
                  </a:lnTo>
                  <a:lnTo>
                    <a:pt x="54" y="200"/>
                  </a:lnTo>
                  <a:lnTo>
                    <a:pt x="54" y="202"/>
                  </a:lnTo>
                  <a:lnTo>
                    <a:pt x="52" y="206"/>
                  </a:lnTo>
                  <a:lnTo>
                    <a:pt x="52" y="212"/>
                  </a:lnTo>
                  <a:lnTo>
                    <a:pt x="48" y="218"/>
                  </a:lnTo>
                  <a:lnTo>
                    <a:pt x="46" y="224"/>
                  </a:lnTo>
                  <a:lnTo>
                    <a:pt x="44" y="230"/>
                  </a:lnTo>
                  <a:lnTo>
                    <a:pt x="40" y="234"/>
                  </a:lnTo>
                  <a:lnTo>
                    <a:pt x="38" y="240"/>
                  </a:lnTo>
                  <a:lnTo>
                    <a:pt x="36" y="244"/>
                  </a:lnTo>
                  <a:lnTo>
                    <a:pt x="36" y="242"/>
                  </a:lnTo>
                  <a:lnTo>
                    <a:pt x="34" y="254"/>
                  </a:lnTo>
                  <a:lnTo>
                    <a:pt x="32" y="264"/>
                  </a:lnTo>
                  <a:lnTo>
                    <a:pt x="32" y="276"/>
                  </a:lnTo>
                  <a:lnTo>
                    <a:pt x="30" y="286"/>
                  </a:lnTo>
                  <a:lnTo>
                    <a:pt x="28" y="296"/>
                  </a:lnTo>
                  <a:lnTo>
                    <a:pt x="26" y="306"/>
                  </a:lnTo>
                  <a:lnTo>
                    <a:pt x="24" y="316"/>
                  </a:lnTo>
                  <a:lnTo>
                    <a:pt x="22" y="324"/>
                  </a:lnTo>
                  <a:lnTo>
                    <a:pt x="20" y="328"/>
                  </a:lnTo>
                  <a:lnTo>
                    <a:pt x="20" y="332"/>
                  </a:lnTo>
                  <a:lnTo>
                    <a:pt x="18" y="334"/>
                  </a:lnTo>
                  <a:lnTo>
                    <a:pt x="18" y="338"/>
                  </a:lnTo>
                  <a:lnTo>
                    <a:pt x="16" y="340"/>
                  </a:lnTo>
                  <a:lnTo>
                    <a:pt x="16" y="342"/>
                  </a:lnTo>
                  <a:lnTo>
                    <a:pt x="14" y="346"/>
                  </a:lnTo>
                  <a:lnTo>
                    <a:pt x="14" y="348"/>
                  </a:lnTo>
                  <a:lnTo>
                    <a:pt x="16" y="352"/>
                  </a:lnTo>
                  <a:lnTo>
                    <a:pt x="18" y="358"/>
                  </a:lnTo>
                  <a:lnTo>
                    <a:pt x="20" y="362"/>
                  </a:lnTo>
                  <a:lnTo>
                    <a:pt x="22" y="368"/>
                  </a:lnTo>
                  <a:lnTo>
                    <a:pt x="26" y="374"/>
                  </a:lnTo>
                  <a:lnTo>
                    <a:pt x="28" y="380"/>
                  </a:lnTo>
                  <a:lnTo>
                    <a:pt x="30" y="386"/>
                  </a:lnTo>
                  <a:lnTo>
                    <a:pt x="30" y="392"/>
                  </a:lnTo>
                  <a:lnTo>
                    <a:pt x="30" y="392"/>
                  </a:lnTo>
                  <a:lnTo>
                    <a:pt x="30" y="392"/>
                  </a:lnTo>
                  <a:lnTo>
                    <a:pt x="30" y="400"/>
                  </a:lnTo>
                  <a:lnTo>
                    <a:pt x="30" y="408"/>
                  </a:lnTo>
                  <a:lnTo>
                    <a:pt x="28" y="414"/>
                  </a:lnTo>
                  <a:lnTo>
                    <a:pt x="28" y="422"/>
                  </a:lnTo>
                  <a:lnTo>
                    <a:pt x="26" y="430"/>
                  </a:lnTo>
                  <a:lnTo>
                    <a:pt x="24" y="436"/>
                  </a:lnTo>
                  <a:lnTo>
                    <a:pt x="22" y="444"/>
                  </a:lnTo>
                  <a:lnTo>
                    <a:pt x="20" y="450"/>
                  </a:lnTo>
                  <a:lnTo>
                    <a:pt x="20" y="454"/>
                  </a:lnTo>
                  <a:lnTo>
                    <a:pt x="18" y="460"/>
                  </a:lnTo>
                  <a:lnTo>
                    <a:pt x="18" y="464"/>
                  </a:lnTo>
                  <a:lnTo>
                    <a:pt x="16" y="468"/>
                  </a:lnTo>
                  <a:lnTo>
                    <a:pt x="14" y="476"/>
                  </a:lnTo>
                  <a:lnTo>
                    <a:pt x="12" y="484"/>
                  </a:lnTo>
                  <a:lnTo>
                    <a:pt x="12" y="488"/>
                  </a:lnTo>
                  <a:lnTo>
                    <a:pt x="8" y="492"/>
                  </a:lnTo>
                  <a:lnTo>
                    <a:pt x="4" y="500"/>
                  </a:lnTo>
                  <a:lnTo>
                    <a:pt x="2" y="504"/>
                  </a:lnTo>
                  <a:lnTo>
                    <a:pt x="0" y="508"/>
                  </a:lnTo>
                  <a:lnTo>
                    <a:pt x="0" y="510"/>
                  </a:lnTo>
                  <a:lnTo>
                    <a:pt x="0" y="512"/>
                  </a:lnTo>
                  <a:lnTo>
                    <a:pt x="0" y="514"/>
                  </a:lnTo>
                  <a:lnTo>
                    <a:pt x="0" y="514"/>
                  </a:lnTo>
                  <a:lnTo>
                    <a:pt x="2" y="518"/>
                  </a:lnTo>
                  <a:lnTo>
                    <a:pt x="6" y="520"/>
                  </a:lnTo>
                  <a:lnTo>
                    <a:pt x="10" y="522"/>
                  </a:lnTo>
                  <a:lnTo>
                    <a:pt x="14" y="524"/>
                  </a:lnTo>
                  <a:lnTo>
                    <a:pt x="16" y="526"/>
                  </a:lnTo>
                  <a:lnTo>
                    <a:pt x="16" y="526"/>
                  </a:lnTo>
                  <a:lnTo>
                    <a:pt x="18" y="526"/>
                  </a:lnTo>
                  <a:lnTo>
                    <a:pt x="20" y="530"/>
                  </a:lnTo>
                  <a:lnTo>
                    <a:pt x="20" y="530"/>
                  </a:lnTo>
                  <a:lnTo>
                    <a:pt x="20" y="530"/>
                  </a:lnTo>
                  <a:lnTo>
                    <a:pt x="20" y="530"/>
                  </a:lnTo>
                  <a:lnTo>
                    <a:pt x="20" y="530"/>
                  </a:lnTo>
                  <a:lnTo>
                    <a:pt x="22" y="532"/>
                  </a:lnTo>
                  <a:lnTo>
                    <a:pt x="22" y="534"/>
                  </a:lnTo>
                  <a:lnTo>
                    <a:pt x="22" y="534"/>
                  </a:lnTo>
                  <a:lnTo>
                    <a:pt x="22" y="534"/>
                  </a:lnTo>
                  <a:lnTo>
                    <a:pt x="22" y="536"/>
                  </a:lnTo>
                  <a:lnTo>
                    <a:pt x="22" y="536"/>
                  </a:lnTo>
                  <a:lnTo>
                    <a:pt x="22" y="538"/>
                  </a:lnTo>
                  <a:lnTo>
                    <a:pt x="22" y="542"/>
                  </a:lnTo>
                  <a:lnTo>
                    <a:pt x="22" y="542"/>
                  </a:lnTo>
                  <a:lnTo>
                    <a:pt x="22" y="542"/>
                  </a:lnTo>
                  <a:lnTo>
                    <a:pt x="20" y="546"/>
                  </a:lnTo>
                  <a:lnTo>
                    <a:pt x="18" y="548"/>
                  </a:lnTo>
                  <a:lnTo>
                    <a:pt x="18" y="552"/>
                  </a:lnTo>
                  <a:lnTo>
                    <a:pt x="16" y="556"/>
                  </a:lnTo>
                  <a:lnTo>
                    <a:pt x="14" y="558"/>
                  </a:lnTo>
                  <a:lnTo>
                    <a:pt x="14" y="560"/>
                  </a:lnTo>
                  <a:lnTo>
                    <a:pt x="16" y="560"/>
                  </a:lnTo>
                  <a:lnTo>
                    <a:pt x="16" y="562"/>
                  </a:lnTo>
                  <a:lnTo>
                    <a:pt x="18" y="562"/>
                  </a:lnTo>
                  <a:lnTo>
                    <a:pt x="20" y="564"/>
                  </a:lnTo>
                  <a:lnTo>
                    <a:pt x="26" y="566"/>
                  </a:lnTo>
                  <a:lnTo>
                    <a:pt x="28" y="568"/>
                  </a:lnTo>
                  <a:lnTo>
                    <a:pt x="28" y="568"/>
                  </a:lnTo>
                  <a:lnTo>
                    <a:pt x="28" y="568"/>
                  </a:lnTo>
                  <a:lnTo>
                    <a:pt x="30" y="570"/>
                  </a:lnTo>
                  <a:lnTo>
                    <a:pt x="34" y="574"/>
                  </a:lnTo>
                  <a:lnTo>
                    <a:pt x="38" y="578"/>
                  </a:lnTo>
                  <a:lnTo>
                    <a:pt x="44" y="582"/>
                  </a:lnTo>
                  <a:lnTo>
                    <a:pt x="48" y="588"/>
                  </a:lnTo>
                  <a:lnTo>
                    <a:pt x="50" y="592"/>
                  </a:lnTo>
                  <a:lnTo>
                    <a:pt x="52" y="596"/>
                  </a:lnTo>
                  <a:lnTo>
                    <a:pt x="56" y="602"/>
                  </a:lnTo>
                  <a:lnTo>
                    <a:pt x="58" y="606"/>
                  </a:lnTo>
                  <a:lnTo>
                    <a:pt x="60" y="610"/>
                  </a:lnTo>
                  <a:lnTo>
                    <a:pt x="62" y="612"/>
                  </a:lnTo>
                  <a:lnTo>
                    <a:pt x="64" y="614"/>
                  </a:lnTo>
                  <a:lnTo>
                    <a:pt x="64" y="616"/>
                  </a:lnTo>
                  <a:lnTo>
                    <a:pt x="64" y="616"/>
                  </a:lnTo>
                  <a:lnTo>
                    <a:pt x="64" y="616"/>
                  </a:lnTo>
                  <a:lnTo>
                    <a:pt x="66" y="616"/>
                  </a:lnTo>
                  <a:lnTo>
                    <a:pt x="68" y="616"/>
                  </a:lnTo>
                  <a:lnTo>
                    <a:pt x="68" y="616"/>
                  </a:lnTo>
                  <a:lnTo>
                    <a:pt x="68" y="616"/>
                  </a:lnTo>
                  <a:lnTo>
                    <a:pt x="70" y="616"/>
                  </a:lnTo>
                  <a:lnTo>
                    <a:pt x="72" y="616"/>
                  </a:lnTo>
                  <a:lnTo>
                    <a:pt x="74" y="616"/>
                  </a:lnTo>
                  <a:lnTo>
                    <a:pt x="78" y="616"/>
                  </a:lnTo>
                  <a:lnTo>
                    <a:pt x="82" y="616"/>
                  </a:lnTo>
                  <a:lnTo>
                    <a:pt x="90" y="616"/>
                  </a:lnTo>
                  <a:lnTo>
                    <a:pt x="98" y="618"/>
                  </a:lnTo>
                  <a:lnTo>
                    <a:pt x="98" y="618"/>
                  </a:lnTo>
                  <a:lnTo>
                    <a:pt x="98" y="618"/>
                  </a:lnTo>
                  <a:lnTo>
                    <a:pt x="98" y="616"/>
                  </a:lnTo>
                  <a:lnTo>
                    <a:pt x="94" y="61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US" sz="1632" dirty="0">
                <a:solidFill>
                  <a:srgbClr val="000000"/>
                </a:solidFill>
              </a:endParaRPr>
            </a:p>
          </p:txBody>
        </p:sp>
        <p:sp>
          <p:nvSpPr>
            <p:cNvPr id="224" name="TextBox 223"/>
            <p:cNvSpPr txBox="1"/>
            <p:nvPr/>
          </p:nvSpPr>
          <p:spPr>
            <a:xfrm>
              <a:off x="2026890" y="4171314"/>
              <a:ext cx="2173362" cy="4407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55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588" lvl="1" indent="0" algn="ctr" defTabSz="895255" eaLnBrk="1" hangingPunct="1">
                <a:buClr>
                  <a:schemeClr val="tx2"/>
                </a:buClr>
                <a:buSzPct val="125000"/>
                <a:buFont typeface="Arial" charset="0"/>
                <a:buNone/>
                <a:defRPr baseline="0">
                  <a:solidFill>
                    <a:schemeClr val="bg2"/>
                  </a:solidFill>
                  <a:latin typeface="Georgia" panose="02040502050405020303" pitchFamily="18" charset="0"/>
                </a:defRPr>
              </a:lvl2pPr>
              <a:lvl3pPr marL="457151" lvl="2" indent="-261910" defTabSz="895255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298" lvl="3" indent="-155558" defTabSz="895255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728" lvl="4" indent="-130162" defTabSz="895255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28" indent="-130162" defTabSz="89525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 fontAlgn="base">
                <a:spcBef>
                  <a:spcPct val="0"/>
                </a:spcBef>
                <a:spcAft>
                  <a:spcPct val="0"/>
                </a:spcAft>
                <a:buClr>
                  <a:srgbClr val="0B4623"/>
                </a:buClr>
              </a:pPr>
              <a:r>
                <a:rPr lang="en-US" sz="2041" b="1" dirty="0">
                  <a:solidFill>
                    <a:srgbClr val="0B4623"/>
                  </a:solidFill>
                  <a:latin typeface="Arial"/>
                </a:rPr>
                <a:t>South Africa</a:t>
              </a:r>
            </a:p>
          </p:txBody>
        </p:sp>
        <p:cxnSp>
          <p:nvCxnSpPr>
            <p:cNvPr id="10" name="Straight Arrow Connector 9"/>
            <p:cNvCxnSpPr/>
            <p:nvPr/>
          </p:nvCxnSpPr>
          <p:spPr>
            <a:xfrm flipV="1">
              <a:off x="3113571" y="3739348"/>
              <a:ext cx="0" cy="387946"/>
            </a:xfrm>
            <a:prstGeom prst="straightConnector1">
              <a:avLst/>
            </a:prstGeom>
            <a:ln w="28575">
              <a:solidFill>
                <a:schemeClr val="accent3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/>
          <p:cNvGrpSpPr>
            <a:grpSpLocks/>
          </p:cNvGrpSpPr>
          <p:nvPr/>
        </p:nvGrpSpPr>
        <p:grpSpPr>
          <a:xfrm>
            <a:off x="7362944" y="2781895"/>
            <a:ext cx="1596829" cy="1527412"/>
            <a:chOff x="4999227" y="2368377"/>
            <a:chExt cx="4122537" cy="3631306"/>
          </a:xfrm>
        </p:grpSpPr>
        <p:sp>
          <p:nvSpPr>
            <p:cNvPr id="159" name="Freeform 678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4999227" y="3238379"/>
              <a:ext cx="21239" cy="27939"/>
            </a:xfrm>
            <a:custGeom>
              <a:avLst/>
              <a:gdLst>
                <a:gd name="T0" fmla="*/ 0 w 18"/>
                <a:gd name="T1" fmla="*/ 0 h 25"/>
                <a:gd name="T2" fmla="*/ 8 w 18"/>
                <a:gd name="T3" fmla="*/ 24 h 25"/>
                <a:gd name="T4" fmla="*/ 17 w 18"/>
                <a:gd name="T5" fmla="*/ 16 h 25"/>
                <a:gd name="T6" fmla="*/ 0 w 18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5">
                  <a:moveTo>
                    <a:pt x="0" y="0"/>
                  </a:moveTo>
                  <a:lnTo>
                    <a:pt x="8" y="24"/>
                  </a:lnTo>
                  <a:lnTo>
                    <a:pt x="17" y="16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9525" cap="flat" cmpd="sng">
              <a:solidFill>
                <a:schemeClr val="accent6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endParaRPr lang="en-CA" sz="1632" dirty="0">
                <a:solidFill>
                  <a:srgbClr val="000000"/>
                </a:solidFill>
              </a:endParaRPr>
            </a:p>
          </p:txBody>
        </p:sp>
        <p:pic>
          <p:nvPicPr>
            <p:cNvPr id="223" name="Picture 222"/>
            <p:cNvPicPr>
              <a:picLocks noChangeAspect="1"/>
            </p:cNvPicPr>
            <p:nvPr/>
          </p:nvPicPr>
          <p:blipFill>
            <a:blip r:embed="rId182" cstate="email">
              <a:extLst>
                <a:ext uri="{BEBA8EAE-BF5A-486C-A8C5-ECC9F3942E4B}">
                  <a14:imgProps xmlns:a14="http://schemas.microsoft.com/office/drawing/2010/main">
                    <a14:imgLayer r:embed="rId183">
                      <a14:imgEffect>
                        <a14:backgroundRemoval t="1538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539811" y="2368377"/>
              <a:ext cx="1045277" cy="1509844"/>
            </a:xfrm>
            <a:prstGeom prst="rect">
              <a:avLst/>
            </a:prstGeom>
          </p:spPr>
        </p:pic>
        <p:pic>
          <p:nvPicPr>
            <p:cNvPr id="225" name="Picture 14" descr="http://www.yogitea.com/wp-content/uploads/sites/7/2014/12/ingredient-47-Rooibos-300x300.png"/>
            <p:cNvPicPr>
              <a:picLocks noChangeArrowheads="1"/>
            </p:cNvPicPr>
            <p:nvPr/>
          </p:nvPicPr>
          <p:blipFill>
            <a:blip r:embed="rId18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12705" y="2402145"/>
              <a:ext cx="1709059" cy="17283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6" name="Picture 225"/>
            <p:cNvPicPr>
              <a:picLocks noChangeAspect="1"/>
            </p:cNvPicPr>
            <p:nvPr/>
          </p:nvPicPr>
          <p:blipFill>
            <a:blip r:embed="rId185" cstate="email">
              <a:extLst>
                <a:ext uri="{BEBA8EAE-BF5A-486C-A8C5-ECC9F3942E4B}">
                  <a14:imgProps xmlns:a14="http://schemas.microsoft.com/office/drawing/2010/main">
                    <a14:imgLayer r:embed="rId186">
                      <a14:imgEffect>
                        <a14:backgroundRemoval t="6329" b="97722" l="5410" r="99536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20559" y="4784092"/>
              <a:ext cx="1940879" cy="1184927"/>
            </a:xfrm>
            <a:prstGeom prst="rect">
              <a:avLst/>
            </a:prstGeom>
          </p:spPr>
        </p:pic>
        <p:pic>
          <p:nvPicPr>
            <p:cNvPr id="227" name="Picture 18" descr="Aloe Vera, Plant, Medicinal"/>
            <p:cNvPicPr>
              <a:picLocks noChangeArrowheads="1"/>
            </p:cNvPicPr>
            <p:nvPr/>
          </p:nvPicPr>
          <p:blipFill>
            <a:blip r:embed="rId18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60131" y="4526327"/>
              <a:ext cx="1659490" cy="14733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8" name="Picture 18" descr="http://www.honeybushhealth.com/wp-content/uploads/2013/01/cyclopia.jpg"/>
            <p:cNvPicPr>
              <a:picLocks noChangeAspect="1" noChangeArrowheads="1"/>
            </p:cNvPicPr>
            <p:nvPr/>
          </p:nvPicPr>
          <p:blipFill>
            <a:blip r:embed="rId18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655818" y="3257648"/>
              <a:ext cx="1116586" cy="18609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9" name="TextBox 228"/>
          <p:cNvSpPr txBox="1"/>
          <p:nvPr/>
        </p:nvSpPr>
        <p:spPr>
          <a:xfrm>
            <a:off x="3888510" y="4802629"/>
            <a:ext cx="2884932" cy="1345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 algn="ctr"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  <a:buFont typeface="Arial" charset="0"/>
              <a:buNone/>
            </a:pPr>
            <a:r>
              <a:rPr lang="en-ZA" sz="3673" b="1" dirty="0">
                <a:solidFill>
                  <a:srgbClr val="0B4623"/>
                </a:solidFill>
              </a:rPr>
              <a:t>15% </a:t>
            </a:r>
            <a:r>
              <a:rPr lang="en-US" sz="2449" dirty="0">
                <a:solidFill>
                  <a:srgbClr val="0B4623"/>
                </a:solidFill>
              </a:rPr>
              <a:t>of the world’s coastal marine species</a:t>
            </a:r>
          </a:p>
        </p:txBody>
      </p:sp>
      <p:sp>
        <p:nvSpPr>
          <p:cNvPr id="230" name="TextBox 229"/>
          <p:cNvSpPr txBox="1"/>
          <p:nvPr/>
        </p:nvSpPr>
        <p:spPr>
          <a:xfrm>
            <a:off x="4798210" y="833550"/>
            <a:ext cx="2164519" cy="1922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 algn="ctr"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  <a:buFont typeface="Arial" charset="0"/>
              <a:buNone/>
            </a:pPr>
            <a:r>
              <a:rPr lang="en-ZA" sz="3673" b="1" dirty="0">
                <a:solidFill>
                  <a:srgbClr val="0B4623"/>
                </a:solidFill>
              </a:rPr>
              <a:t>7% </a:t>
            </a:r>
            <a:r>
              <a:rPr lang="en-US" sz="2041" dirty="0">
                <a:solidFill>
                  <a:srgbClr val="0B4623"/>
                </a:solidFill>
              </a:rPr>
              <a:t>of the world’s reptiles, birds and mammals</a:t>
            </a:r>
          </a:p>
          <a:p>
            <a:pPr marL="1620" lvl="1" indent="0" algn="ctr" fontAlgn="base">
              <a:spcBef>
                <a:spcPct val="0"/>
              </a:spcBef>
              <a:spcAft>
                <a:spcPct val="0"/>
              </a:spcAft>
              <a:buClr>
                <a:srgbClr val="0B4623"/>
              </a:buClr>
              <a:buFont typeface="Arial" charset="0"/>
              <a:buNone/>
            </a:pPr>
            <a:endParaRPr lang="en-US" sz="2449" dirty="0">
              <a:solidFill>
                <a:srgbClr val="0B4623"/>
              </a:solidFill>
            </a:endParaRPr>
          </a:p>
        </p:txBody>
      </p:sp>
      <p:grpSp>
        <p:nvGrpSpPr>
          <p:cNvPr id="231" name="Group 230"/>
          <p:cNvGrpSpPr/>
          <p:nvPr/>
        </p:nvGrpSpPr>
        <p:grpSpPr>
          <a:xfrm>
            <a:off x="7488186" y="682815"/>
            <a:ext cx="1486323" cy="1583635"/>
            <a:chOff x="2134458" y="3050457"/>
            <a:chExt cx="2639152" cy="2978399"/>
          </a:xfrm>
        </p:grpSpPr>
        <p:pic>
          <p:nvPicPr>
            <p:cNvPr id="232" name="Picture 231"/>
            <p:cNvPicPr>
              <a:picLocks noChangeAspect="1"/>
            </p:cNvPicPr>
            <p:nvPr/>
          </p:nvPicPr>
          <p:blipFill>
            <a:blip r:embed="rId189" cstate="print">
              <a:extLst>
                <a:ext uri="{BEBA8EAE-BF5A-486C-A8C5-ECC9F3942E4B}">
                  <a14:imgProps xmlns:a14="http://schemas.microsoft.com/office/drawing/2010/main">
                    <a14:imgLayer r:embed="rId190">
                      <a14:imgEffect>
                        <a14:backgroundRemoval t="9954" b="93088" l="9979" r="87686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34458" y="3155679"/>
              <a:ext cx="1213820" cy="1399107"/>
            </a:xfrm>
            <a:prstGeom prst="rect">
              <a:avLst/>
            </a:prstGeom>
          </p:spPr>
        </p:pic>
        <p:pic>
          <p:nvPicPr>
            <p:cNvPr id="233" name="Picture 232"/>
            <p:cNvPicPr>
              <a:picLocks noChangeAspect="1"/>
            </p:cNvPicPr>
            <p:nvPr/>
          </p:nvPicPr>
          <p:blipFill>
            <a:blip r:embed="rId191" cstate="print">
              <a:extLst>
                <a:ext uri="{BEBA8EAE-BF5A-486C-A8C5-ECC9F3942E4B}">
                  <a14:imgProps xmlns:a14="http://schemas.microsoft.com/office/drawing/2010/main">
                    <a14:imgLayer r:embed="rId192">
                      <a14:imgEffect>
                        <a14:backgroundRemoval t="7969" b="96184" l="10733" r="91536">
                          <a14:foregroundMark x1="73124" y1="18182" x2="68674" y2="18182"/>
                          <a14:foregroundMark x1="82373" y1="9764" x2="78098" y2="1414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70097" y="5021484"/>
              <a:ext cx="1124725" cy="874307"/>
            </a:xfrm>
            <a:prstGeom prst="rect">
              <a:avLst/>
            </a:prstGeom>
          </p:spPr>
        </p:pic>
        <p:pic>
          <p:nvPicPr>
            <p:cNvPr id="234" name="Picture 233"/>
            <p:cNvPicPr>
              <a:picLocks noChangeAspect="1"/>
            </p:cNvPicPr>
            <p:nvPr/>
          </p:nvPicPr>
          <p:blipFill>
            <a:blip r:embed="rId193" cstate="print">
              <a:extLst>
                <a:ext uri="{BEBA8EAE-BF5A-486C-A8C5-ECC9F3942E4B}">
                  <a14:imgProps xmlns:a14="http://schemas.microsoft.com/office/drawing/2010/main">
                    <a14:imgLayer r:embed="rId194">
                      <a14:imgEffect>
                        <a14:backgroundRemoval t="9952" b="90526" l="9918" r="89980">
                          <a14:foregroundMark x1="70245" y1="38373" x2="70859" y2="44211"/>
                          <a14:foregroundMark x1="74233" y1="17512" x2="68814" y2="15311"/>
                          <a14:foregroundMark x1="68609" y1="15120" x2="66667" y2="1607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94186" y="3838240"/>
              <a:ext cx="1283758" cy="1371331"/>
            </a:xfrm>
            <a:prstGeom prst="rect">
              <a:avLst/>
            </a:prstGeom>
          </p:spPr>
        </p:pic>
        <p:pic>
          <p:nvPicPr>
            <p:cNvPr id="235" name="Picture 234"/>
            <p:cNvPicPr>
              <a:picLocks noChangeAspect="1"/>
            </p:cNvPicPr>
            <p:nvPr/>
          </p:nvPicPr>
          <p:blipFill>
            <a:blip r:embed="rId195" cstate="print">
              <a:extLst>
                <a:ext uri="{BEBA8EAE-BF5A-486C-A8C5-ECC9F3942E4B}">
                  <a14:imgProps xmlns:a14="http://schemas.microsoft.com/office/drawing/2010/main">
                    <a14:imgLayer r:embed="rId196">
                      <a14:imgEffect>
                        <a14:backgroundRemoval t="9916" b="89964" l="7535" r="89926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14293" y="3050457"/>
              <a:ext cx="1759317" cy="1205634"/>
            </a:xfrm>
            <a:prstGeom prst="rect">
              <a:avLst/>
            </a:prstGeom>
          </p:spPr>
        </p:pic>
        <p:pic>
          <p:nvPicPr>
            <p:cNvPr id="236" name="Picture 235"/>
            <p:cNvPicPr>
              <a:picLocks noChangeAspect="1"/>
            </p:cNvPicPr>
            <p:nvPr/>
          </p:nvPicPr>
          <p:blipFill>
            <a:blip r:embed="rId197" cstate="print">
              <a:extLst>
                <a:ext uri="{BEBA8EAE-BF5A-486C-A8C5-ECC9F3942E4B}">
                  <a14:imgProps xmlns:a14="http://schemas.microsoft.com/office/drawing/2010/main">
                    <a14:imgLayer r:embed="rId198">
                      <a14:imgEffect>
                        <a14:backgroundRemoval t="4942" b="98062" l="2510" r="96236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94180" y="5183529"/>
              <a:ext cx="1502002" cy="845327"/>
            </a:xfrm>
            <a:prstGeom prst="rect">
              <a:avLst/>
            </a:prstGeom>
          </p:spPr>
        </p:pic>
        <p:pic>
          <p:nvPicPr>
            <p:cNvPr id="237" name="Picture 236"/>
            <p:cNvPicPr>
              <a:picLocks noChangeAspect="1"/>
            </p:cNvPicPr>
            <p:nvPr/>
          </p:nvPicPr>
          <p:blipFill>
            <a:blip r:embed="rId199" cstate="print">
              <a:extLst>
                <a:ext uri="{BEBA8EAE-BF5A-486C-A8C5-ECC9F3942E4B}">
                  <a14:imgProps xmlns:a14="http://schemas.microsoft.com/office/drawing/2010/main">
                    <a14:imgLayer r:embed="rId200">
                      <a14:imgEffect>
                        <a14:backgroundRemoval t="1799" b="89974" l="0" r="89880">
                          <a14:backgroundMark x1="23328" y1="46530" x2="23328" y2="46530"/>
                          <a14:backgroundMark x1="13894" y1="30334" x2="32762" y2="16195"/>
                          <a14:backgroundMark x1="32762" y1="16195" x2="33448" y2="70437"/>
                          <a14:backgroundMark x1="70497" y1="75578" x2="53002" y2="4344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8755" y="4373775"/>
              <a:ext cx="1230653" cy="821139"/>
            </a:xfrm>
            <a:prstGeom prst="rect">
              <a:avLst/>
            </a:prstGeom>
          </p:spPr>
        </p:pic>
        <p:pic>
          <p:nvPicPr>
            <p:cNvPr id="238" name="Picture 237"/>
            <p:cNvPicPr>
              <a:picLocks noChangeAspect="1"/>
            </p:cNvPicPr>
            <p:nvPr/>
          </p:nvPicPr>
          <p:blipFill>
            <a:blip r:embed="rId201" cstate="print">
              <a:extLst>
                <a:ext uri="{BEBA8EAE-BF5A-486C-A8C5-ECC9F3942E4B}">
                  <a14:imgProps xmlns:a14="http://schemas.microsoft.com/office/drawing/2010/main">
                    <a14:imgLayer r:embed="rId202">
                      <a14:imgEffect>
                        <a14:backgroundRemoval t="9945" b="89871" l="5420" r="94687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1141" y="4329369"/>
              <a:ext cx="815722" cy="941609"/>
            </a:xfrm>
            <a:prstGeom prst="rect">
              <a:avLst/>
            </a:prstGeom>
          </p:spPr>
        </p:pic>
      </p:grpSp>
      <p:grpSp>
        <p:nvGrpSpPr>
          <p:cNvPr id="239" name="Group 238"/>
          <p:cNvGrpSpPr>
            <a:grpSpLocks/>
          </p:cNvGrpSpPr>
          <p:nvPr/>
        </p:nvGrpSpPr>
        <p:grpSpPr>
          <a:xfrm>
            <a:off x="7362944" y="4701809"/>
            <a:ext cx="1596829" cy="1527412"/>
            <a:chOff x="6634063" y="3522051"/>
            <a:chExt cx="2371102" cy="2117699"/>
          </a:xfrm>
        </p:grpSpPr>
        <p:pic>
          <p:nvPicPr>
            <p:cNvPr id="240" name="Picture 239"/>
            <p:cNvPicPr>
              <a:picLocks noChangeAspect="1"/>
            </p:cNvPicPr>
            <p:nvPr/>
          </p:nvPicPr>
          <p:blipFill>
            <a:blip r:embed="rId203" cstate="print">
              <a:extLst>
                <a:ext uri="{BEBA8EAE-BF5A-486C-A8C5-ECC9F3942E4B}">
                  <a14:imgProps xmlns:a14="http://schemas.microsoft.com/office/drawing/2010/main">
                    <a14:imgLayer r:embed="rId204">
                      <a14:imgEffect>
                        <a14:backgroundRemoval t="9990" b="89911" l="9990" r="93571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23689" y="4558274"/>
              <a:ext cx="1081476" cy="1081476"/>
            </a:xfrm>
            <a:prstGeom prst="rect">
              <a:avLst/>
            </a:prstGeom>
          </p:spPr>
        </p:pic>
        <p:pic>
          <p:nvPicPr>
            <p:cNvPr id="241" name="Picture 240"/>
            <p:cNvPicPr>
              <a:picLocks noChangeAspect="1"/>
            </p:cNvPicPr>
            <p:nvPr/>
          </p:nvPicPr>
          <p:blipFill>
            <a:blip r:embed="rId205" cstate="print">
              <a:extLst>
                <a:ext uri="{BEBA8EAE-BF5A-486C-A8C5-ECC9F3942E4B}">
                  <a14:imgProps xmlns:a14="http://schemas.microsoft.com/office/drawing/2010/main">
                    <a14:imgLayer r:embed="rId206">
                      <a14:imgEffect>
                        <a14:backgroundRemoval t="20255" b="78599" l="4916" r="95469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46507" y="3836757"/>
              <a:ext cx="1449361" cy="873207"/>
            </a:xfrm>
            <a:prstGeom prst="rect">
              <a:avLst/>
            </a:prstGeom>
          </p:spPr>
        </p:pic>
        <p:pic>
          <p:nvPicPr>
            <p:cNvPr id="242" name="Picture 241"/>
            <p:cNvPicPr>
              <a:picLocks noChangeAspect="1"/>
            </p:cNvPicPr>
            <p:nvPr/>
          </p:nvPicPr>
          <p:blipFill>
            <a:blip r:embed="rId207" cstate="print">
              <a:extLst>
                <a:ext uri="{BEBA8EAE-BF5A-486C-A8C5-ECC9F3942E4B}">
                  <a14:imgProps xmlns:a14="http://schemas.microsoft.com/office/drawing/2010/main">
                    <a14:imgLayer r:embed="rId208">
                      <a14:imgEffect>
                        <a14:backgroundRemoval t="6528" b="92582" l="3462" r="95648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06592" y="3661741"/>
              <a:ext cx="539390" cy="539390"/>
            </a:xfrm>
            <a:prstGeom prst="rect">
              <a:avLst/>
            </a:prstGeom>
          </p:spPr>
        </p:pic>
        <p:pic>
          <p:nvPicPr>
            <p:cNvPr id="243" name="Picture 242"/>
            <p:cNvPicPr>
              <a:picLocks noChangeAspect="1"/>
            </p:cNvPicPr>
            <p:nvPr/>
          </p:nvPicPr>
          <p:blipFill>
            <a:blip r:embed="rId209" cstate="print">
              <a:extLst>
                <a:ext uri="{BEBA8EAE-BF5A-486C-A8C5-ECC9F3942E4B}">
                  <a14:imgProps xmlns:a14="http://schemas.microsoft.com/office/drawing/2010/main">
                    <a14:imgLayer r:embed="rId210">
                      <a14:imgEffect>
                        <a14:backgroundRemoval t="7879" b="89697" l="4685" r="93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34063" y="4346771"/>
              <a:ext cx="1612607" cy="1074753"/>
            </a:xfrm>
            <a:prstGeom prst="rect">
              <a:avLst/>
            </a:prstGeom>
          </p:spPr>
        </p:pic>
        <p:pic>
          <p:nvPicPr>
            <p:cNvPr id="244" name="Picture 243"/>
            <p:cNvPicPr>
              <a:picLocks noChangeAspect="1"/>
            </p:cNvPicPr>
            <p:nvPr/>
          </p:nvPicPr>
          <p:blipFill>
            <a:blip r:embed="rId211" cstate="print">
              <a:extLst>
                <a:ext uri="{BEBA8EAE-BF5A-486C-A8C5-ECC9F3942E4B}">
                  <a14:imgProps xmlns:a14="http://schemas.microsoft.com/office/drawing/2010/main">
                    <a14:imgLayer r:embed="rId212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91489" y="3728132"/>
              <a:ext cx="709612" cy="1062215"/>
            </a:xfrm>
            <a:prstGeom prst="rect">
              <a:avLst/>
            </a:prstGeom>
          </p:spPr>
        </p:pic>
        <p:pic>
          <p:nvPicPr>
            <p:cNvPr id="245" name="Picture 244"/>
            <p:cNvPicPr>
              <a:picLocks noChangeAspect="1"/>
            </p:cNvPicPr>
            <p:nvPr/>
          </p:nvPicPr>
          <p:blipFill rotWithShape="1">
            <a:blip r:embed="rId213" cstate="print">
              <a:extLst>
                <a:ext uri="{BEBA8EAE-BF5A-486C-A8C5-ECC9F3942E4B}">
                  <a14:imgProps xmlns:a14="http://schemas.microsoft.com/office/drawing/2010/main">
                    <a14:imgLayer r:embed="rId214">
                      <a14:imgEffect>
                        <a14:backgroundRemoval t="62052" b="91780" l="12189" r="3593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259" t="61429" r="62121" b="7953"/>
            <a:stretch/>
          </p:blipFill>
          <p:spPr>
            <a:xfrm>
              <a:off x="7302987" y="3522051"/>
              <a:ext cx="498796" cy="491949"/>
            </a:xfrm>
            <a:prstGeom prst="rect">
              <a:avLst/>
            </a:prstGeom>
          </p:spPr>
        </p:pic>
        <p:pic>
          <p:nvPicPr>
            <p:cNvPr id="246" name="Picture 245"/>
            <p:cNvPicPr>
              <a:picLocks noChangeAspect="1"/>
            </p:cNvPicPr>
            <p:nvPr/>
          </p:nvPicPr>
          <p:blipFill rotWithShape="1">
            <a:blip r:embed="rId215" cstate="print">
              <a:extLst>
                <a:ext uri="{BEBA8EAE-BF5A-486C-A8C5-ECC9F3942E4B}">
                  <a14:imgProps xmlns:a14="http://schemas.microsoft.com/office/drawing/2010/main">
                    <a14:imgLayer r:embed="rId216">
                      <a14:imgEffect>
                        <a14:backgroundRemoval t="43449" b="88195" l="40435" r="61155">
                          <a14:foregroundMark x1="51669" y1="45488" x2="44409" y2="49382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287" t="43494" r="37568" b="11789"/>
            <a:stretch/>
          </p:blipFill>
          <p:spPr>
            <a:xfrm>
              <a:off x="7850121" y="4426309"/>
              <a:ext cx="284072" cy="47062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3659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9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13" imgW="663" imgH="659" progId="TCLayout.ActiveDocument.1">
                  <p:embed/>
                </p:oleObj>
              </mc:Choice>
              <mc:Fallback>
                <p:oleObj name="think-cell Slide" r:id="rId13" imgW="663" imgH="65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89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tangle 44"/>
          <p:cNvSpPr>
            <a:spLocks/>
          </p:cNvSpPr>
          <p:nvPr/>
        </p:nvSpPr>
        <p:spPr>
          <a:xfrm>
            <a:off x="174037" y="3071037"/>
            <a:ext cx="2867975" cy="3197376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40000"/>
                  <a:lumOff val="60000"/>
                </a:schemeClr>
              </a:gs>
              <a:gs pos="100000">
                <a:schemeClr val="accent1">
                  <a:lumMod val="30000"/>
                  <a:lumOff val="70000"/>
                  <a:alpha val="0"/>
                </a:schemeClr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 err="1">
              <a:solidFill>
                <a:srgbClr val="000000"/>
              </a:solidFill>
            </a:endParaRPr>
          </a:p>
        </p:txBody>
      </p:sp>
      <p:sp>
        <p:nvSpPr>
          <p:cNvPr id="39" name="RoundedRectangle 6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131418" y="2983569"/>
            <a:ext cx="2880217" cy="348893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>
                  <a:lumMod val="30000"/>
                  <a:lumOff val="70000"/>
                  <a:alpha val="0"/>
                </a:schemeClr>
              </a:gs>
            </a:gsLst>
            <a:lin ang="5400000" scaled="1"/>
            <a:tileRect/>
          </a:gradFill>
          <a:ln w="9525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US" sz="1837" dirty="0">
              <a:solidFill>
                <a:srgbClr val="000000"/>
              </a:solidFill>
            </a:endParaRPr>
          </a:p>
        </p:txBody>
      </p:sp>
      <p:sp>
        <p:nvSpPr>
          <p:cNvPr id="40" name="RoundedRectangle 6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088581" y="2983569"/>
            <a:ext cx="2880217" cy="3488932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  <a:lumOff val="25000"/>
                </a:schemeClr>
              </a:gs>
              <a:gs pos="100000">
                <a:schemeClr val="accent1">
                  <a:lumMod val="30000"/>
                  <a:lumOff val="70000"/>
                  <a:alpha val="0"/>
                </a:schemeClr>
              </a:gs>
            </a:gsLst>
            <a:lin ang="5400000" scaled="1"/>
            <a:tileRect/>
          </a:gradFill>
          <a:ln w="9525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tx1"/>
                </a:solidFill>
              </a:defRPr>
            </a:lvl1pPr>
          </a:lstStyle>
          <a:p>
            <a:endParaRPr lang="en-US" sz="1837" dirty="0">
              <a:solidFill>
                <a:srgbClr val="000000"/>
              </a:solidFill>
            </a:endParaRPr>
          </a:p>
        </p:txBody>
      </p:sp>
      <p:sp>
        <p:nvSpPr>
          <p:cNvPr id="32" name="Rectangle 1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093051" y="3197784"/>
            <a:ext cx="1021845" cy="485517"/>
          </a:xfrm>
          <a:prstGeom prst="ellipse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noFill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B4623"/>
              </a:buClr>
            </a:pPr>
            <a:r>
              <a:rPr lang="en-US" sz="1837" b="1" dirty="0">
                <a:solidFill>
                  <a:srgbClr val="FFFFFF"/>
                </a:solidFill>
              </a:rPr>
              <a:t>R 0.26 b</a:t>
            </a:r>
          </a:p>
        </p:txBody>
      </p:sp>
      <p:sp>
        <p:nvSpPr>
          <p:cNvPr id="33" name="Rectangle 12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060604" y="3197784"/>
            <a:ext cx="1021845" cy="485517"/>
          </a:xfrm>
          <a:prstGeom prst="ellipse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noFill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B4623"/>
              </a:buClr>
            </a:pPr>
            <a:r>
              <a:rPr lang="en-US" sz="1837" b="1" dirty="0">
                <a:solidFill>
                  <a:srgbClr val="FFFFFF"/>
                </a:solidFill>
              </a:rPr>
              <a:t>R 0.92 b</a:t>
            </a:r>
          </a:p>
        </p:txBody>
      </p:sp>
      <p:sp>
        <p:nvSpPr>
          <p:cNvPr id="34" name="Rectangle 12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7017767" y="3197784"/>
            <a:ext cx="1021845" cy="485517"/>
          </a:xfrm>
          <a:prstGeom prst="ellipse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noFill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B4623"/>
              </a:buClr>
            </a:pPr>
            <a:r>
              <a:rPr lang="en-US" sz="1837" b="1" dirty="0">
                <a:solidFill>
                  <a:srgbClr val="FFFFFF"/>
                </a:solidFill>
              </a:rPr>
              <a:t>R 2.08 b</a:t>
            </a:r>
          </a:p>
        </p:txBody>
      </p:sp>
      <p:sp>
        <p:nvSpPr>
          <p:cNvPr id="38" name="Title 1"/>
          <p:cNvSpPr>
            <a:spLocks noGrp="1"/>
          </p:cNvSpPr>
          <p:nvPr>
            <p:ph type="title"/>
          </p:nvPr>
        </p:nvSpPr>
        <p:spPr>
          <a:xfrm>
            <a:off x="175204" y="234864"/>
            <a:ext cx="8793595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sz="4000" dirty="0"/>
              <a:t>Bioprospecting sector overview</a:t>
            </a:r>
            <a:endParaRPr lang="en-ZA" sz="4000" dirty="0"/>
          </a:p>
        </p:txBody>
      </p:sp>
      <p:sp>
        <p:nvSpPr>
          <p:cNvPr id="2" name="TextBox 1"/>
          <p:cNvSpPr txBox="1">
            <a:spLocks/>
          </p:cNvSpPr>
          <p:nvPr/>
        </p:nvSpPr>
        <p:spPr>
          <a:xfrm>
            <a:off x="210272" y="3806670"/>
            <a:ext cx="2787400" cy="1197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5000"/>
              </a:spcBef>
              <a:buClr>
                <a:srgbClr val="0B4623"/>
              </a:buClr>
            </a:pPr>
            <a:r>
              <a:rPr lang="en-US" sz="1837" dirty="0">
                <a:solidFill>
                  <a:srgbClr val="000000"/>
                </a:solidFill>
              </a:rPr>
              <a:t>Both wild </a:t>
            </a:r>
            <a:r>
              <a:rPr lang="en-US" sz="1837" dirty="0" smtClean="0">
                <a:solidFill>
                  <a:srgbClr val="000000"/>
                </a:solidFill>
              </a:rPr>
              <a:t>harvesters </a:t>
            </a:r>
            <a:r>
              <a:rPr lang="en-US" sz="1837" dirty="0">
                <a:solidFill>
                  <a:srgbClr val="000000"/>
                </a:solidFill>
              </a:rPr>
              <a:t>and farmers supply the sector</a:t>
            </a:r>
          </a:p>
          <a:p>
            <a:pPr lvl="1">
              <a:spcBef>
                <a:spcPct val="15000"/>
              </a:spcBef>
              <a:buClr>
                <a:srgbClr val="0B4623"/>
              </a:buClr>
            </a:pPr>
            <a:r>
              <a:rPr lang="en-US" sz="1837" dirty="0">
                <a:solidFill>
                  <a:srgbClr val="000000"/>
                </a:solidFill>
              </a:rPr>
              <a:t>The market is largely focused on plant resources</a:t>
            </a:r>
          </a:p>
        </p:txBody>
      </p:sp>
      <p:sp>
        <p:nvSpPr>
          <p:cNvPr id="4" name="TextBox 3"/>
          <p:cNvSpPr txBox="1">
            <a:spLocks/>
          </p:cNvSpPr>
          <p:nvPr/>
        </p:nvSpPr>
        <p:spPr>
          <a:xfrm>
            <a:off x="3177826" y="3806671"/>
            <a:ext cx="2787400" cy="297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5000"/>
              </a:spcBef>
              <a:buClr>
                <a:srgbClr val="0B4623"/>
              </a:buClr>
            </a:pPr>
            <a:r>
              <a:rPr lang="en-US" sz="1837" dirty="0">
                <a:solidFill>
                  <a:srgbClr val="000000"/>
                </a:solidFill>
              </a:rPr>
              <a:t>Primarily trade in indigenous plant species, of which 70% are exported as raw materials </a:t>
            </a:r>
          </a:p>
          <a:p>
            <a:pPr lvl="1">
              <a:spcBef>
                <a:spcPct val="15000"/>
              </a:spcBef>
              <a:buClr>
                <a:srgbClr val="0B4623"/>
              </a:buClr>
            </a:pPr>
            <a:r>
              <a:rPr lang="en-US" sz="1837" dirty="0">
                <a:solidFill>
                  <a:srgbClr val="000000"/>
                </a:solidFill>
              </a:rPr>
              <a:t>Operate in two categories </a:t>
            </a:r>
          </a:p>
          <a:p>
            <a:pPr lvl="2">
              <a:spcBef>
                <a:spcPct val="7500"/>
              </a:spcBef>
              <a:buClr>
                <a:srgbClr val="0B4623"/>
              </a:buClr>
            </a:pPr>
            <a:r>
              <a:rPr lang="en-US" sz="1837" dirty="0">
                <a:solidFill>
                  <a:srgbClr val="000000"/>
                </a:solidFill>
              </a:rPr>
              <a:t>Trade of raw and semi-processed materials </a:t>
            </a:r>
          </a:p>
          <a:p>
            <a:pPr lvl="2">
              <a:spcBef>
                <a:spcPct val="7500"/>
              </a:spcBef>
              <a:buClr>
                <a:srgbClr val="0B4623"/>
              </a:buClr>
            </a:pPr>
            <a:r>
              <a:rPr lang="en-US" sz="1837" dirty="0">
                <a:solidFill>
                  <a:srgbClr val="000000"/>
                </a:solidFill>
              </a:rPr>
              <a:t>Development and sale of intermediary products</a:t>
            </a: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6134988" y="3806671"/>
            <a:ext cx="2787400" cy="2021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5000"/>
              </a:spcBef>
              <a:buClr>
                <a:srgbClr val="0B4623"/>
              </a:buClr>
            </a:pPr>
            <a:r>
              <a:rPr lang="en-US" sz="1837" dirty="0">
                <a:solidFill>
                  <a:srgbClr val="000000"/>
                </a:solidFill>
              </a:rPr>
              <a:t>Development and sale of final value added products</a:t>
            </a:r>
          </a:p>
          <a:p>
            <a:pPr lvl="1">
              <a:spcBef>
                <a:spcPct val="15000"/>
              </a:spcBef>
              <a:buClr>
                <a:srgbClr val="0B4623"/>
              </a:buClr>
            </a:pPr>
            <a:r>
              <a:rPr lang="en-US" sz="1837" dirty="0">
                <a:solidFill>
                  <a:srgbClr val="000000"/>
                </a:solidFill>
              </a:rPr>
              <a:t>The trend towards “natural” products demand is high and customers pay a price premium for goods with indigenous resources</a:t>
            </a:r>
          </a:p>
        </p:txBody>
      </p:sp>
      <p:pic>
        <p:nvPicPr>
          <p:cNvPr id="5" name="Picture 4"/>
          <p:cNvPicPr>
            <a:picLocks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932" y="1207582"/>
            <a:ext cx="2876081" cy="1863455"/>
          </a:xfrm>
          <a:prstGeom prst="rect">
            <a:avLst/>
          </a:prstGeom>
        </p:spPr>
      </p:pic>
      <p:pic>
        <p:nvPicPr>
          <p:cNvPr id="8" name="Picture 7"/>
          <p:cNvPicPr>
            <a:picLocks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33485" y="1207582"/>
            <a:ext cx="2876081" cy="1863455"/>
          </a:xfrm>
          <a:prstGeom prst="rect">
            <a:avLst/>
          </a:prstGeom>
        </p:spPr>
      </p:pic>
      <p:pic>
        <p:nvPicPr>
          <p:cNvPr id="438311" name="Picture 39" descr="http://www.aliveandwell.ie/attachments/Image/shop.jpg"/>
          <p:cNvPicPr>
            <a:picLocks noChangeArrowheads="1"/>
          </p:cNvPicPr>
          <p:nvPr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90647" y="1207582"/>
            <a:ext cx="2876081" cy="1863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Rectangle 12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7293833" y="313213"/>
            <a:ext cx="814808" cy="317470"/>
          </a:xfrm>
          <a:prstGeom prst="ellipse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noFill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895255" eaLnBrk="1" hangingPunct="1">
              <a:buClr>
                <a:schemeClr val="tx2"/>
              </a:buClr>
              <a:defRPr sz="1800" b="1" baseline="0">
                <a:solidFill>
                  <a:schemeClr val="bg1"/>
                </a:solidFill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/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/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/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/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/>
            </a:lvl9pPr>
          </a:lstStyle>
          <a:p>
            <a:pPr>
              <a:buClr>
                <a:srgbClr val="0B4623"/>
              </a:buClr>
            </a:pPr>
            <a:endParaRPr lang="en-US" sz="1224" dirty="0">
              <a:solidFill>
                <a:srgbClr val="FFFFF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161124" y="323718"/>
            <a:ext cx="1267562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B4623"/>
              </a:buClr>
            </a:pPr>
            <a:r>
              <a:rPr lang="en-US" sz="1837" b="1" dirty="0">
                <a:solidFill>
                  <a:srgbClr val="000000"/>
                </a:solidFill>
              </a:rPr>
              <a:t>Revenue</a:t>
            </a:r>
            <a:endParaRPr lang="en-US" sz="1837" b="1" dirty="0">
              <a:solidFill>
                <a:srgbClr val="808080"/>
              </a:solidFill>
            </a:endParaRPr>
          </a:p>
        </p:txBody>
      </p:sp>
      <p:sp>
        <p:nvSpPr>
          <p:cNvPr id="28" name="Round Same Side Corner Rectangle 27"/>
          <p:cNvSpPr>
            <a:spLocks/>
          </p:cNvSpPr>
          <p:nvPr/>
        </p:nvSpPr>
        <p:spPr>
          <a:xfrm>
            <a:off x="163865" y="799738"/>
            <a:ext cx="2913093" cy="372051"/>
          </a:xfrm>
          <a:prstGeom prst="round2Same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 err="1">
              <a:solidFill>
                <a:srgbClr val="000000"/>
              </a:solidFill>
            </a:endParaRPr>
          </a:p>
        </p:txBody>
      </p:sp>
      <p:sp>
        <p:nvSpPr>
          <p:cNvPr id="29" name="Round Same Side Corner Rectangle 28"/>
          <p:cNvSpPr>
            <a:spLocks/>
          </p:cNvSpPr>
          <p:nvPr/>
        </p:nvSpPr>
        <p:spPr>
          <a:xfrm>
            <a:off x="3122268" y="799738"/>
            <a:ext cx="2913093" cy="372051"/>
          </a:xfrm>
          <a:prstGeom prst="round2Same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 err="1">
              <a:solidFill>
                <a:srgbClr val="000000"/>
              </a:solidFill>
            </a:endParaRPr>
          </a:p>
        </p:txBody>
      </p:sp>
      <p:sp>
        <p:nvSpPr>
          <p:cNvPr id="30" name="Round Same Side Corner Rectangle 29"/>
          <p:cNvSpPr>
            <a:spLocks/>
          </p:cNvSpPr>
          <p:nvPr/>
        </p:nvSpPr>
        <p:spPr>
          <a:xfrm>
            <a:off x="6094935" y="799738"/>
            <a:ext cx="2913093" cy="372051"/>
          </a:xfrm>
          <a:prstGeom prst="round2Same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 err="1">
              <a:solidFill>
                <a:srgbClr val="000000"/>
              </a:solidFill>
            </a:endParaRPr>
          </a:p>
        </p:txBody>
      </p:sp>
      <p:sp>
        <p:nvSpPr>
          <p:cNvPr id="42" name="RoundedRectangle 6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226610" y="799739"/>
            <a:ext cx="2753305" cy="319134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baseline="0">
                <a:solidFill>
                  <a:schemeClr val="tx1"/>
                </a:solidFill>
              </a:defRPr>
            </a:lvl1pPr>
            <a:lvl2pPr marL="193655" lvl="1" indent="-192067" defTabSz="895255" eaLnBrk="1" hangingPunct="1">
              <a:spcBef>
                <a:spcPct val="15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100" baseline="0">
                <a:solidFill>
                  <a:schemeClr val="tx1"/>
                </a:solidFill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/>
                </a:solidFill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/>
                </a:solidFill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pPr algn="ctr">
              <a:buClr>
                <a:srgbClr val="0B4623"/>
              </a:buClr>
            </a:pPr>
            <a:r>
              <a:rPr lang="en-US" sz="1837" b="1" dirty="0">
                <a:solidFill>
                  <a:srgbClr val="FFFFFF"/>
                </a:solidFill>
              </a:rPr>
              <a:t>Resources</a:t>
            </a:r>
          </a:p>
        </p:txBody>
      </p:sp>
      <p:sp>
        <p:nvSpPr>
          <p:cNvPr id="43" name="RoundedRectangle 6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3203041" y="799739"/>
            <a:ext cx="2699053" cy="319134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baseline="0">
                <a:solidFill>
                  <a:schemeClr val="tx1"/>
                </a:solidFill>
              </a:defRPr>
            </a:lvl1pPr>
            <a:lvl2pPr marL="193655" lvl="1" indent="-192067" defTabSz="895255" eaLnBrk="1" hangingPunct="1">
              <a:spcBef>
                <a:spcPct val="15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100" baseline="0">
                <a:solidFill>
                  <a:schemeClr val="tx1"/>
                </a:solidFill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/>
                </a:solidFill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/>
                </a:solidFill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pPr algn="ctr">
              <a:buClr>
                <a:srgbClr val="0B4623"/>
              </a:buClr>
            </a:pPr>
            <a:r>
              <a:rPr lang="en-US" sz="1837" b="1" dirty="0">
                <a:solidFill>
                  <a:srgbClr val="FFFFFF"/>
                </a:solidFill>
              </a:rPr>
              <a:t>Processing and trade</a:t>
            </a:r>
          </a:p>
        </p:txBody>
      </p:sp>
      <p:sp>
        <p:nvSpPr>
          <p:cNvPr id="44" name="RoundedRectangle 6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6169050" y="799739"/>
            <a:ext cx="2888833" cy="319134"/>
          </a:xfrm>
          <a:prstGeom prst="round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255" eaLnBrk="1" hangingPunct="1">
              <a:buClr>
                <a:schemeClr val="tx2"/>
              </a:buClr>
              <a:defRPr baseline="0">
                <a:solidFill>
                  <a:schemeClr val="tx1"/>
                </a:solidFill>
              </a:defRPr>
            </a:lvl1pPr>
            <a:lvl2pPr marL="193655" lvl="1" indent="-192067" defTabSz="895255" eaLnBrk="1" hangingPunct="1">
              <a:spcBef>
                <a:spcPct val="15000"/>
              </a:spcBef>
              <a:buClr>
                <a:schemeClr val="tx2"/>
              </a:buClr>
              <a:buSzPct val="125000"/>
              <a:buFont typeface="Arial" charset="0"/>
              <a:buChar char="▪"/>
              <a:defRPr sz="1100" baseline="0">
                <a:solidFill>
                  <a:schemeClr val="tx1"/>
                </a:solidFill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solidFill>
                  <a:schemeClr val="tx1"/>
                </a:solidFill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solidFill>
                  <a:schemeClr val="tx1"/>
                </a:solidFill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solidFill>
                  <a:schemeClr val="tx1"/>
                </a:solidFill>
              </a:defRPr>
            </a:lvl9pPr>
          </a:lstStyle>
          <a:p>
            <a:pPr algn="ctr">
              <a:buClr>
                <a:srgbClr val="0B4623"/>
              </a:buClr>
            </a:pPr>
            <a:r>
              <a:rPr lang="en-US" sz="1837" b="1" dirty="0">
                <a:solidFill>
                  <a:srgbClr val="FFFFFF"/>
                </a:solidFill>
              </a:rPr>
              <a:t>Final domestic products </a:t>
            </a:r>
          </a:p>
        </p:txBody>
      </p:sp>
      <p:sp>
        <p:nvSpPr>
          <p:cNvPr id="24" name="1. On-page tracker"/>
          <p:cNvSpPr>
            <a:spLocks noChangeArrowheads="1"/>
          </p:cNvSpPr>
          <p:nvPr/>
        </p:nvSpPr>
        <p:spPr bwMode="auto">
          <a:xfrm>
            <a:off x="175204" y="27537"/>
            <a:ext cx="89465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28" dirty="0">
                <a:solidFill>
                  <a:srgbClr val="808080"/>
                </a:solidFill>
                <a:latin typeface="Arial"/>
              </a:rPr>
              <a:t>CONTEXT</a:t>
            </a:r>
          </a:p>
        </p:txBody>
      </p:sp>
    </p:spTree>
    <p:extLst>
      <p:ext uri="{BB962C8B-B14F-4D97-AF65-F5344CB8AC3E}">
        <p14:creationId xmlns:p14="http://schemas.microsoft.com/office/powerpoint/2010/main" val="3672825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02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defTabSz="932962">
              <a:defRPr/>
            </a:pPr>
            <a:endParaRPr lang="en-US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grpSp>
        <p:nvGrpSpPr>
          <p:cNvPr id="51204" name="Group 32"/>
          <p:cNvGrpSpPr>
            <a:grpSpLocks/>
          </p:cNvGrpSpPr>
          <p:nvPr/>
        </p:nvGrpSpPr>
        <p:grpSpPr bwMode="auto">
          <a:xfrm>
            <a:off x="0" y="1506538"/>
            <a:ext cx="9144000" cy="933450"/>
            <a:chOff x="1" y="1221699"/>
            <a:chExt cx="8961438" cy="914400"/>
          </a:xfrm>
        </p:grpSpPr>
        <p:sp>
          <p:nvSpPr>
            <p:cNvPr id="34" name="Rectangle 33"/>
            <p:cNvSpPr>
              <a:spLocks/>
            </p:cNvSpPr>
            <p:nvPr/>
          </p:nvSpPr>
          <p:spPr>
            <a:xfrm>
              <a:off x="1" y="1221699"/>
              <a:ext cx="8961438" cy="914400"/>
            </a:xfrm>
            <a:prstGeom prst="rect">
              <a:avLst/>
            </a:prstGeom>
            <a:gradFill>
              <a:gsLst>
                <a:gs pos="0">
                  <a:schemeClr val="bg1">
                    <a:lumMod val="9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2700000" scaled="1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32962">
                <a:defRPr/>
              </a:pPr>
              <a:endParaRPr lang="en-US" sz="1632" dirty="0" err="1">
                <a:solidFill>
                  <a:srgbClr val="000000"/>
                </a:solidFill>
              </a:endParaRPr>
            </a:p>
          </p:txBody>
        </p:sp>
        <p:cxnSp>
          <p:nvCxnSpPr>
            <p:cNvPr id="35" name="Straight Connector 34"/>
            <p:cNvCxnSpPr>
              <a:cxnSpLocks/>
            </p:cNvCxnSpPr>
            <p:nvPr/>
          </p:nvCxnSpPr>
          <p:spPr>
            <a:xfrm>
              <a:off x="1" y="1221699"/>
              <a:ext cx="8961438" cy="0"/>
            </a:xfrm>
            <a:prstGeom prst="line">
              <a:avLst/>
            </a:prstGeom>
            <a:ln w="1905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174625" y="234950"/>
            <a:ext cx="8794750" cy="596900"/>
          </a:xfrm>
        </p:spPr>
        <p:txBody>
          <a:bodyPr>
            <a:normAutofit fontScale="90000"/>
          </a:bodyPr>
          <a:lstStyle/>
          <a:p>
            <a:pPr algn="l" defTabSz="913429" eaLnBrk="1" hangingPunct="1">
              <a:tabLst>
                <a:tab pos="275324" algn="l"/>
              </a:tabLst>
              <a:defRPr/>
            </a:pPr>
            <a:r>
              <a:rPr lang="en-US" sz="1939" dirty="0"/>
              <a:t>The Wildlife sector has been growing consistently faster than the general economy, contributing R 3 billion to GDP in 2014</a:t>
            </a:r>
          </a:p>
        </p:txBody>
      </p:sp>
      <p:sp>
        <p:nvSpPr>
          <p:cNvPr id="39" name="5. Source"/>
          <p:cNvSpPr>
            <a:spLocks noChangeArrowheads="1"/>
          </p:cNvSpPr>
          <p:nvPr/>
        </p:nvSpPr>
        <p:spPr bwMode="auto">
          <a:xfrm>
            <a:off x="1482725" y="6607175"/>
            <a:ext cx="578167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en-US" sz="918" dirty="0">
                <a:solidFill>
                  <a:srgbClr val="000000"/>
                </a:solidFill>
                <a:latin typeface="Arial"/>
              </a:rPr>
              <a:t>SOURCE:	National Biodiversity Economy Strategy &amp; Stats SA</a:t>
            </a:r>
          </a:p>
        </p:txBody>
      </p:sp>
      <p:sp>
        <p:nvSpPr>
          <p:cNvPr id="2" name="TextBox 1"/>
          <p:cNvSpPr txBox="1">
            <a:spLocks/>
          </p:cNvSpPr>
          <p:nvPr/>
        </p:nvSpPr>
        <p:spPr>
          <a:xfrm>
            <a:off x="406400" y="4921250"/>
            <a:ext cx="1455738" cy="50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B4623"/>
              </a:buClr>
              <a:defRPr/>
            </a:pPr>
            <a:r>
              <a:rPr lang="en-US" sz="1632" b="1" dirty="0">
                <a:solidFill>
                  <a:srgbClr val="0B4623"/>
                </a:solidFill>
              </a:rPr>
              <a:t>Wildlife Sector Growth p.a.</a:t>
            </a:r>
          </a:p>
        </p:txBody>
      </p:sp>
      <p:sp>
        <p:nvSpPr>
          <p:cNvPr id="42" name="TextBox 41"/>
          <p:cNvSpPr txBox="1">
            <a:spLocks/>
          </p:cNvSpPr>
          <p:nvPr/>
        </p:nvSpPr>
        <p:spPr>
          <a:xfrm>
            <a:off x="406400" y="5624513"/>
            <a:ext cx="1455738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B4623"/>
              </a:buClr>
              <a:defRPr/>
            </a:pPr>
            <a:r>
              <a:rPr lang="en-US" sz="1632" b="1" dirty="0">
                <a:solidFill>
                  <a:srgbClr val="0B4623"/>
                </a:solidFill>
              </a:rPr>
              <a:t>General GDP Growth p.a.</a:t>
            </a:r>
          </a:p>
        </p:txBody>
      </p:sp>
      <p:cxnSp>
        <p:nvCxnSpPr>
          <p:cNvPr id="45" name="Straight Connector 44"/>
          <p:cNvCxnSpPr>
            <a:cxnSpLocks/>
          </p:cNvCxnSpPr>
          <p:nvPr/>
        </p:nvCxnSpPr>
        <p:spPr>
          <a:xfrm>
            <a:off x="406400" y="5522913"/>
            <a:ext cx="8289925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Oval 7"/>
          <p:cNvSpPr txBox="1"/>
          <p:nvPr>
            <p:custDataLst>
              <p:tags r:id="rId4"/>
            </p:custDataLst>
          </p:nvPr>
        </p:nvSpPr>
        <p:spPr>
          <a:xfrm>
            <a:off x="2967038" y="4973638"/>
            <a:ext cx="779462" cy="395287"/>
          </a:xfrm>
          <a:prstGeom prst="ellipse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3887" tIns="0" rIns="3887" bIns="0" anchor="ctr" anchorCtr="1"/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B4623"/>
              </a:buClr>
              <a:defRPr/>
            </a:pPr>
            <a:r>
              <a:rPr lang="en-US" sz="1632" b="1" dirty="0">
                <a:solidFill>
                  <a:srgbClr val="FFFFFF"/>
                </a:solidFill>
              </a:rPr>
              <a:t>9.2%</a:t>
            </a:r>
          </a:p>
        </p:txBody>
      </p:sp>
      <p:sp>
        <p:nvSpPr>
          <p:cNvPr id="54" name="Oval 7"/>
          <p:cNvSpPr txBox="1"/>
          <p:nvPr>
            <p:custDataLst>
              <p:tags r:id="rId5"/>
            </p:custDataLst>
          </p:nvPr>
        </p:nvSpPr>
        <p:spPr>
          <a:xfrm>
            <a:off x="2967038" y="5678488"/>
            <a:ext cx="779462" cy="395287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887" tIns="0" rIns="3887" bIns="0" anchor="ctr" anchorCtr="1"/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B4623"/>
              </a:buClr>
              <a:defRPr/>
            </a:pPr>
            <a:r>
              <a:rPr lang="en-US" sz="1632" b="1" dirty="0">
                <a:solidFill>
                  <a:srgbClr val="0B4623"/>
                </a:solidFill>
              </a:rPr>
              <a:t>-1.54%</a:t>
            </a:r>
          </a:p>
        </p:txBody>
      </p:sp>
      <p:sp>
        <p:nvSpPr>
          <p:cNvPr id="56" name="Oval 7"/>
          <p:cNvSpPr txBox="1"/>
          <p:nvPr>
            <p:custDataLst>
              <p:tags r:id="rId6"/>
            </p:custDataLst>
          </p:nvPr>
        </p:nvSpPr>
        <p:spPr>
          <a:xfrm>
            <a:off x="3938588" y="4973638"/>
            <a:ext cx="779462" cy="395287"/>
          </a:xfrm>
          <a:prstGeom prst="ellipse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3887" tIns="0" rIns="3887" bIns="0" anchor="ctr" anchorCtr="1"/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B4623"/>
              </a:buClr>
              <a:defRPr/>
            </a:pPr>
            <a:r>
              <a:rPr lang="en-US" sz="1632" b="1" dirty="0">
                <a:solidFill>
                  <a:srgbClr val="FFFFFF"/>
                </a:solidFill>
              </a:rPr>
              <a:t>13.5%</a:t>
            </a:r>
          </a:p>
        </p:txBody>
      </p:sp>
      <p:sp>
        <p:nvSpPr>
          <p:cNvPr id="62" name="Oval 7"/>
          <p:cNvSpPr txBox="1"/>
          <p:nvPr>
            <p:custDataLst>
              <p:tags r:id="rId7"/>
            </p:custDataLst>
          </p:nvPr>
        </p:nvSpPr>
        <p:spPr>
          <a:xfrm>
            <a:off x="3938588" y="5678488"/>
            <a:ext cx="779462" cy="395287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887" tIns="0" rIns="3887" bIns="0" anchor="ctr" anchorCtr="1"/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B4623"/>
              </a:buClr>
              <a:defRPr/>
            </a:pPr>
            <a:r>
              <a:rPr lang="en-US" sz="1632" b="1" dirty="0">
                <a:solidFill>
                  <a:srgbClr val="0B4623"/>
                </a:solidFill>
              </a:rPr>
              <a:t>3.04%</a:t>
            </a:r>
          </a:p>
        </p:txBody>
      </p:sp>
      <p:sp>
        <p:nvSpPr>
          <p:cNvPr id="64" name="Oval 7"/>
          <p:cNvSpPr txBox="1"/>
          <p:nvPr>
            <p:custDataLst>
              <p:tags r:id="rId8"/>
            </p:custDataLst>
          </p:nvPr>
        </p:nvSpPr>
        <p:spPr>
          <a:xfrm>
            <a:off x="4908550" y="4973638"/>
            <a:ext cx="779463" cy="395287"/>
          </a:xfrm>
          <a:prstGeom prst="ellipse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3887" tIns="0" rIns="3887" bIns="0" anchor="ctr" anchorCtr="1"/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B4623"/>
              </a:buClr>
              <a:defRPr/>
            </a:pPr>
            <a:r>
              <a:rPr lang="en-US" sz="1632" b="1" dirty="0">
                <a:solidFill>
                  <a:srgbClr val="FFFFFF"/>
                </a:solidFill>
              </a:rPr>
              <a:t>9.9%</a:t>
            </a:r>
          </a:p>
        </p:txBody>
      </p:sp>
      <p:sp>
        <p:nvSpPr>
          <p:cNvPr id="65" name="Oval 7"/>
          <p:cNvSpPr txBox="1"/>
          <p:nvPr>
            <p:custDataLst>
              <p:tags r:id="rId9"/>
            </p:custDataLst>
          </p:nvPr>
        </p:nvSpPr>
        <p:spPr>
          <a:xfrm>
            <a:off x="4908550" y="5678488"/>
            <a:ext cx="779463" cy="395287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887" tIns="0" rIns="3887" bIns="0" anchor="ctr" anchorCtr="1"/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B4623"/>
              </a:buClr>
              <a:defRPr/>
            </a:pPr>
            <a:r>
              <a:rPr lang="en-US" sz="1632" b="1" dirty="0">
                <a:solidFill>
                  <a:srgbClr val="0B4623"/>
                </a:solidFill>
              </a:rPr>
              <a:t>3.21%</a:t>
            </a:r>
          </a:p>
        </p:txBody>
      </p:sp>
      <p:sp>
        <p:nvSpPr>
          <p:cNvPr id="73" name="Oval 7"/>
          <p:cNvSpPr txBox="1"/>
          <p:nvPr>
            <p:custDataLst>
              <p:tags r:id="rId10"/>
            </p:custDataLst>
          </p:nvPr>
        </p:nvSpPr>
        <p:spPr>
          <a:xfrm>
            <a:off x="5878513" y="4973638"/>
            <a:ext cx="779462" cy="395287"/>
          </a:xfrm>
          <a:prstGeom prst="ellipse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3887" tIns="0" rIns="3887" bIns="0" anchor="ctr" anchorCtr="1"/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B4623"/>
              </a:buClr>
              <a:defRPr/>
            </a:pPr>
            <a:r>
              <a:rPr lang="en-US" sz="1632" b="1" dirty="0">
                <a:solidFill>
                  <a:srgbClr val="FFFFFF"/>
                </a:solidFill>
              </a:rPr>
              <a:t>9.3%</a:t>
            </a:r>
          </a:p>
        </p:txBody>
      </p:sp>
      <p:sp>
        <p:nvSpPr>
          <p:cNvPr id="74" name="Oval 7"/>
          <p:cNvSpPr txBox="1"/>
          <p:nvPr>
            <p:custDataLst>
              <p:tags r:id="rId11"/>
            </p:custDataLst>
          </p:nvPr>
        </p:nvSpPr>
        <p:spPr>
          <a:xfrm>
            <a:off x="5878513" y="5678488"/>
            <a:ext cx="779462" cy="395287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887" tIns="0" rIns="3887" bIns="0" anchor="ctr" anchorCtr="1"/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B4623"/>
              </a:buClr>
              <a:defRPr/>
            </a:pPr>
            <a:r>
              <a:rPr lang="en-US" sz="1632" b="1" dirty="0">
                <a:solidFill>
                  <a:srgbClr val="0B4623"/>
                </a:solidFill>
              </a:rPr>
              <a:t>2.22%</a:t>
            </a:r>
          </a:p>
        </p:txBody>
      </p:sp>
      <p:sp>
        <p:nvSpPr>
          <p:cNvPr id="76" name="Oval 7"/>
          <p:cNvSpPr txBox="1"/>
          <p:nvPr>
            <p:custDataLst>
              <p:tags r:id="rId12"/>
            </p:custDataLst>
          </p:nvPr>
        </p:nvSpPr>
        <p:spPr>
          <a:xfrm>
            <a:off x="6850063" y="4973638"/>
            <a:ext cx="779462" cy="395287"/>
          </a:xfrm>
          <a:prstGeom prst="ellipse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3887" tIns="0" rIns="3887" bIns="0" anchor="ctr" anchorCtr="1"/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B4623"/>
              </a:buClr>
              <a:defRPr/>
            </a:pPr>
            <a:r>
              <a:rPr lang="en-US" sz="1632" b="1" dirty="0">
                <a:solidFill>
                  <a:srgbClr val="FFFFFF"/>
                </a:solidFill>
              </a:rPr>
              <a:t>4.5%</a:t>
            </a:r>
          </a:p>
        </p:txBody>
      </p:sp>
      <p:sp>
        <p:nvSpPr>
          <p:cNvPr id="77" name="Oval 7"/>
          <p:cNvSpPr txBox="1"/>
          <p:nvPr>
            <p:custDataLst>
              <p:tags r:id="rId13"/>
            </p:custDataLst>
          </p:nvPr>
        </p:nvSpPr>
        <p:spPr>
          <a:xfrm>
            <a:off x="6850063" y="5678488"/>
            <a:ext cx="779462" cy="395287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887" tIns="0" rIns="3887" bIns="0" anchor="ctr" anchorCtr="1"/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B4623"/>
              </a:buClr>
              <a:defRPr/>
            </a:pPr>
            <a:r>
              <a:rPr lang="en-US" sz="1632" b="1" dirty="0">
                <a:solidFill>
                  <a:srgbClr val="0B4623"/>
                </a:solidFill>
              </a:rPr>
              <a:t>2.21%</a:t>
            </a:r>
          </a:p>
        </p:txBody>
      </p:sp>
      <p:sp>
        <p:nvSpPr>
          <p:cNvPr id="80" name="Oval 7"/>
          <p:cNvSpPr txBox="1"/>
          <p:nvPr>
            <p:custDataLst>
              <p:tags r:id="rId14"/>
            </p:custDataLst>
          </p:nvPr>
        </p:nvSpPr>
        <p:spPr>
          <a:xfrm>
            <a:off x="7820025" y="4973638"/>
            <a:ext cx="779463" cy="395287"/>
          </a:xfrm>
          <a:prstGeom prst="ellipse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3887" tIns="0" rIns="3887" bIns="0" anchor="ctr" anchorCtr="1"/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B4623"/>
              </a:buClr>
              <a:defRPr/>
            </a:pPr>
            <a:r>
              <a:rPr lang="en-US" sz="1632" b="1" dirty="0">
                <a:solidFill>
                  <a:srgbClr val="FFFFFF"/>
                </a:solidFill>
              </a:rPr>
              <a:t>9.3%</a:t>
            </a:r>
          </a:p>
        </p:txBody>
      </p:sp>
      <p:sp>
        <p:nvSpPr>
          <p:cNvPr id="81" name="Oval 7"/>
          <p:cNvSpPr txBox="1"/>
          <p:nvPr>
            <p:custDataLst>
              <p:tags r:id="rId15"/>
            </p:custDataLst>
          </p:nvPr>
        </p:nvSpPr>
        <p:spPr>
          <a:xfrm>
            <a:off x="7820025" y="5678488"/>
            <a:ext cx="779463" cy="395287"/>
          </a:xfrm>
          <a:prstGeom prst="ellips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887" tIns="0" rIns="3887" bIns="0" anchor="ctr" anchorCtr="1"/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>
              <a:buClr>
                <a:srgbClr val="0B4623"/>
              </a:buClr>
              <a:defRPr/>
            </a:pPr>
            <a:r>
              <a:rPr lang="en-US" sz="1632" b="1" dirty="0">
                <a:solidFill>
                  <a:srgbClr val="0B4623"/>
                </a:solidFill>
              </a:rPr>
              <a:t>1.52%</a:t>
            </a:r>
          </a:p>
        </p:txBody>
      </p:sp>
      <p:graphicFrame>
        <p:nvGraphicFramePr>
          <p:cNvPr id="51222" name="Object 40"/>
          <p:cNvGraphicFramePr>
            <a:graphicFrameLocks/>
          </p:cNvGraphicFramePr>
          <p:nvPr>
            <p:custDataLst>
              <p:tags r:id="rId16"/>
            </p:custDataLst>
          </p:nvPr>
        </p:nvGraphicFramePr>
        <p:xfrm>
          <a:off x="1839913" y="1852613"/>
          <a:ext cx="6932612" cy="26114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Chart" r:id="rId35" imgW="6791316" imgH="2562210" progId="MSGraph.Chart.8">
                  <p:embed followColorScheme="full"/>
                </p:oleObj>
              </mc:Choice>
              <mc:Fallback>
                <p:oleObj name="Chart" r:id="rId35" imgW="6791316" imgH="256221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39913" y="1852613"/>
                        <a:ext cx="6932612" cy="26114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Text Placeholder 40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953375" y="4557713"/>
            <a:ext cx="473075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B4623"/>
              </a:buClr>
              <a:defRPr/>
            </a:pPr>
            <a:fld id="{98D6F471-6C4E-47B0-A9F6-996DE4CF1879}" type="datetime'''''''''''''''''''''''2''''''''''01''''''''4'''">
              <a:rPr lang="en-US" sz="1632">
                <a:solidFill>
                  <a:srgbClr val="000000"/>
                </a:solidFill>
                <a:sym typeface="+mn-lt"/>
              </a:rPr>
              <a:pPr>
                <a:buClr>
                  <a:srgbClr val="0B4623"/>
                </a:buClr>
                <a:defRPr/>
              </a:pPr>
              <a:t>2014</a:t>
            </a:fld>
            <a:endParaRPr lang="en-GB" sz="1632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87" name="Text Placeholder 38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029325" y="4557713"/>
            <a:ext cx="473075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B4623"/>
              </a:buClr>
              <a:defRPr/>
            </a:pPr>
            <a:fld id="{55F9BDA0-3092-4296-BA18-B5BD61915E54}" type="datetime'''''''''''''''''2''0''''''''''''1''''''''''''''''2'''''''''''">
              <a:rPr lang="en-US" sz="1632">
                <a:solidFill>
                  <a:srgbClr val="000000"/>
                </a:solidFill>
                <a:sym typeface="+mn-lt"/>
              </a:rPr>
              <a:pPr>
                <a:buClr>
                  <a:srgbClr val="0B4623"/>
                </a:buClr>
                <a:defRPr/>
              </a:pPr>
              <a:t>2012</a:t>
            </a:fld>
            <a:endParaRPr lang="en-GB" sz="1632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85" name="Text Placeholder 36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111625" y="4557713"/>
            <a:ext cx="473075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B4623"/>
              </a:buClr>
              <a:defRPr/>
            </a:pPr>
            <a:fld id="{9F892A0A-C5B6-440D-8DA2-B2F8D6E5F3DB}" type="datetime'''''''''''''''''''2''''''0''''''10'''''''">
              <a:rPr lang="en-US" sz="1632">
                <a:solidFill>
                  <a:srgbClr val="000000"/>
                </a:solidFill>
                <a:sym typeface="+mn-lt"/>
              </a:rPr>
              <a:pPr>
                <a:buClr>
                  <a:srgbClr val="0B4623"/>
                </a:buClr>
                <a:defRPr/>
              </a:pPr>
              <a:t>2010</a:t>
            </a:fld>
            <a:endParaRPr lang="en-GB" sz="1632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6" name="Text Placeholder 6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127500" y="2413000"/>
            <a:ext cx="439738" cy="24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916" tIns="0" rIns="25916" bIns="0" anchor="b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B4623"/>
              </a:buClr>
              <a:defRPr/>
            </a:pPr>
            <a:fld id="{73F1E55C-AE4B-45C0-BA7E-4146391FBBFC}" type="datetime'''''''''2''''''''''''''''.''11'''''''''''''''">
              <a:rPr lang="en-US" sz="1632">
                <a:solidFill>
                  <a:srgbClr val="000000"/>
                </a:solidFill>
              </a:rPr>
              <a:pPr algn="ctr">
                <a:buClr>
                  <a:srgbClr val="0B4623"/>
                </a:buClr>
                <a:defRPr/>
              </a:pPr>
              <a:t>2.11</a:t>
            </a:fld>
            <a:endParaRPr lang="en-GB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84" name="Text Placeholder 35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149600" y="4557713"/>
            <a:ext cx="473075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B4623"/>
              </a:buClr>
              <a:defRPr/>
            </a:pPr>
            <a:fld id="{707CAE14-0B75-4913-9845-6500B0C1D78D}" type="datetime'''''''''''''''''''20''''09'''''''''''''''''''">
              <a:rPr lang="en-US" sz="1632">
                <a:solidFill>
                  <a:srgbClr val="000000"/>
                </a:solidFill>
                <a:sym typeface="+mn-lt"/>
              </a:rPr>
              <a:pPr>
                <a:buClr>
                  <a:srgbClr val="0B4623"/>
                </a:buClr>
                <a:defRPr/>
              </a:pPr>
              <a:t>2009</a:t>
            </a:fld>
            <a:endParaRPr lang="en-GB" sz="1632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86" name="Text Placeholder 37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078413" y="4557713"/>
            <a:ext cx="458787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B4623"/>
              </a:buClr>
              <a:defRPr/>
            </a:pPr>
            <a:fld id="{53C67B06-568C-4FD6-96A3-CE96A90BDCE7}" type="datetime'2''''0''''''''''''''1''''''''''''''''''1'''''''''''''''''">
              <a:rPr lang="en-US" sz="1632">
                <a:solidFill>
                  <a:srgbClr val="000000"/>
                </a:solidFill>
                <a:sym typeface="+mn-lt"/>
              </a:rPr>
              <a:pPr>
                <a:buClr>
                  <a:srgbClr val="0B4623"/>
                </a:buClr>
                <a:defRPr/>
              </a:pPr>
              <a:t>2011</a:t>
            </a:fld>
            <a:endParaRPr lang="en-GB" sz="1632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4" name="Text Placeholder 5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159125" y="2601913"/>
            <a:ext cx="454025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916" tIns="0" rIns="25916" bIns="0" anchor="b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B4623"/>
              </a:buClr>
              <a:defRPr/>
            </a:pPr>
            <a:fld id="{E1989913-E936-4B6D-AAA4-7D77FC41B685}" type="datetime'''''''''''1''.''''''8''''''''''''''7'''''''''''''''''''''''">
              <a:rPr lang="en-US" sz="1632">
                <a:solidFill>
                  <a:srgbClr val="000000"/>
                </a:solidFill>
              </a:rPr>
              <a:pPr algn="ctr">
                <a:buClr>
                  <a:srgbClr val="0B4623"/>
                </a:buClr>
                <a:defRPr/>
              </a:pPr>
              <a:t>1.87</a:t>
            </a:fld>
            <a:endParaRPr lang="en-GB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83" name="Text Placeholder 34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187575" y="4557713"/>
            <a:ext cx="473075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B4623"/>
              </a:buClr>
              <a:defRPr/>
            </a:pPr>
            <a:fld id="{09F51185-9D07-4B97-9758-E5022B8D118D}" type="datetime'20''''''''''''''''''''0''''''''''''''''''''8'''">
              <a:rPr lang="en-US" sz="1632">
                <a:solidFill>
                  <a:srgbClr val="000000"/>
                </a:solidFill>
                <a:sym typeface="+mn-lt"/>
              </a:rPr>
              <a:pPr>
                <a:buClr>
                  <a:srgbClr val="0B4623"/>
                </a:buClr>
                <a:defRPr/>
              </a:pPr>
              <a:t>2008</a:t>
            </a:fld>
            <a:endParaRPr lang="en-GB" sz="1632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0" name="Text Placeholder 3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7000875" y="1798638"/>
            <a:ext cx="455613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916" tIns="0" rIns="25916" bIns="0" anchor="b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B4623"/>
              </a:buClr>
              <a:defRPr/>
            </a:pPr>
            <a:fld id="{84F6CE85-49BB-4AD8-B54E-F434E73EC0D0}" type="datetime'''''''''''''''''''2''''.''''''''''''''''''''''88'''">
              <a:rPr lang="en-US" sz="1632">
                <a:solidFill>
                  <a:srgbClr val="000000"/>
                </a:solidFill>
              </a:rPr>
              <a:pPr algn="ctr">
                <a:buClr>
                  <a:srgbClr val="0B4623"/>
                </a:buClr>
                <a:defRPr/>
              </a:pPr>
              <a:t>2.88</a:t>
            </a:fld>
            <a:endParaRPr lang="en-GB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49" name="Text Placeholder 9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7962900" y="1693863"/>
            <a:ext cx="455613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916" tIns="0" rIns="25916" bIns="0" anchor="b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B4623"/>
              </a:buClr>
              <a:defRPr/>
            </a:pPr>
            <a:fld id="{437D471E-47C9-4099-902C-2BBD9534CF62}" type="datetime'''''''''''''''''''''''3.''0''''''''''1'''''''''''''">
              <a:rPr lang="en-US" sz="1632">
                <a:solidFill>
                  <a:srgbClr val="000000"/>
                </a:solidFill>
              </a:rPr>
              <a:pPr algn="ctr">
                <a:buClr>
                  <a:srgbClr val="0B4623"/>
                </a:buClr>
                <a:defRPr/>
              </a:pPr>
              <a:t>3.01</a:t>
            </a:fld>
            <a:endParaRPr lang="en-GB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88" name="Text Placeholder 39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991350" y="4557713"/>
            <a:ext cx="473075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B4623"/>
              </a:buClr>
              <a:defRPr/>
            </a:pPr>
            <a:fld id="{48F2958B-65F0-484D-804A-AA8E86FE1D71}" type="datetime'''''''''''''''''2''''''0''''''1''''3'''">
              <a:rPr lang="en-US" sz="1632">
                <a:solidFill>
                  <a:srgbClr val="000000"/>
                </a:solidFill>
                <a:sym typeface="+mn-lt"/>
              </a:rPr>
              <a:pPr>
                <a:buClr>
                  <a:srgbClr val="0B4623"/>
                </a:buClr>
                <a:defRPr/>
              </a:pPr>
              <a:t>2013</a:t>
            </a:fld>
            <a:endParaRPr lang="en-GB" sz="1632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47" name="Text Placeholder 7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080000" y="2219325"/>
            <a:ext cx="455613" cy="24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916" tIns="0" rIns="25916" bIns="0" anchor="b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B4623"/>
              </a:buClr>
              <a:defRPr/>
            </a:pPr>
            <a:fld id="{4F9A30CA-97FA-4468-9545-E4163D4046E3}" type="datetime'2''''''''''.''3''''''''''''''''''''''''''5'''''''''''''''''">
              <a:rPr lang="en-US" sz="1632">
                <a:solidFill>
                  <a:srgbClr val="000000"/>
                </a:solidFill>
              </a:rPr>
              <a:pPr algn="ctr">
                <a:buClr>
                  <a:srgbClr val="0B4623"/>
                </a:buClr>
                <a:defRPr/>
              </a:pPr>
              <a:t>2.35</a:t>
            </a:fld>
            <a:endParaRPr lang="en-GB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48" name="Text Placeholder 8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038850" y="2011363"/>
            <a:ext cx="455613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916" tIns="0" rIns="25916" bIns="0" anchor="b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B4623"/>
              </a:buClr>
              <a:defRPr/>
            </a:pPr>
            <a:fld id="{CC539CE7-2D5B-4721-8472-75D77D2A2B3A}" type="datetime'''''''''''''''''''2''.''''''6''1'''">
              <a:rPr lang="en-US" sz="1632">
                <a:solidFill>
                  <a:srgbClr val="000000"/>
                </a:solidFill>
              </a:rPr>
              <a:pPr algn="ctr">
                <a:buClr>
                  <a:srgbClr val="0B4623"/>
                </a:buClr>
                <a:defRPr/>
              </a:pPr>
              <a:t>2.61</a:t>
            </a:fld>
            <a:endParaRPr lang="en-GB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43" name="Text Placeholder 4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2197100" y="2770188"/>
            <a:ext cx="454025" cy="24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25916" tIns="0" rIns="25916" bIns="0" anchor="b"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151" indent="-261910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298" indent="-155558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728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B4623"/>
              </a:buClr>
              <a:defRPr/>
            </a:pPr>
            <a:fld id="{D3DE42EE-C4B5-485A-AC47-A50AC08E7CDD}" type="datetime'''''''''''''''''''''1.''6''''''''''''''''''''''''''''6'''''''">
              <a:rPr lang="en-US" sz="1632">
                <a:solidFill>
                  <a:srgbClr val="000000"/>
                </a:solidFill>
              </a:rPr>
              <a:pPr algn="ctr">
                <a:buClr>
                  <a:srgbClr val="0B4623"/>
                </a:buClr>
                <a:defRPr/>
              </a:pPr>
              <a:t>1.66</a:t>
            </a:fld>
            <a:endParaRPr lang="en-GB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78" name="TextBox 77"/>
          <p:cNvSpPr txBox="1">
            <a:spLocks/>
          </p:cNvSpPr>
          <p:nvPr/>
        </p:nvSpPr>
        <p:spPr>
          <a:xfrm>
            <a:off x="406400" y="1141413"/>
            <a:ext cx="6723063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B4623"/>
              </a:buClr>
              <a:defRPr/>
            </a:pPr>
            <a:r>
              <a:rPr lang="en-US" sz="1632" dirty="0">
                <a:solidFill>
                  <a:srgbClr val="0B4623"/>
                </a:solidFill>
              </a:rPr>
              <a:t>Wildlife GDP contribution, </a:t>
            </a:r>
            <a:r>
              <a:rPr lang="en-US" sz="1632" dirty="0">
                <a:solidFill>
                  <a:srgbClr val="FFFFFF">
                    <a:lumMod val="50000"/>
                  </a:srgbClr>
                </a:solidFill>
              </a:rPr>
              <a:t>R billions</a:t>
            </a:r>
          </a:p>
        </p:txBody>
      </p:sp>
      <p:pic>
        <p:nvPicPr>
          <p:cNvPr id="36" name="Picture 80" descr="http://www.planetstillalive.com/wp-content/uploads/2012/07/Sable-Antilopes-4-1024x664.jpg"/>
          <p:cNvPicPr>
            <a:picLocks noChangeArrowheads="1"/>
          </p:cNvPicPr>
          <p:nvPr/>
        </p:nvPicPr>
        <p:blipFill rotWithShape="1">
          <a:blip r:embed="rId37"/>
          <a:srcRect/>
          <a:stretch/>
        </p:blipFill>
        <p:spPr bwMode="auto">
          <a:xfrm>
            <a:off x="180975" y="1739900"/>
            <a:ext cx="1681163" cy="113188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19050">
            <a:noFill/>
          </a:ln>
          <a:extLst/>
        </p:spPr>
      </p:pic>
      <p:pic>
        <p:nvPicPr>
          <p:cNvPr id="51239" name="Picture 35" descr="Cape Buffalo, Africa, Wildlife, Bovine, Wild, Horn"/>
          <p:cNvPicPr>
            <a:picLocks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0975" y="2971800"/>
            <a:ext cx="1681163" cy="1381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9869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ZA" dirty="0" smtClean="0">
                <a:solidFill>
                  <a:srgbClr val="004208"/>
                </a:solidFill>
              </a:rPr>
              <a:t>NBES Targets aligned to Phakisa</a:t>
            </a:r>
            <a:endParaRPr lang="en-ZA" dirty="0">
              <a:solidFill>
                <a:srgbClr val="004208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404870" y="1255924"/>
            <a:ext cx="8334260" cy="605927"/>
          </a:xfrm>
          <a:prstGeom prst="round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ZA" dirty="0" smtClean="0">
              <a:solidFill>
                <a:srgbClr val="FF0000"/>
              </a:solidFill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457200" y="1961001"/>
          <a:ext cx="8281929" cy="4699516"/>
        </p:xfrm>
        <a:graphic>
          <a:graphicData uri="http://schemas.openxmlformats.org/drawingml/2006/table">
            <a:tbl>
              <a:tblPr firstRow="1" firstCol="1" bandRow="1"/>
              <a:tblGrid>
                <a:gridCol w="534318"/>
                <a:gridCol w="1498294"/>
                <a:gridCol w="3360145"/>
                <a:gridCol w="2889172"/>
              </a:tblGrid>
              <a:tr h="228966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ZA" sz="12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ZA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88" marR="48788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20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ZA" sz="1200" b="1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IOPROSPECTING SECTOR</a:t>
                      </a:r>
                      <a:endParaRPr lang="en-ZA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88" marR="48788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20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ZA" sz="1200" b="1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ILDLIFE SECTOR</a:t>
                      </a:r>
                      <a:endParaRPr lang="en-ZA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88" marR="48788" marT="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208"/>
                    </a:solidFill>
                  </a:tcPr>
                </a:tc>
              </a:tr>
              <a:tr h="736919">
                <a:tc grid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200" b="1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spirations</a:t>
                      </a:r>
                      <a:endParaRPr lang="en-ZA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88" marR="4878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20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2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o develop and improve the bioprospecting industry to create a sustainable, inclusive and commercially viable sector adding </a:t>
                      </a:r>
                      <a:r>
                        <a:rPr lang="en-ZA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 000</a:t>
                      </a:r>
                      <a:r>
                        <a:rPr lang="en-ZA" sz="12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new jobs and contributing </a:t>
                      </a:r>
                      <a:r>
                        <a:rPr lang="en-ZA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1.7 billion</a:t>
                      </a:r>
                      <a:r>
                        <a:rPr lang="en-ZA" sz="12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to </a:t>
                      </a:r>
                      <a:r>
                        <a:rPr lang="en-ZA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DP</a:t>
                      </a:r>
                      <a:r>
                        <a:rPr lang="en-ZA" sz="12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at </a:t>
                      </a:r>
                      <a:r>
                        <a:rPr lang="en-ZA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% p.a.</a:t>
                      </a:r>
                      <a:r>
                        <a:rPr lang="en-ZA" sz="12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by </a:t>
                      </a:r>
                      <a:r>
                        <a:rPr lang="en-ZA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30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88" marR="4878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2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 inclusive, sustainable and responsive wildlife economy that grows at </a:t>
                      </a:r>
                      <a:r>
                        <a:rPr lang="en-ZA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% p.a</a:t>
                      </a:r>
                      <a:r>
                        <a:rPr lang="en-ZA" sz="12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until at least </a:t>
                      </a:r>
                      <a:r>
                        <a:rPr lang="en-ZA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30</a:t>
                      </a:r>
                      <a:r>
                        <a:rPr lang="en-ZA" sz="12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while providing a foundation for social well-being and maintaining the ecological resource base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88" marR="4878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</a:tr>
              <a:tr h="763237"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ZA" sz="1200" b="1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bjectives</a:t>
                      </a:r>
                      <a:endParaRPr lang="en-ZA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88" marR="48788" marT="0" marB="0" vert="vert27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208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conomic growth</a:t>
                      </a:r>
                      <a:endParaRPr lang="en-ZA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88" marR="4878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DP</a:t>
                      </a:r>
                      <a:r>
                        <a:rPr lang="en-ZA" sz="12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contribution growth from </a:t>
                      </a:r>
                      <a:r>
                        <a:rPr lang="en-ZA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309 million </a:t>
                      </a:r>
                      <a:r>
                        <a:rPr lang="en-ZA" sz="12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 </a:t>
                      </a:r>
                      <a:r>
                        <a:rPr lang="en-ZA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13</a:t>
                      </a:r>
                      <a:r>
                        <a:rPr lang="en-ZA" sz="12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to </a:t>
                      </a:r>
                      <a:r>
                        <a:rPr lang="en-ZA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1.7 billion</a:t>
                      </a:r>
                      <a:r>
                        <a:rPr lang="en-ZA" sz="12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in </a:t>
                      </a:r>
                      <a:r>
                        <a:rPr lang="en-ZA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30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2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row from </a:t>
                      </a:r>
                      <a:r>
                        <a:rPr lang="en-ZA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 200</a:t>
                      </a:r>
                      <a:r>
                        <a:rPr lang="en-ZA" sz="12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to </a:t>
                      </a:r>
                      <a:r>
                        <a:rPr lang="en-ZA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 200</a:t>
                      </a:r>
                      <a:r>
                        <a:rPr lang="en-ZA" sz="12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ermanent jobs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88" marR="4878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2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verage yearly sector </a:t>
                      </a:r>
                      <a:r>
                        <a:rPr lang="en-ZA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DP </a:t>
                      </a:r>
                      <a:r>
                        <a:rPr lang="en-ZA" sz="12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crease of ~</a:t>
                      </a:r>
                      <a:r>
                        <a:rPr lang="en-ZA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%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2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reate </a:t>
                      </a:r>
                      <a:r>
                        <a:rPr lang="en-ZA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,000</a:t>
                      </a:r>
                      <a:r>
                        <a:rPr lang="en-ZA" sz="12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new jobs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88" marR="4878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</a:tr>
              <a:tr h="1947571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ransformation</a:t>
                      </a:r>
                      <a:endParaRPr lang="en-ZA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88" marR="4878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-50%</a:t>
                      </a:r>
                      <a:r>
                        <a:rPr lang="en-ZA" sz="12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of South African bioprospecting products must have community involvement in the supply chain</a:t>
                      </a:r>
                      <a:endParaRPr lang="en-ZA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2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duct development in the informal sector by focusing on TK holders, communities and members of the informal market</a:t>
                      </a:r>
                      <a:endParaRPr lang="en-ZA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2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iversify the market by promoting enterprise development and increasing accessible funding for new entrants</a:t>
                      </a:r>
                      <a:endParaRPr lang="en-ZA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88" marR="4878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%</a:t>
                      </a:r>
                      <a:r>
                        <a:rPr lang="en-ZA" sz="12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of wildlife businesses PDI owned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2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DI ownership of </a:t>
                      </a:r>
                      <a:r>
                        <a:rPr lang="en-ZA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&gt;5 million Ha</a:t>
                      </a:r>
                      <a:r>
                        <a:rPr lang="en-ZA" sz="12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and access to </a:t>
                      </a:r>
                      <a:r>
                        <a:rPr lang="en-ZA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other &gt;5 million ha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,000</a:t>
                      </a:r>
                      <a:r>
                        <a:rPr lang="en-ZA" sz="12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DI owned SMMEs supported to engage in the wildlife economy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88" marR="4878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E0B3"/>
                    </a:solidFill>
                  </a:tcPr>
                </a:tc>
              </a:tr>
              <a:tr h="842193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ZA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ustainability</a:t>
                      </a:r>
                      <a:endParaRPr lang="en-ZA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88" marR="4878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2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row cultivation of natural ingredients by at least </a:t>
                      </a:r>
                      <a:r>
                        <a:rPr lang="en-ZA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0 ha</a:t>
                      </a:r>
                      <a:r>
                        <a:rPr lang="en-ZA" sz="12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ZA" sz="1200" dirty="0" err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.a</a:t>
                      </a:r>
                      <a:endParaRPr lang="en-ZA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88" marR="4878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 Million ha</a:t>
                      </a:r>
                      <a:r>
                        <a:rPr lang="en-ZA" sz="12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of non-protected areas contributing towards conservation target (</a:t>
                      </a:r>
                      <a:r>
                        <a:rPr lang="en-ZA" sz="1200" dirty="0" err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ichi</a:t>
                      </a:r>
                      <a:r>
                        <a:rPr lang="en-ZA" sz="12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</a:t>
                      </a:r>
                      <a:endParaRPr lang="en-ZA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spcAft>
                          <a:spcPts val="12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5%</a:t>
                      </a:r>
                      <a:r>
                        <a:rPr lang="en-ZA" sz="12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animal population net growth p.a.</a:t>
                      </a:r>
                      <a:endParaRPr lang="en-ZA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788" marR="4878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9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9418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940" y="510126"/>
            <a:ext cx="8545618" cy="909359"/>
          </a:xfrm>
        </p:spPr>
        <p:txBody>
          <a:bodyPr>
            <a:normAutofit fontScale="90000"/>
          </a:bodyPr>
          <a:lstStyle/>
          <a:p>
            <a:r>
              <a:rPr lang="en-ZA" sz="3600" b="1" dirty="0">
                <a:latin typeface="Lucida Sans Unicode" panose="020B0602030504020204" pitchFamily="34" charset="0"/>
                <a:cs typeface="Lucida Sans Unicode" panose="020B0602030504020204" pitchFamily="34" charset="0"/>
              </a:rPr>
              <a:t>Biodiversity Economy sectoral challenges </a:t>
            </a:r>
            <a:endParaRPr lang="en-ZA" sz="3600" b="1" dirty="0"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40940" y="1282663"/>
            <a:ext cx="8862123" cy="5575135"/>
          </a:xfrm>
        </p:spPr>
        <p:txBody>
          <a:bodyPr>
            <a:normAutofit/>
          </a:bodyPr>
          <a:lstStyle/>
          <a:p>
            <a:pPr>
              <a:spcBef>
                <a:spcPct val="50000"/>
              </a:spcBef>
              <a:buClr>
                <a:srgbClr val="0B4623"/>
              </a:buClr>
              <a:defRPr/>
            </a:pPr>
            <a:r>
              <a:rPr lang="en-US" sz="24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The sector is also fully reflective of  the general land ownership patterns in South Africa which is skewed towards one racial group.   </a:t>
            </a:r>
          </a:p>
          <a:p>
            <a:pPr>
              <a:spcBef>
                <a:spcPct val="50000"/>
              </a:spcBef>
              <a:buClr>
                <a:srgbClr val="0B4623"/>
              </a:buClr>
              <a:defRPr/>
            </a:pPr>
            <a:r>
              <a:rPr lang="en-US" sz="24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Lack of access to ‘startup’ game, requisite infrastructure </a:t>
            </a:r>
            <a:r>
              <a:rPr lang="en-US" sz="2400" dirty="0"/>
              <a:t>development</a:t>
            </a:r>
            <a:r>
              <a:rPr lang="en-US" sz="24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 support and access to finance and incentives for transformation</a:t>
            </a:r>
          </a:p>
          <a:p>
            <a:pPr>
              <a:spcBef>
                <a:spcPct val="50000"/>
              </a:spcBef>
              <a:buClr>
                <a:srgbClr val="0B4623"/>
              </a:buClr>
              <a:defRPr/>
            </a:pPr>
            <a:r>
              <a:rPr lang="en-US" sz="24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Internal governance conflicts amongst community </a:t>
            </a:r>
            <a:r>
              <a:rPr lang="en-US" sz="2400" dirty="0">
                <a:ea typeface="Arial Unicode MS" panose="020B0604020202020204" pitchFamily="34" charset="-128"/>
                <a:cs typeface="Arial Unicode MS" panose="020B0604020202020204" pitchFamily="34" charset="-128"/>
              </a:rPr>
              <a:t>members</a:t>
            </a:r>
          </a:p>
          <a:p>
            <a:pPr lvl="0"/>
            <a:r>
              <a:rPr lang="en-ZA" sz="2449" dirty="0"/>
              <a:t>The long and tedious turn-around times for issuing BABS permits </a:t>
            </a:r>
          </a:p>
          <a:p>
            <a:pPr lvl="0"/>
            <a:r>
              <a:rPr lang="en-ZA" sz="2449" dirty="0"/>
              <a:t>Little value attached to genetic resources and thus vulnerable to exploitation </a:t>
            </a:r>
          </a:p>
          <a:p>
            <a:pPr lvl="0"/>
            <a:r>
              <a:rPr lang="en-ZA" sz="2449" dirty="0"/>
              <a:t>Market intelligence and accessibility </a:t>
            </a:r>
            <a:r>
              <a:rPr lang="en-ZA" sz="2449" dirty="0" smtClean="0"/>
              <a:t>challenges</a:t>
            </a:r>
          </a:p>
          <a:p>
            <a:r>
              <a:rPr lang="en-US" sz="2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Excessive and inefficient permitting systems.</a:t>
            </a:r>
          </a:p>
          <a:p>
            <a:pPr lvl="0"/>
            <a:endParaRPr lang="en-ZA" sz="2449" dirty="0"/>
          </a:p>
          <a:p>
            <a:pPr>
              <a:spcBef>
                <a:spcPct val="50000"/>
              </a:spcBef>
              <a:buClr>
                <a:srgbClr val="0B4623"/>
              </a:buClr>
              <a:defRPr/>
            </a:pPr>
            <a:endParaRPr lang="en-US" sz="240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spcBef>
                <a:spcPct val="50000"/>
              </a:spcBef>
              <a:buClr>
                <a:srgbClr val="0B4623"/>
              </a:buClr>
              <a:defRPr/>
            </a:pPr>
            <a:endParaRPr lang="en-US" sz="2400" dirty="0"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marL="0" indent="0">
              <a:buNone/>
            </a:pPr>
            <a:endParaRPr lang="en-US" sz="2400" dirty="0"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4096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9Eck4YSukq1tImpuIYpM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ko7oMPMEW7KRW3Z5ssm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nkbAcpaEKE07PHb93eQ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CtIfuS4U252MmXMf.uG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jqCwQq.0K4WakHOHNlg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jR01fKRUeQ6bO5PaVI3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yLYwC.IkCqILjmaOim2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arfvSBOkOgwSSGnelbA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tPmLeyE0.mnyTWsTJv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6l4uyxykyx_rybWUTbe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ixVr5gm02tvew3c6UOH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voVXaZTUG6rwexFZkyx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ngoNDm1kKkXrhM2zOyl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.4OcPuuk2uW9qi6aJYN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N3RDntUOq9qiOZDvF9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trbLBXxUyqEwUvksqYo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degoNfRkWdfE.oxW5gN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d2O0wjMUeL3ZbZ.LmJZ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3m2Dm94RUag.IlMoqe6l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5gn7xD.0.gOftPY2_hP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QjqQ7xOZ0.QPbDvyEdh3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HNGi5MjUGeb98_lfSRw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lvcMQMmU6_RU3D1_ZRy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uASbkQAk6ZTzwaAgtqG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qIxFeNtEG3Kg3DQO4ON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nvCoS9RUmraJ0Phn6sw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Lzrk_aQkS7xcFyqJMP3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1X7zDqPUqgbi6ATwMvi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rs1zbqSU.eHSBHrLaY1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UDs9vTsEWpiEKsqdRYx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NIckInzUWpmW3wJRxDQ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yZnbJJt0u1vuWE7zHHZ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e77Pwi00eRip2eI7Vao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IXSaDHA064kTbHjEuNk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PkhIQ3bE64ku9pwy.q_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fPBQNnU06cHFSzkdJS1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XkZMA7qke2iRX5EE5yW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iHmLBEIE.tXtbiXP_tx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EkQt9oXEKAS2BA7Y6As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wUU2RG80mwnk05_SZ6F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6MNJZsykGzJuiW7BYKh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8P76gUqE2FY4hStEDm8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WO.kHzTEefXziJyKzzi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7kMVgYqUGqGgJgwi7W.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nBfvAwgU.9HxAMzfhl4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NbZAR5dEWfLJFQvK9rG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95Gu.YlJk.HaHnrVlLMX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kNFyRzK0ylB0tIaAkh5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q1bkCCt0u7lzglRKdhM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IZA8QGF0q0A0yRq6lhH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Y3lVzg_0O4pN8lzH3Nu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0ktyxQ10qwGuw0WAtzw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KaHlCqekGLDijFIDpw8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cTf6GofkGB6EcwJew.e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YcmGg0zUmBcz4lc_wwe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mDt73.nUmnMptFbW459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8vG_9NrU6uJbsLOXZMg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K.SLIu7EKH1IF0WpbUp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vd5XHbEUKwI4nj7FzKJ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CH7eETgk6OR9nE_Z.42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bEZaaqVUGUPLIsu7y4k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1CjEHeq0uNiLxa6iKQ6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5psBn410GLEJrboTTsP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ZsUuTHQ0u3Ip22UwntR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x4LskDHkGnzqnXJ40ni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2LyHUXSkGx1ULUcIKkx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hH_IKTa0qkxplimt4vC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xqRTW9.EeLCORoQs2lx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NPSuFFl0CruMzI2rsl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cZGt20HUaEwfUYSl1Dc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mDaLrE5kmZQmjypd_rZ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Cb4.RyUUu1uEwfei4_4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eEwiK.SUKUCMEce72H4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6UBYhycEOQi1sOlDzvI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1mdbCZmkO7rCBpsz7op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aGn_rpOUGzYzlnK_I_k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_EjSteSEmOLqJETiHr8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NCjPtJXES7.u3piJmKr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ZE8LwE702FZPbeWMvCb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1DLj.z_0esWCE64MZxN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BNNRuIIlEOTZGe8255o8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KfKZC1JUKLxV_bvQSOT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.c1yKDNUyQXowXSrGZu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3qkivWMk2S8Niq9wy9U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02Kl5f1P0Sz.Cbg4LY21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UyCMBBU6JvKqr36a7n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wU1bd3f0qQUWwum2ZSG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zYnz.YY0yNJ4tz16p17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VoU2x5ZEO.xDf4YpBj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0gwtGUG0eEm7w77aUXI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MlezFQs0mFYwF2u7tKm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khBoFCd0yoQMrD93HG_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I0LSxgnEml1MoTCfeFn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fxIboXLEmNM_qQRpW1x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dU.r5F.kaAODY3mCmes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lrsoW3uUyiFqY0jjTJE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OQ_A20pkShTjnVYL8kY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aqGSeBx0uHALb3AaTw5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LYFfqNvkOACMqa042BQ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VnS8LTlkS5yk7_UWLvl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niLPjyGEmmJ5_Jv1o_W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qt9G3hwEicv.UcIVc2M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9PjFpAHUS.oxi6Q_d25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gTzdFIL0S1d.Pif9i9E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tePFR8J0mzUrqzBkIht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X0DrIq406XDaTDEv3.U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IIzubpYEO9m50b_ncx8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efh4cX9kuwO.7suNXEJ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fPpdhBcEmgV3nN5D6bW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BKbPMYGUSEFyNgMwElG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zgsiPVHUan_xuiUpatE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CJvjutI0C.C4QXt5k6Y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supbFuu0.T2ZXfMv.7i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NKchfCFE2_tsy7wXOIw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Img361hUO.uM6t21M8i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CA6S38Pk6GT0G65NBwC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4xqw0340G8QndMh_jfx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ez7IQ12k.qiwmc1Gptl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jVSpGgLUmE4U_Z51vai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KQm_D1.0G4C78Q8Gqn8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MeFfF5YEqohmdJDtixs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TAwCcPoUi03MUO8KXWt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DLRL17jUqjcyWmCXTAS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3CBAz2Jkubfj6VEhvAm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rtKeKL4EqCRUhV.muNn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uQOV12jUiQqmUDUsYP8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AOqpzzI0OirYZQwU1Qq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5TCX_WvEKvN4acEwTu6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1qqDVdN70qpNnDKAHqzm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0YroJoV0ebxrOXnWWUd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HQpALeWkGFWmKX5UeGR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1GQwx6xLUW58Bfx_COO7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V4.ABHK0mf.9PGgSzzG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Yd0ixAcUKD2.vTQ9olM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iaH97EREy8629nVLAq8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P_0HiVUCe3q4FObXvv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rCiu3UIkSuer4wINS46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SCILc.dk.jmAu9ravsC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siI6PIu0K4og5isOgD6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mcTX6diUKvPNxHF.owU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uGoyagjUSI220bQZpwz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W_0Xd0vEOs9wkyugmXG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2KkCawZg02TTa_UFiSSW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rE0LHjpUCbmlQtHaSt0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9EhcwDsEag2u3yh6Sc5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0XSGgCoUaWa20A_AePP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ZOxNdIgUWEODBklV5Vb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pD1HFT4UKSiAKlK6QIj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fQGyaG5EW9FlbP4a.s5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74_Bqvh0eRrcfXEKQ3G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fHTWDiwU.ap.RnJxJMK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s.sPi73E2WHj2UTLgbK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2KjP3f1UexI5DGpxanx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nHa0IENkmo85H8Lp5wj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th_KW5BE2Fpr1CXJO30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chuJXJiEyJjRlvMkLzX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BX20NS4UKd_Veq7d_l2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6PyeI3IE6S0M2eReOO_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J6Pp6f1E6H403_CbR.q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3k2ghz3EGW5T8XOUE__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mHBSjOw0GVKuhsqefTr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MDLjNqZUSKqtUaz176W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9Q2IOngkOBrjKcLtHEP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XNYGdI70SiqiCU.3rsf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82K41_t0KrJE4Svx9Rd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4ijWU9UEmQ0tm1HnLPo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R5am2tEyq50Ks7Ss4v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yUrN.LUOh3601oERdC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FcqHAF7kut7Y8bJW.H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5g4QvapkSBkTiDnWGmK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9KICvMv0eX7Lai35joG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_u6NRWq0CCz3nlEk0XL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v6pjJrOUOBHL1Bj3XIF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VJG7mLZ0uWF9poJcmgK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hdn9sS9EGP7wQIzS.jA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NOSPYMD0quMvUyuWtnz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fr8uzFiEGZOuhmOi2Mu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_DRwkj30ODCe_ySpTqL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0N5YuOOUqbA44Vr.43o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vdbqn9cEuHHlteMSlvp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euwC8OjUmz6B7cQYukb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dm0eqOiUie9tBms6vx1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NW9hJ7MUi8GFM6iY66I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C1J92o_0aOCwAI4Nv5_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IRhXnb9k6EcOSqTknxi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eNceKVr0.5fLxYMrc47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.FliUa9kqTR0j0Zgj1L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nPXa8Xe0KwDh4ZoOwxy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QkwxREBkCNS6Lvtq1H2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qp94wD2UmqKslrZodIZ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NmCY8HvEGesX4MoZ3wu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vKtgnMMEWjdoIa21llaw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8_RNS047_Template">
  <a:themeElements>
    <a:clrScheme name="Current">
      <a:dk1>
        <a:srgbClr val="000000"/>
      </a:dk1>
      <a:lt1>
        <a:srgbClr val="FFFFFF"/>
      </a:lt1>
      <a:dk2>
        <a:srgbClr val="0B4623"/>
      </a:dk2>
      <a:lt2>
        <a:srgbClr val="FFFFFF"/>
      </a:lt2>
      <a:accent1>
        <a:srgbClr val="8BBC9C"/>
      </a:accent1>
      <a:accent2>
        <a:srgbClr val="0D7532"/>
      </a:accent2>
      <a:accent3>
        <a:srgbClr val="0B4623"/>
      </a:accent3>
      <a:accent4>
        <a:srgbClr val="BF9015"/>
      </a:accent4>
      <a:accent5>
        <a:srgbClr val="995E11"/>
      </a:accent5>
      <a:accent6>
        <a:srgbClr val="808080"/>
      </a:accent6>
      <a:hlink>
        <a:srgbClr val="0B4623"/>
      </a:hlink>
      <a:folHlink>
        <a:srgbClr val="BF9015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B4623"/>
        </a:dk2>
        <a:lt2>
          <a:srgbClr val="FFFFFF"/>
        </a:lt2>
        <a:accent1>
          <a:srgbClr val="8BBC9C"/>
        </a:accent1>
        <a:accent2>
          <a:srgbClr val="0D7532"/>
        </a:accent2>
        <a:accent3>
          <a:srgbClr val="0B4623"/>
        </a:accent3>
        <a:accent4>
          <a:srgbClr val="BF9015"/>
        </a:accent4>
        <a:accent5>
          <a:srgbClr val="995E11"/>
        </a:accent5>
        <a:accent6>
          <a:srgbClr val="808080"/>
        </a:accent6>
        <a:hlink>
          <a:srgbClr val="0B4623"/>
        </a:hlink>
        <a:folHlink>
          <a:srgbClr val="BF901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9_RNS047_Template">
  <a:themeElements>
    <a:clrScheme name="Current">
      <a:dk1>
        <a:srgbClr val="000000"/>
      </a:dk1>
      <a:lt1>
        <a:srgbClr val="FFFFFF"/>
      </a:lt1>
      <a:dk2>
        <a:srgbClr val="0B4623"/>
      </a:dk2>
      <a:lt2>
        <a:srgbClr val="FFFFFF"/>
      </a:lt2>
      <a:accent1>
        <a:srgbClr val="8BBC9C"/>
      </a:accent1>
      <a:accent2>
        <a:srgbClr val="0D7532"/>
      </a:accent2>
      <a:accent3>
        <a:srgbClr val="0B4623"/>
      </a:accent3>
      <a:accent4>
        <a:srgbClr val="BF9015"/>
      </a:accent4>
      <a:accent5>
        <a:srgbClr val="995E11"/>
      </a:accent5>
      <a:accent6>
        <a:srgbClr val="808080"/>
      </a:accent6>
      <a:hlink>
        <a:srgbClr val="0B4623"/>
      </a:hlink>
      <a:folHlink>
        <a:srgbClr val="BF9015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29_RNS047_Template 1">
        <a:dk1>
          <a:srgbClr val="000000"/>
        </a:dk1>
        <a:lt1>
          <a:srgbClr val="FFFFFF"/>
        </a:lt1>
        <a:dk2>
          <a:srgbClr val="0B4623"/>
        </a:dk2>
        <a:lt2>
          <a:srgbClr val="FFFFFF"/>
        </a:lt2>
        <a:accent1>
          <a:srgbClr val="8BBC9C"/>
        </a:accent1>
        <a:accent2>
          <a:srgbClr val="0D7532"/>
        </a:accent2>
        <a:accent3>
          <a:srgbClr val="FFFFFF"/>
        </a:accent3>
        <a:accent4>
          <a:srgbClr val="000000"/>
        </a:accent4>
        <a:accent5>
          <a:srgbClr val="C4DACB"/>
        </a:accent5>
        <a:accent6>
          <a:srgbClr val="0B692C"/>
        </a:accent6>
        <a:hlink>
          <a:srgbClr val="0B4623"/>
        </a:hlink>
        <a:folHlink>
          <a:srgbClr val="BF901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9_RNS047_Template">
  <a:themeElements>
    <a:clrScheme name="Current">
      <a:dk1>
        <a:srgbClr val="000000"/>
      </a:dk1>
      <a:lt1>
        <a:srgbClr val="FFFFFF"/>
      </a:lt1>
      <a:dk2>
        <a:srgbClr val="0B4623"/>
      </a:dk2>
      <a:lt2>
        <a:srgbClr val="FFFFFF"/>
      </a:lt2>
      <a:accent1>
        <a:srgbClr val="8BBC9C"/>
      </a:accent1>
      <a:accent2>
        <a:srgbClr val="0D7532"/>
      </a:accent2>
      <a:accent3>
        <a:srgbClr val="0B4623"/>
      </a:accent3>
      <a:accent4>
        <a:srgbClr val="BF9015"/>
      </a:accent4>
      <a:accent5>
        <a:srgbClr val="995E11"/>
      </a:accent5>
      <a:accent6>
        <a:srgbClr val="808080"/>
      </a:accent6>
      <a:hlink>
        <a:srgbClr val="0B4623"/>
      </a:hlink>
      <a:folHlink>
        <a:srgbClr val="BF9015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B4623"/>
        </a:dk2>
        <a:lt2>
          <a:srgbClr val="FFFFFF"/>
        </a:lt2>
        <a:accent1>
          <a:srgbClr val="8BBC9C"/>
        </a:accent1>
        <a:accent2>
          <a:srgbClr val="0D7532"/>
        </a:accent2>
        <a:accent3>
          <a:srgbClr val="0B4623"/>
        </a:accent3>
        <a:accent4>
          <a:srgbClr val="BF9015"/>
        </a:accent4>
        <a:accent5>
          <a:srgbClr val="995E11"/>
        </a:accent5>
        <a:accent6>
          <a:srgbClr val="808080"/>
        </a:accent6>
        <a:hlink>
          <a:srgbClr val="0B4623"/>
        </a:hlink>
        <a:folHlink>
          <a:srgbClr val="BF901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3_RNS047_Template">
  <a:themeElements>
    <a:clrScheme name="Current">
      <a:dk1>
        <a:srgbClr val="000000"/>
      </a:dk1>
      <a:lt1>
        <a:srgbClr val="FFFFFF"/>
      </a:lt1>
      <a:dk2>
        <a:srgbClr val="0B4623"/>
      </a:dk2>
      <a:lt2>
        <a:srgbClr val="FFFFFF"/>
      </a:lt2>
      <a:accent1>
        <a:srgbClr val="8BBC9C"/>
      </a:accent1>
      <a:accent2>
        <a:srgbClr val="0D7532"/>
      </a:accent2>
      <a:accent3>
        <a:srgbClr val="0B4623"/>
      </a:accent3>
      <a:accent4>
        <a:srgbClr val="BF9015"/>
      </a:accent4>
      <a:accent5>
        <a:srgbClr val="995E11"/>
      </a:accent5>
      <a:accent6>
        <a:srgbClr val="808080"/>
      </a:accent6>
      <a:hlink>
        <a:srgbClr val="0B4623"/>
      </a:hlink>
      <a:folHlink>
        <a:srgbClr val="BF9015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B4623"/>
        </a:dk2>
        <a:lt2>
          <a:srgbClr val="FFFFFF"/>
        </a:lt2>
        <a:accent1>
          <a:srgbClr val="8BBC9C"/>
        </a:accent1>
        <a:accent2>
          <a:srgbClr val="0D7532"/>
        </a:accent2>
        <a:accent3>
          <a:srgbClr val="0B4623"/>
        </a:accent3>
        <a:accent4>
          <a:srgbClr val="BF9015"/>
        </a:accent4>
        <a:accent5>
          <a:srgbClr val="995E11"/>
        </a:accent5>
        <a:accent6>
          <a:srgbClr val="808080"/>
        </a:accent6>
        <a:hlink>
          <a:srgbClr val="0B4623"/>
        </a:hlink>
        <a:folHlink>
          <a:srgbClr val="BF901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RNS047_Template">
  <a:themeElements>
    <a:clrScheme name="Current">
      <a:dk1>
        <a:srgbClr val="000000"/>
      </a:dk1>
      <a:lt1>
        <a:srgbClr val="FFFFFF"/>
      </a:lt1>
      <a:dk2>
        <a:srgbClr val="0B4623"/>
      </a:dk2>
      <a:lt2>
        <a:srgbClr val="FFFFFF"/>
      </a:lt2>
      <a:accent1>
        <a:srgbClr val="8BBC9C"/>
      </a:accent1>
      <a:accent2>
        <a:srgbClr val="0D7532"/>
      </a:accent2>
      <a:accent3>
        <a:srgbClr val="0B4623"/>
      </a:accent3>
      <a:accent4>
        <a:srgbClr val="BF9015"/>
      </a:accent4>
      <a:accent5>
        <a:srgbClr val="995E11"/>
      </a:accent5>
      <a:accent6>
        <a:srgbClr val="808080"/>
      </a:accent6>
      <a:hlink>
        <a:srgbClr val="0B4623"/>
      </a:hlink>
      <a:folHlink>
        <a:srgbClr val="BF9015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B4623"/>
        </a:dk2>
        <a:lt2>
          <a:srgbClr val="FFFFFF"/>
        </a:lt2>
        <a:accent1>
          <a:srgbClr val="8BBC9C"/>
        </a:accent1>
        <a:accent2>
          <a:srgbClr val="0D7532"/>
        </a:accent2>
        <a:accent3>
          <a:srgbClr val="0B4623"/>
        </a:accent3>
        <a:accent4>
          <a:srgbClr val="BF9015"/>
        </a:accent4>
        <a:accent5>
          <a:srgbClr val="995E11"/>
        </a:accent5>
        <a:accent6>
          <a:srgbClr val="808080"/>
        </a:accent6>
        <a:hlink>
          <a:srgbClr val="0B4623"/>
        </a:hlink>
        <a:folHlink>
          <a:srgbClr val="BF901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AD93772181C6F46829BD28880065D63" ma:contentTypeVersion="5" ma:contentTypeDescription="Create a new document." ma:contentTypeScope="" ma:versionID="cac70d3e90bffd405a71e8b8d808f3fb">
  <xsd:schema xmlns:xsd="http://www.w3.org/2001/XMLSchema" xmlns:xs="http://www.w3.org/2001/XMLSchema" xmlns:p="http://schemas.microsoft.com/office/2006/metadata/properties" xmlns:ns2="130dd3b8-79e4-45b6-b3f3-7c6271b51292" xmlns:ns3="437134b1-e43f-42b3-88ca-bdd99c41caf6" targetNamespace="http://schemas.microsoft.com/office/2006/metadata/properties" ma:root="true" ma:fieldsID="bb57a5372b5a2b3314e5d344129bea61" ns2:_="" ns3:_="">
    <xsd:import namespace="130dd3b8-79e4-45b6-b3f3-7c6271b51292"/>
    <xsd:import namespace="437134b1-e43f-42b3-88ca-bdd99c41caf6"/>
    <xsd:element name="properties">
      <xsd:complexType>
        <xsd:sequence>
          <xsd:element name="documentManagement">
            <xsd:complexType>
              <xsd:all>
                <xsd:element ref="ns2:publisheddate" minOccurs="0"/>
                <xsd:element ref="ns3:Year" minOccurs="0"/>
                <xsd:element ref="ns3:TaxCatchAll" minOccurs="0"/>
                <xsd:element ref="ns3:TaxCatchAllLabe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0dd3b8-79e4-45b6-b3f3-7c6271b51292" elementFormDefault="qualified">
    <xsd:import namespace="http://schemas.microsoft.com/office/2006/documentManagement/types"/>
    <xsd:import namespace="http://schemas.microsoft.com/office/infopath/2007/PartnerControls"/>
    <xsd:element name="publisheddate" ma:index="4" nillable="true" ma:displayName="Published Date" ma:format="DateOnly" ma:internalName="published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7134b1-e43f-42b3-88ca-bdd99c41caf6" elementFormDefault="qualified">
    <xsd:import namespace="http://schemas.microsoft.com/office/2006/documentManagement/types"/>
    <xsd:import namespace="http://schemas.microsoft.com/office/infopath/2007/PartnerControls"/>
    <xsd:element name="Year" ma:index="9" nillable="true" ma:displayName="Year" ma:decimals="0" ma:internalName="Year">
      <xsd:simpleType>
        <xsd:restriction base="dms:Number">
          <xsd:maxInclusive value="2100"/>
          <xsd:minInclusive value="1900"/>
        </xsd:restriction>
      </xsd:simpleType>
    </xsd:element>
    <xsd:element name="TaxCatchAll" ma:index="10" nillable="true" ma:displayName="Taxonomy Catch All Column" ma:hidden="true" ma:list="{2c25207a-7c7e-49b7-b576-000a8ba59297}" ma:internalName="TaxCatchAll" ma:showField="CatchAllData" ma:web="437134b1-e43f-42b3-88ca-bdd99c41caf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1" nillable="true" ma:displayName="Taxonomy Catch All Column1" ma:hidden="true" ma:list="{2c25207a-7c7e-49b7-b576-000a8ba59297}" ma:internalName="TaxCatchAllLabel" ma:readOnly="true" ma:showField="CatchAllDataLabel" ma:web="437134b1-e43f-42b3-88ca-bdd99c41caf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5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eddate xmlns="130dd3b8-79e4-45b6-b3f3-7c6271b51292">2017-12-12T22:00:00+00:00</publisheddate>
    <TaxCatchAll xmlns="437134b1-e43f-42b3-88ca-bdd99c41caf6"/>
    <Year xmlns="437134b1-e43f-42b3-88ca-bdd99c41caf6" xsi:nil="true"/>
  </documentManagement>
</p:properties>
</file>

<file path=customXml/itemProps1.xml><?xml version="1.0" encoding="utf-8"?>
<ds:datastoreItem xmlns:ds="http://schemas.openxmlformats.org/officeDocument/2006/customXml" ds:itemID="{405581D9-127F-4E5D-A205-D1E708CAEE24}"/>
</file>

<file path=customXml/itemProps2.xml><?xml version="1.0" encoding="utf-8"?>
<ds:datastoreItem xmlns:ds="http://schemas.openxmlformats.org/officeDocument/2006/customXml" ds:itemID="{9A30746C-0C19-43FC-94D4-66ACE5139020}"/>
</file>

<file path=customXml/itemProps3.xml><?xml version="1.0" encoding="utf-8"?>
<ds:datastoreItem xmlns:ds="http://schemas.openxmlformats.org/officeDocument/2006/customXml" ds:itemID="{3B22E2BE-9449-46E6-97C4-52D9B1AD516A}"/>
</file>

<file path=docProps/app.xml><?xml version="1.0" encoding="utf-8"?>
<Properties xmlns="http://schemas.openxmlformats.org/officeDocument/2006/extended-properties" xmlns:vt="http://schemas.openxmlformats.org/officeDocument/2006/docPropsVTypes">
  <TotalTime>5897</TotalTime>
  <Words>1753</Words>
  <Application>Microsoft Office PowerPoint</Application>
  <PresentationFormat>On-screen Show (4:3)</PresentationFormat>
  <Paragraphs>239</Paragraphs>
  <Slides>2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1</vt:i4>
      </vt:variant>
    </vt:vector>
  </HeadingPairs>
  <TitlesOfParts>
    <vt:vector size="43" baseType="lpstr">
      <vt:lpstr>Arial Unicode MS</vt:lpstr>
      <vt:lpstr>宋体</vt:lpstr>
      <vt:lpstr>Arial</vt:lpstr>
      <vt:lpstr>Arial Black</vt:lpstr>
      <vt:lpstr>Arial Narrow</vt:lpstr>
      <vt:lpstr>Calibri</vt:lpstr>
      <vt:lpstr>Courier New</vt:lpstr>
      <vt:lpstr>Lucida Sans Unicode</vt:lpstr>
      <vt:lpstr>Symbol</vt:lpstr>
      <vt:lpstr>Times New Roman</vt:lpstr>
      <vt:lpstr>Wingdings</vt:lpstr>
      <vt:lpstr>Office Theme</vt:lpstr>
      <vt:lpstr>8_RNS047_Template</vt:lpstr>
      <vt:lpstr>29_RNS047_Template</vt:lpstr>
      <vt:lpstr>9_RNS047_Template</vt:lpstr>
      <vt:lpstr>1_Office Theme</vt:lpstr>
      <vt:lpstr>3_RNS047_Template</vt:lpstr>
      <vt:lpstr>2_Office Theme</vt:lpstr>
      <vt:lpstr>RNS047_Template</vt:lpstr>
      <vt:lpstr>3_Office Theme</vt:lpstr>
      <vt:lpstr>think-cell Slide</vt:lpstr>
      <vt:lpstr>Chart</vt:lpstr>
      <vt:lpstr> : TOWARDS A TRANSFORMED, INCLUSIVE AND SUSTAINABLE BIODIVERSITY ECONOMY SECTOR FOR ALL    </vt:lpstr>
      <vt:lpstr>Mandate</vt:lpstr>
      <vt:lpstr>Vision </vt:lpstr>
      <vt:lpstr>Mission </vt:lpstr>
      <vt:lpstr>South Africa is the 3rd most biodiverse country in the world</vt:lpstr>
      <vt:lpstr>Bioprospecting sector overview</vt:lpstr>
      <vt:lpstr>The Wildlife sector has been growing consistently faster than the general economy, contributing R 3 billion to GDP in 2014</vt:lpstr>
      <vt:lpstr>NBES Targets aligned to Phakisa</vt:lpstr>
      <vt:lpstr>Biodiversity Economy sectoral challenges </vt:lpstr>
      <vt:lpstr> </vt:lpstr>
      <vt:lpstr>The Wildlife Economy Lab developed detailed plans for 15 initiatives and 6 additional initiatives </vt:lpstr>
      <vt:lpstr>Key initiatives to drive growth in the Bioprospecting Economy</vt:lpstr>
      <vt:lpstr>Government intervention </vt:lpstr>
      <vt:lpstr>Industry role </vt:lpstr>
      <vt:lpstr>Local Communities  </vt:lpstr>
      <vt:lpstr>BIODIVERSITY ECONOMY INDABA (BEI) </vt:lpstr>
      <vt:lpstr>POLICY OBJECTIVES FOR NEMBA CHAPTER 6 AMENDMENT</vt:lpstr>
      <vt:lpstr> www.thegamechanger.co.za</vt:lpstr>
      <vt:lpstr>PowerPoint Presentation</vt:lpstr>
      <vt:lpstr>PowerPoint Presentation</vt:lpstr>
      <vt:lpstr>PowerPoint Presentation</vt:lpstr>
    </vt:vector>
  </TitlesOfParts>
  <Company>Environmental Affair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partment of Environmental Affairs Presentation on Catalogue of game farms</dc:title>
  <dc:creator>Admin1</dc:creator>
  <cp:lastModifiedBy>K Matibe</cp:lastModifiedBy>
  <cp:revision>224</cp:revision>
  <cp:lastPrinted>2017-07-03T06:55:55Z</cp:lastPrinted>
  <dcterms:created xsi:type="dcterms:W3CDTF">2017-04-03T07:19:10Z</dcterms:created>
  <dcterms:modified xsi:type="dcterms:W3CDTF">2017-10-31T06:01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AD93772181C6F46829BD28880065D63</vt:lpwstr>
  </property>
</Properties>
</file>